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4"/>
  </p:notesMasterIdLst>
  <p:handoutMasterIdLst>
    <p:handoutMasterId r:id="rId35"/>
  </p:handoutMasterIdLst>
  <p:sldIdLst>
    <p:sldId id="256" r:id="rId2"/>
    <p:sldId id="291" r:id="rId3"/>
    <p:sldId id="258" r:id="rId4"/>
    <p:sldId id="275" r:id="rId5"/>
    <p:sldId id="276" r:id="rId6"/>
    <p:sldId id="277" r:id="rId7"/>
    <p:sldId id="278" r:id="rId8"/>
    <p:sldId id="279" r:id="rId9"/>
    <p:sldId id="270" r:id="rId10"/>
    <p:sldId id="280" r:id="rId11"/>
    <p:sldId id="292" r:id="rId12"/>
    <p:sldId id="282" r:id="rId13"/>
    <p:sldId id="283" r:id="rId14"/>
    <p:sldId id="284" r:id="rId15"/>
    <p:sldId id="271" r:id="rId16"/>
    <p:sldId id="285" r:id="rId17"/>
    <p:sldId id="286" r:id="rId18"/>
    <p:sldId id="287" r:id="rId19"/>
    <p:sldId id="288" r:id="rId20"/>
    <p:sldId id="289" r:id="rId21"/>
    <p:sldId id="272" r:id="rId22"/>
    <p:sldId id="296" r:id="rId23"/>
    <p:sldId id="297" r:id="rId24"/>
    <p:sldId id="298" r:id="rId25"/>
    <p:sldId id="299" r:id="rId26"/>
    <p:sldId id="281" r:id="rId27"/>
    <p:sldId id="273" r:id="rId28"/>
    <p:sldId id="290" r:id="rId29"/>
    <p:sldId id="293" r:id="rId30"/>
    <p:sldId id="294" r:id="rId31"/>
    <p:sldId id="295" r:id="rId32"/>
    <p:sldId id="261" r:id="rId33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3300"/>
    <a:srgbClr val="422100"/>
    <a:srgbClr val="0D093D"/>
    <a:srgbClr val="528E9C"/>
    <a:srgbClr val="6F4250"/>
    <a:srgbClr val="800000"/>
    <a:srgbClr val="6985A1"/>
    <a:srgbClr val="AFBECD"/>
    <a:srgbClr val="546D86"/>
    <a:srgbClr val="6783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411" autoAdjust="0"/>
    <p:restoredTop sz="96187" autoAdjust="0"/>
  </p:normalViewPr>
  <p:slideViewPr>
    <p:cSldViewPr snapToGrid="0">
      <p:cViewPr varScale="1">
        <p:scale>
          <a:sx n="100" d="100"/>
          <a:sy n="100" d="100"/>
        </p:scale>
        <p:origin x="736" y="5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2388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0B8A5B22-1BB8-4E17-8E0E-179B71ECC4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5CEFCB99-8DFB-438F-A6B5-210F746DF8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1B55DF-9EAA-487B-99C5-D7146F66FB85}" type="datetimeFigureOut">
              <a:rPr lang="zh-CN" altLang="en-US" smtClean="0"/>
              <a:t>2022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11981FD1-AA71-477E-90ED-5B8A8E6982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30AE2EFE-0C90-4113-A054-91E49996AFC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6377C7-4A51-4F06-A82E-B2FFBC1DEEF0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548615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0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>
            <a:extLst>
              <a:ext uri="{FF2B5EF4-FFF2-40B4-BE49-F238E27FC236}">
                <a16:creationId xmlns:a16="http://schemas.microsoft.com/office/drawing/2014/main" id="{4179A0BA-EBB9-4888-B6A2-04CA664077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3E2A431C-6754-4648-BB75-F4198D021A1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3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/>
          </p:nvPr>
        </p:nvSpPr>
        <p:spPr>
          <a:xfrm>
            <a:off x="4457699" y="4728894"/>
            <a:ext cx="5758122" cy="387333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/>
          </p:nvPr>
        </p:nvSpPr>
        <p:spPr>
          <a:xfrm>
            <a:off x="4457699" y="3094447"/>
            <a:ext cx="5758122" cy="1626932"/>
          </a:xfrm>
        </p:spPr>
        <p:txBody>
          <a:bodyPr anchor="ctr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57698" y="5419971"/>
            <a:ext cx="575812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>
            <p:ph type="body" sz="quarter" idx="11" hasCustomPrompt="1"/>
          </p:nvPr>
        </p:nvSpPr>
        <p:spPr>
          <a:xfrm>
            <a:off x="4457698" y="5716242"/>
            <a:ext cx="575812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 useBgFill="1">
        <p:nvSpPr>
          <p:cNvPr id="9" name="任意多边形: 形状 8">
            <a:extLst>
              <a:ext uri="{FF2B5EF4-FFF2-40B4-BE49-F238E27FC236}">
                <a16:creationId xmlns:a16="http://schemas.microsoft.com/office/drawing/2014/main" id="{0A5ACD3C-BC27-472F-AEFF-47FAEA2A57BA}"/>
              </a:ext>
            </a:extLst>
          </p:cNvPr>
          <p:cNvSpPr>
            <a:spLocks/>
          </p:cNvSpPr>
          <p:nvPr userDrawn="1"/>
        </p:nvSpPr>
        <p:spPr bwMode="auto">
          <a:xfrm>
            <a:off x="669925" y="1045567"/>
            <a:ext cx="9426575" cy="3001039"/>
          </a:xfrm>
          <a:custGeom>
            <a:avLst/>
            <a:gdLst>
              <a:gd name="connsiteX0" fmla="*/ 3184524 w 12192000"/>
              <a:gd name="connsiteY0" fmla="*/ 2130426 h 3881439"/>
              <a:gd name="connsiteX1" fmla="*/ 3709987 w 12192000"/>
              <a:gd name="connsiteY1" fmla="*/ 2130426 h 3881439"/>
              <a:gd name="connsiteX2" fmla="*/ 3935412 w 12192000"/>
              <a:gd name="connsiteY2" fmla="*/ 2490789 h 3881439"/>
              <a:gd name="connsiteX3" fmla="*/ 4178300 w 12192000"/>
              <a:gd name="connsiteY3" fmla="*/ 2130426 h 3881439"/>
              <a:gd name="connsiteX4" fmla="*/ 4694237 w 12192000"/>
              <a:gd name="connsiteY4" fmla="*/ 2130426 h 3881439"/>
              <a:gd name="connsiteX5" fmla="*/ 4200525 w 12192000"/>
              <a:gd name="connsiteY5" fmla="*/ 2906714 h 3881439"/>
              <a:gd name="connsiteX6" fmla="*/ 4200525 w 12192000"/>
              <a:gd name="connsiteY6" fmla="*/ 3875089 h 3881439"/>
              <a:gd name="connsiteX7" fmla="*/ 3681412 w 12192000"/>
              <a:gd name="connsiteY7" fmla="*/ 3875089 h 3881439"/>
              <a:gd name="connsiteX8" fmla="*/ 3681412 w 12192000"/>
              <a:gd name="connsiteY8" fmla="*/ 2906714 h 3881439"/>
              <a:gd name="connsiteX9" fmla="*/ 0 w 12192000"/>
              <a:gd name="connsiteY9" fmla="*/ 2130426 h 3881439"/>
              <a:gd name="connsiteX10" fmla="*/ 675620 w 12192000"/>
              <a:gd name="connsiteY10" fmla="*/ 2130426 h 3881439"/>
              <a:gd name="connsiteX11" fmla="*/ 1405220 w 12192000"/>
              <a:gd name="connsiteY11" fmla="*/ 2363663 h 3881439"/>
              <a:gd name="connsiteX12" fmla="*/ 1671638 w 12192000"/>
              <a:gd name="connsiteY12" fmla="*/ 2988527 h 3881439"/>
              <a:gd name="connsiteX13" fmla="*/ 1415668 w 12192000"/>
              <a:gd name="connsiteY13" fmla="*/ 3632538 h 3881439"/>
              <a:gd name="connsiteX14" fmla="*/ 757461 w 12192000"/>
              <a:gd name="connsiteY14" fmla="*/ 3881439 h 3881439"/>
              <a:gd name="connsiteX15" fmla="*/ 602486 w 12192000"/>
              <a:gd name="connsiteY15" fmla="*/ 3876217 h 3881439"/>
              <a:gd name="connsiteX16" fmla="*/ 602486 w 12192000"/>
              <a:gd name="connsiteY16" fmla="*/ 3364490 h 3881439"/>
              <a:gd name="connsiteX17" fmla="*/ 686068 w 12192000"/>
              <a:gd name="connsiteY17" fmla="*/ 3364490 h 3881439"/>
              <a:gd name="connsiteX18" fmla="*/ 1140544 w 12192000"/>
              <a:gd name="connsiteY18" fmla="*/ 2988527 h 3881439"/>
              <a:gd name="connsiteX19" fmla="*/ 693033 w 12192000"/>
              <a:gd name="connsiteY19" fmla="*/ 2631710 h 3881439"/>
              <a:gd name="connsiteX20" fmla="*/ 518904 w 12192000"/>
              <a:gd name="connsiteY20" fmla="*/ 2631710 h 3881439"/>
              <a:gd name="connsiteX21" fmla="*/ 518904 w 12192000"/>
              <a:gd name="connsiteY21" fmla="*/ 3874477 h 3881439"/>
              <a:gd name="connsiteX22" fmla="*/ 0 w 12192000"/>
              <a:gd name="connsiteY22" fmla="*/ 3874477 h 3881439"/>
              <a:gd name="connsiteX23" fmla="*/ 0 w 12192000"/>
              <a:gd name="connsiteY23" fmla="*/ 2130426 h 3881439"/>
              <a:gd name="connsiteX24" fmla="*/ 2549475 w 12192000"/>
              <a:gd name="connsiteY24" fmla="*/ 2089151 h 3881439"/>
              <a:gd name="connsiteX25" fmla="*/ 3001858 w 12192000"/>
              <a:gd name="connsiteY25" fmla="*/ 2251035 h 3881439"/>
              <a:gd name="connsiteX26" fmla="*/ 3148013 w 12192000"/>
              <a:gd name="connsiteY26" fmla="*/ 2747128 h 3881439"/>
              <a:gd name="connsiteX27" fmla="*/ 3148013 w 12192000"/>
              <a:gd name="connsiteY27" fmla="*/ 3875089 h 3881439"/>
              <a:gd name="connsiteX28" fmla="*/ 2629512 w 12192000"/>
              <a:gd name="connsiteY28" fmla="*/ 3875089 h 3881439"/>
              <a:gd name="connsiteX29" fmla="*/ 2629512 w 12192000"/>
              <a:gd name="connsiteY29" fmla="*/ 2781942 h 3881439"/>
              <a:gd name="connsiteX30" fmla="*/ 2605153 w 12192000"/>
              <a:gd name="connsiteY30" fmla="*/ 2642688 h 3881439"/>
              <a:gd name="connsiteX31" fmla="*/ 2519896 w 12192000"/>
              <a:gd name="connsiteY31" fmla="*/ 2600911 h 3881439"/>
              <a:gd name="connsiteX32" fmla="*/ 2399840 w 12192000"/>
              <a:gd name="connsiteY32" fmla="*/ 2781942 h 3881439"/>
              <a:gd name="connsiteX33" fmla="*/ 2399840 w 12192000"/>
              <a:gd name="connsiteY33" fmla="*/ 3001268 h 3881439"/>
              <a:gd name="connsiteX34" fmla="*/ 2545995 w 12192000"/>
              <a:gd name="connsiteY34" fmla="*/ 3001268 h 3881439"/>
              <a:gd name="connsiteX35" fmla="*/ 2545995 w 12192000"/>
              <a:gd name="connsiteY35" fmla="*/ 3459067 h 3881439"/>
              <a:gd name="connsiteX36" fmla="*/ 2399840 w 12192000"/>
              <a:gd name="connsiteY36" fmla="*/ 3459067 h 3881439"/>
              <a:gd name="connsiteX37" fmla="*/ 2399840 w 12192000"/>
              <a:gd name="connsiteY37" fmla="*/ 3875089 h 3881439"/>
              <a:gd name="connsiteX38" fmla="*/ 1879600 w 12192000"/>
              <a:gd name="connsiteY38" fmla="*/ 3875089 h 3881439"/>
              <a:gd name="connsiteX39" fmla="*/ 1879600 w 12192000"/>
              <a:gd name="connsiteY39" fmla="*/ 2766276 h 3881439"/>
              <a:gd name="connsiteX40" fmla="*/ 2055333 w 12192000"/>
              <a:gd name="connsiteY40" fmla="*/ 2266701 h 3881439"/>
              <a:gd name="connsiteX41" fmla="*/ 2549475 w 12192000"/>
              <a:gd name="connsiteY41" fmla="*/ 2089151 h 3881439"/>
              <a:gd name="connsiteX42" fmla="*/ 11737975 w 12192000"/>
              <a:gd name="connsiteY42" fmla="*/ 41275 h 3881439"/>
              <a:gd name="connsiteX43" fmla="*/ 12192000 w 12192000"/>
              <a:gd name="connsiteY43" fmla="*/ 41275 h 3881439"/>
              <a:gd name="connsiteX44" fmla="*/ 12093575 w 12192000"/>
              <a:gd name="connsiteY44" fmla="*/ 741363 h 3881439"/>
              <a:gd name="connsiteX45" fmla="*/ 11833225 w 12192000"/>
              <a:gd name="connsiteY45" fmla="*/ 741363 h 3881439"/>
              <a:gd name="connsiteX46" fmla="*/ 9166225 w 12192000"/>
              <a:gd name="connsiteY46" fmla="*/ 41275 h 3881439"/>
              <a:gd name="connsiteX47" fmla="*/ 9829351 w 12192000"/>
              <a:gd name="connsiteY47" fmla="*/ 41275 h 3881439"/>
              <a:gd name="connsiteX48" fmla="*/ 10313207 w 12192000"/>
              <a:gd name="connsiteY48" fmla="*/ 201464 h 3881439"/>
              <a:gd name="connsiteX49" fmla="*/ 10488996 w 12192000"/>
              <a:gd name="connsiteY49" fmla="*/ 621088 h 3881439"/>
              <a:gd name="connsiteX50" fmla="*/ 10255770 w 12192000"/>
              <a:gd name="connsiteY50" fmla="*/ 1066831 h 3881439"/>
              <a:gd name="connsiteX51" fmla="*/ 10556875 w 12192000"/>
              <a:gd name="connsiteY51" fmla="*/ 1785938 h 3881439"/>
              <a:gd name="connsiteX52" fmla="*/ 10010362 w 12192000"/>
              <a:gd name="connsiteY52" fmla="*/ 1785938 h 3881439"/>
              <a:gd name="connsiteX53" fmla="*/ 9759731 w 12192000"/>
              <a:gd name="connsiteY53" fmla="*/ 1223537 h 3881439"/>
              <a:gd name="connsiteX54" fmla="*/ 9759731 w 12192000"/>
              <a:gd name="connsiteY54" fmla="*/ 776053 h 3881439"/>
              <a:gd name="connsiteX55" fmla="*/ 9801503 w 12192000"/>
              <a:gd name="connsiteY55" fmla="*/ 776053 h 3881439"/>
              <a:gd name="connsiteX56" fmla="*/ 9965109 w 12192000"/>
              <a:gd name="connsiteY56" fmla="*/ 635018 h 3881439"/>
              <a:gd name="connsiteX57" fmla="*/ 9775396 w 12192000"/>
              <a:gd name="connsiteY57" fmla="*/ 511394 h 3881439"/>
              <a:gd name="connsiteX58" fmla="*/ 9683150 w 12192000"/>
              <a:gd name="connsiteY58" fmla="*/ 511394 h 3881439"/>
              <a:gd name="connsiteX59" fmla="*/ 9683150 w 12192000"/>
              <a:gd name="connsiteY59" fmla="*/ 1785938 h 3881439"/>
              <a:gd name="connsiteX60" fmla="*/ 9166225 w 12192000"/>
              <a:gd name="connsiteY60" fmla="*/ 1785938 h 3881439"/>
              <a:gd name="connsiteX61" fmla="*/ 9166225 w 12192000"/>
              <a:gd name="connsiteY61" fmla="*/ 41275 h 3881439"/>
              <a:gd name="connsiteX62" fmla="*/ 8417367 w 12192000"/>
              <a:gd name="connsiteY62" fmla="*/ 41275 h 3881439"/>
              <a:gd name="connsiteX63" fmla="*/ 8866187 w 12192000"/>
              <a:gd name="connsiteY63" fmla="*/ 41275 h 3881439"/>
              <a:gd name="connsiteX64" fmla="*/ 8866187 w 12192000"/>
              <a:gd name="connsiteY64" fmla="*/ 542735 h 3881439"/>
              <a:gd name="connsiteX65" fmla="*/ 8535660 w 12192000"/>
              <a:gd name="connsiteY65" fmla="*/ 542735 h 3881439"/>
              <a:gd name="connsiteX66" fmla="*/ 8401710 w 12192000"/>
              <a:gd name="connsiteY66" fmla="*/ 629794 h 3881439"/>
              <a:gd name="connsiteX67" fmla="*/ 8436502 w 12192000"/>
              <a:gd name="connsiteY67" fmla="*/ 702924 h 3881439"/>
              <a:gd name="connsiteX68" fmla="*/ 8547838 w 12192000"/>
              <a:gd name="connsiteY68" fmla="*/ 720336 h 3881439"/>
              <a:gd name="connsiteX69" fmla="*/ 8833134 w 12192000"/>
              <a:gd name="connsiteY69" fmla="*/ 720336 h 3881439"/>
              <a:gd name="connsiteX70" fmla="*/ 8833134 w 12192000"/>
              <a:gd name="connsiteY70" fmla="*/ 1108619 h 3881439"/>
              <a:gd name="connsiteX71" fmla="*/ 8495649 w 12192000"/>
              <a:gd name="connsiteY71" fmla="*/ 1108619 h 3881439"/>
              <a:gd name="connsiteX72" fmla="*/ 8398231 w 12192000"/>
              <a:gd name="connsiteY72" fmla="*/ 1129513 h 3881439"/>
              <a:gd name="connsiteX73" fmla="*/ 8370397 w 12192000"/>
              <a:gd name="connsiteY73" fmla="*/ 1197419 h 3881439"/>
              <a:gd name="connsiteX74" fmla="*/ 8398231 w 12192000"/>
              <a:gd name="connsiteY74" fmla="*/ 1270549 h 3881439"/>
              <a:gd name="connsiteX75" fmla="*/ 8520004 w 12192000"/>
              <a:gd name="connsiteY75" fmla="*/ 1287961 h 3881439"/>
              <a:gd name="connsiteX76" fmla="*/ 8866187 w 12192000"/>
              <a:gd name="connsiteY76" fmla="*/ 1287961 h 3881439"/>
              <a:gd name="connsiteX77" fmla="*/ 8866187 w 12192000"/>
              <a:gd name="connsiteY77" fmla="*/ 1785938 h 3881439"/>
              <a:gd name="connsiteX78" fmla="*/ 8459118 w 12192000"/>
              <a:gd name="connsiteY78" fmla="*/ 1785938 h 3881439"/>
              <a:gd name="connsiteX79" fmla="*/ 8020735 w 12192000"/>
              <a:gd name="connsiteY79" fmla="*/ 1648385 h 3881439"/>
              <a:gd name="connsiteX80" fmla="*/ 7867649 w 12192000"/>
              <a:gd name="connsiteY80" fmla="*/ 1251396 h 3881439"/>
              <a:gd name="connsiteX81" fmla="*/ 7867649 w 12192000"/>
              <a:gd name="connsiteY81" fmla="*/ 568853 h 3881439"/>
              <a:gd name="connsiteX82" fmla="*/ 8012037 w 12192000"/>
              <a:gd name="connsiteY82" fmla="*/ 178828 h 3881439"/>
              <a:gd name="connsiteX83" fmla="*/ 8417367 w 12192000"/>
              <a:gd name="connsiteY83" fmla="*/ 41275 h 3881439"/>
              <a:gd name="connsiteX84" fmla="*/ 7035799 w 12192000"/>
              <a:gd name="connsiteY84" fmla="*/ 41275 h 3881439"/>
              <a:gd name="connsiteX85" fmla="*/ 7553324 w 12192000"/>
              <a:gd name="connsiteY85" fmla="*/ 41275 h 3881439"/>
              <a:gd name="connsiteX86" fmla="*/ 7553324 w 12192000"/>
              <a:gd name="connsiteY86" fmla="*/ 1785938 h 3881439"/>
              <a:gd name="connsiteX87" fmla="*/ 7035799 w 12192000"/>
              <a:gd name="connsiteY87" fmla="*/ 1785938 h 3881439"/>
              <a:gd name="connsiteX88" fmla="*/ 6286499 w 12192000"/>
              <a:gd name="connsiteY88" fmla="*/ 41275 h 3881439"/>
              <a:gd name="connsiteX89" fmla="*/ 6802437 w 12192000"/>
              <a:gd name="connsiteY89" fmla="*/ 41275 h 3881439"/>
              <a:gd name="connsiteX90" fmla="*/ 6802437 w 12192000"/>
              <a:gd name="connsiteY90" fmla="*/ 666750 h 3881439"/>
              <a:gd name="connsiteX91" fmla="*/ 6946899 w 12192000"/>
              <a:gd name="connsiteY91" fmla="*/ 666750 h 3881439"/>
              <a:gd name="connsiteX92" fmla="*/ 6946899 w 12192000"/>
              <a:gd name="connsiteY92" fmla="*/ 1125538 h 3881439"/>
              <a:gd name="connsiteX93" fmla="*/ 6802437 w 12192000"/>
              <a:gd name="connsiteY93" fmla="*/ 1125538 h 3881439"/>
              <a:gd name="connsiteX94" fmla="*/ 6802437 w 12192000"/>
              <a:gd name="connsiteY94" fmla="*/ 1785938 h 3881439"/>
              <a:gd name="connsiteX95" fmla="*/ 6286499 w 12192000"/>
              <a:gd name="connsiteY95" fmla="*/ 1785938 h 3881439"/>
              <a:gd name="connsiteX96" fmla="*/ 2021330 w 12192000"/>
              <a:gd name="connsiteY96" fmla="*/ 41275 h 3881439"/>
              <a:gd name="connsiteX97" fmla="*/ 2470151 w 12192000"/>
              <a:gd name="connsiteY97" fmla="*/ 41275 h 3881439"/>
              <a:gd name="connsiteX98" fmla="*/ 2470151 w 12192000"/>
              <a:gd name="connsiteY98" fmla="*/ 542735 h 3881439"/>
              <a:gd name="connsiteX99" fmla="*/ 2137885 w 12192000"/>
              <a:gd name="connsiteY99" fmla="*/ 542735 h 3881439"/>
              <a:gd name="connsiteX100" fmla="*/ 2005674 w 12192000"/>
              <a:gd name="connsiteY100" fmla="*/ 629794 h 3881439"/>
              <a:gd name="connsiteX101" fmla="*/ 2040467 w 12192000"/>
              <a:gd name="connsiteY101" fmla="*/ 702924 h 3881439"/>
              <a:gd name="connsiteX102" fmla="*/ 2151801 w 12192000"/>
              <a:gd name="connsiteY102" fmla="*/ 720336 h 3881439"/>
              <a:gd name="connsiteX103" fmla="*/ 2435359 w 12192000"/>
              <a:gd name="connsiteY103" fmla="*/ 720336 h 3881439"/>
              <a:gd name="connsiteX104" fmla="*/ 2435359 w 12192000"/>
              <a:gd name="connsiteY104" fmla="*/ 1108619 h 3881439"/>
              <a:gd name="connsiteX105" fmla="*/ 2099613 w 12192000"/>
              <a:gd name="connsiteY105" fmla="*/ 1108619 h 3881439"/>
              <a:gd name="connsiteX106" fmla="*/ 2002195 w 12192000"/>
              <a:gd name="connsiteY106" fmla="*/ 1129513 h 3881439"/>
              <a:gd name="connsiteX107" fmla="*/ 1972621 w 12192000"/>
              <a:gd name="connsiteY107" fmla="*/ 1197419 h 3881439"/>
              <a:gd name="connsiteX108" fmla="*/ 2000455 w 12192000"/>
              <a:gd name="connsiteY108" fmla="*/ 1270549 h 3881439"/>
              <a:gd name="connsiteX109" fmla="*/ 2122228 w 12192000"/>
              <a:gd name="connsiteY109" fmla="*/ 1287961 h 3881439"/>
              <a:gd name="connsiteX110" fmla="*/ 2470151 w 12192000"/>
              <a:gd name="connsiteY110" fmla="*/ 1287961 h 3881439"/>
              <a:gd name="connsiteX111" fmla="*/ 2470151 w 12192000"/>
              <a:gd name="connsiteY111" fmla="*/ 1785938 h 3881439"/>
              <a:gd name="connsiteX112" fmla="*/ 2063081 w 12192000"/>
              <a:gd name="connsiteY112" fmla="*/ 1785938 h 3881439"/>
              <a:gd name="connsiteX113" fmla="*/ 1622959 w 12192000"/>
              <a:gd name="connsiteY113" fmla="*/ 1648385 h 3881439"/>
              <a:gd name="connsiteX114" fmla="*/ 1471613 w 12192000"/>
              <a:gd name="connsiteY114" fmla="*/ 1251396 h 3881439"/>
              <a:gd name="connsiteX115" fmla="*/ 1471613 w 12192000"/>
              <a:gd name="connsiteY115" fmla="*/ 568853 h 3881439"/>
              <a:gd name="connsiteX116" fmla="*/ 1616001 w 12192000"/>
              <a:gd name="connsiteY116" fmla="*/ 178828 h 3881439"/>
              <a:gd name="connsiteX117" fmla="*/ 2021330 w 12192000"/>
              <a:gd name="connsiteY117" fmla="*/ 41275 h 3881439"/>
              <a:gd name="connsiteX118" fmla="*/ 3176 w 12192000"/>
              <a:gd name="connsiteY118" fmla="*/ 41275 h 3881439"/>
              <a:gd name="connsiteX119" fmla="*/ 1314450 w 12192000"/>
              <a:gd name="connsiteY119" fmla="*/ 41275 h 3881439"/>
              <a:gd name="connsiteX120" fmla="*/ 1314450 w 12192000"/>
              <a:gd name="connsiteY120" fmla="*/ 542925 h 3881439"/>
              <a:gd name="connsiteX121" fmla="*/ 919163 w 12192000"/>
              <a:gd name="connsiteY121" fmla="*/ 542925 h 3881439"/>
              <a:gd name="connsiteX122" fmla="*/ 919163 w 12192000"/>
              <a:gd name="connsiteY122" fmla="*/ 1785938 h 3881439"/>
              <a:gd name="connsiteX123" fmla="*/ 401638 w 12192000"/>
              <a:gd name="connsiteY123" fmla="*/ 1785938 h 3881439"/>
              <a:gd name="connsiteX124" fmla="*/ 401638 w 12192000"/>
              <a:gd name="connsiteY124" fmla="*/ 542925 h 3881439"/>
              <a:gd name="connsiteX125" fmla="*/ 3176 w 12192000"/>
              <a:gd name="connsiteY125" fmla="*/ 542925 h 3881439"/>
              <a:gd name="connsiteX126" fmla="*/ 11336953 w 12192000"/>
              <a:gd name="connsiteY126" fmla="*/ 0 h 3881439"/>
              <a:gd name="connsiteX127" fmla="*/ 11547475 w 12192000"/>
              <a:gd name="connsiteY127" fmla="*/ 33057 h 3881439"/>
              <a:gd name="connsiteX128" fmla="*/ 11547475 w 12192000"/>
              <a:gd name="connsiteY128" fmla="*/ 532395 h 3881439"/>
              <a:gd name="connsiteX129" fmla="*/ 11469182 w 12192000"/>
              <a:gd name="connsiteY129" fmla="*/ 511517 h 3881439"/>
              <a:gd name="connsiteX130" fmla="*/ 11364790 w 12192000"/>
              <a:gd name="connsiteY130" fmla="*/ 549793 h 3881439"/>
              <a:gd name="connsiteX131" fmla="*/ 11321294 w 12192000"/>
              <a:gd name="connsiteY131" fmla="*/ 655924 h 3881439"/>
              <a:gd name="connsiteX132" fmla="*/ 11364790 w 12192000"/>
              <a:gd name="connsiteY132" fmla="*/ 795113 h 3881439"/>
              <a:gd name="connsiteX133" fmla="*/ 11404807 w 12192000"/>
              <a:gd name="connsiteY133" fmla="*/ 862967 h 3881439"/>
              <a:gd name="connsiteX134" fmla="*/ 11510938 w 12192000"/>
              <a:gd name="connsiteY134" fmla="*/ 1230076 h 3881439"/>
              <a:gd name="connsiteX135" fmla="*/ 11331733 w 12192000"/>
              <a:gd name="connsiteY135" fmla="*/ 1638941 h 3881439"/>
              <a:gd name="connsiteX136" fmla="*/ 10886331 w 12192000"/>
              <a:gd name="connsiteY136" fmla="*/ 1812926 h 3881439"/>
              <a:gd name="connsiteX137" fmla="*/ 10641012 w 12192000"/>
              <a:gd name="connsiteY137" fmla="*/ 1764210 h 3881439"/>
              <a:gd name="connsiteX138" fmla="*/ 10641012 w 12192000"/>
              <a:gd name="connsiteY138" fmla="*/ 1259653 h 3881439"/>
              <a:gd name="connsiteX139" fmla="*/ 10781940 w 12192000"/>
              <a:gd name="connsiteY139" fmla="*/ 1303149 h 3881439"/>
              <a:gd name="connsiteX140" fmla="*/ 10889811 w 12192000"/>
              <a:gd name="connsiteY140" fmla="*/ 1266613 h 3881439"/>
              <a:gd name="connsiteX141" fmla="*/ 10931567 w 12192000"/>
              <a:gd name="connsiteY141" fmla="*/ 1167441 h 3881439"/>
              <a:gd name="connsiteX142" fmla="*/ 10858494 w 12192000"/>
              <a:gd name="connsiteY142" fmla="*/ 1010854 h 3881439"/>
              <a:gd name="connsiteX143" fmla="*/ 10743663 w 12192000"/>
              <a:gd name="connsiteY143" fmla="*/ 600249 h 3881439"/>
              <a:gd name="connsiteX144" fmla="*/ 10917648 w 12192000"/>
              <a:gd name="connsiteY144" fmla="*/ 177465 h 3881439"/>
              <a:gd name="connsiteX145" fmla="*/ 11336953 w 12192000"/>
              <a:gd name="connsiteY145" fmla="*/ 0 h 3881439"/>
              <a:gd name="connsiteX146" fmla="*/ 5138383 w 12192000"/>
              <a:gd name="connsiteY146" fmla="*/ 0 h 3881439"/>
              <a:gd name="connsiteX147" fmla="*/ 5714890 w 12192000"/>
              <a:gd name="connsiteY147" fmla="*/ 194864 h 3881439"/>
              <a:gd name="connsiteX148" fmla="*/ 6033624 w 12192000"/>
              <a:gd name="connsiteY148" fmla="*/ 760316 h 3881439"/>
              <a:gd name="connsiteX149" fmla="*/ 5479759 w 12192000"/>
              <a:gd name="connsiteY149" fmla="*/ 800332 h 3881439"/>
              <a:gd name="connsiteX150" fmla="*/ 5126191 w 12192000"/>
              <a:gd name="connsiteY150" fmla="*/ 511517 h 3881439"/>
              <a:gd name="connsiteX151" fmla="*/ 4852742 w 12192000"/>
              <a:gd name="connsiteY151" fmla="*/ 624607 h 3881439"/>
              <a:gd name="connsiteX152" fmla="*/ 4744756 w 12192000"/>
              <a:gd name="connsiteY152" fmla="*/ 915162 h 3881439"/>
              <a:gd name="connsiteX153" fmla="*/ 4849258 w 12192000"/>
              <a:gd name="connsiteY153" fmla="*/ 1193539 h 3881439"/>
              <a:gd name="connsiteX154" fmla="*/ 5117482 w 12192000"/>
              <a:gd name="connsiteY154" fmla="*/ 1301410 h 3881439"/>
              <a:gd name="connsiteX155" fmla="*/ 5497176 w 12192000"/>
              <a:gd name="connsiteY155" fmla="*/ 920382 h 3881439"/>
              <a:gd name="connsiteX156" fmla="*/ 6038849 w 12192000"/>
              <a:gd name="connsiteY156" fmla="*/ 936041 h 3881439"/>
              <a:gd name="connsiteX157" fmla="*/ 5744499 w 12192000"/>
              <a:gd name="connsiteY157" fmla="*/ 1588485 h 3881439"/>
              <a:gd name="connsiteX158" fmla="*/ 5126191 w 12192000"/>
              <a:gd name="connsiteY158" fmla="*/ 1812926 h 3881439"/>
              <a:gd name="connsiteX159" fmla="*/ 4471307 w 12192000"/>
              <a:gd name="connsiteY159" fmla="*/ 1557168 h 3881439"/>
              <a:gd name="connsiteX160" fmla="*/ 4210050 w 12192000"/>
              <a:gd name="connsiteY160" fmla="*/ 915162 h 3881439"/>
              <a:gd name="connsiteX161" fmla="*/ 4476532 w 12192000"/>
              <a:gd name="connsiteY161" fmla="*/ 262718 h 3881439"/>
              <a:gd name="connsiteX162" fmla="*/ 5138383 w 12192000"/>
              <a:gd name="connsiteY162" fmla="*/ 0 h 3881439"/>
              <a:gd name="connsiteX163" fmla="*/ 3402801 w 12192000"/>
              <a:gd name="connsiteY163" fmla="*/ 0 h 3881439"/>
              <a:gd name="connsiteX164" fmla="*/ 3855749 w 12192000"/>
              <a:gd name="connsiteY164" fmla="*/ 161883 h 3881439"/>
              <a:gd name="connsiteX165" fmla="*/ 4002087 w 12192000"/>
              <a:gd name="connsiteY165" fmla="*/ 657977 h 3881439"/>
              <a:gd name="connsiteX166" fmla="*/ 4002087 w 12192000"/>
              <a:gd name="connsiteY166" fmla="*/ 1785938 h 3881439"/>
              <a:gd name="connsiteX167" fmla="*/ 3482938 w 12192000"/>
              <a:gd name="connsiteY167" fmla="*/ 1785938 h 3881439"/>
              <a:gd name="connsiteX168" fmla="*/ 3482938 w 12192000"/>
              <a:gd name="connsiteY168" fmla="*/ 692791 h 3881439"/>
              <a:gd name="connsiteX169" fmla="*/ 3458549 w 12192000"/>
              <a:gd name="connsiteY169" fmla="*/ 553536 h 3881439"/>
              <a:gd name="connsiteX170" fmla="*/ 3373185 w 12192000"/>
              <a:gd name="connsiteY170" fmla="*/ 511760 h 3881439"/>
              <a:gd name="connsiteX171" fmla="*/ 3252979 w 12192000"/>
              <a:gd name="connsiteY171" fmla="*/ 692791 h 3881439"/>
              <a:gd name="connsiteX172" fmla="*/ 3252979 w 12192000"/>
              <a:gd name="connsiteY172" fmla="*/ 912117 h 3881439"/>
              <a:gd name="connsiteX173" fmla="*/ 3399317 w 12192000"/>
              <a:gd name="connsiteY173" fmla="*/ 912117 h 3881439"/>
              <a:gd name="connsiteX174" fmla="*/ 3399317 w 12192000"/>
              <a:gd name="connsiteY174" fmla="*/ 1369916 h 3881439"/>
              <a:gd name="connsiteX175" fmla="*/ 3252979 w 12192000"/>
              <a:gd name="connsiteY175" fmla="*/ 1369916 h 3881439"/>
              <a:gd name="connsiteX176" fmla="*/ 3252979 w 12192000"/>
              <a:gd name="connsiteY176" fmla="*/ 1785938 h 3881439"/>
              <a:gd name="connsiteX177" fmla="*/ 2732087 w 12192000"/>
              <a:gd name="connsiteY177" fmla="*/ 1785938 h 3881439"/>
              <a:gd name="connsiteX178" fmla="*/ 2732087 w 12192000"/>
              <a:gd name="connsiteY178" fmla="*/ 677125 h 3881439"/>
              <a:gd name="connsiteX179" fmla="*/ 2908041 w 12192000"/>
              <a:gd name="connsiteY179" fmla="*/ 177550 h 3881439"/>
              <a:gd name="connsiteX180" fmla="*/ 3402801 w 12192000"/>
              <a:gd name="connsiteY180" fmla="*/ 0 h 3881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12192000" h="3881439">
                <a:moveTo>
                  <a:pt x="3184524" y="2130426"/>
                </a:moveTo>
                <a:lnTo>
                  <a:pt x="3709987" y="2130426"/>
                </a:lnTo>
                <a:lnTo>
                  <a:pt x="3935412" y="2490789"/>
                </a:lnTo>
                <a:lnTo>
                  <a:pt x="4178300" y="2130426"/>
                </a:lnTo>
                <a:lnTo>
                  <a:pt x="4694237" y="2130426"/>
                </a:lnTo>
                <a:lnTo>
                  <a:pt x="4200525" y="2906714"/>
                </a:lnTo>
                <a:lnTo>
                  <a:pt x="4200525" y="3875089"/>
                </a:lnTo>
                <a:lnTo>
                  <a:pt x="3681412" y="3875089"/>
                </a:lnTo>
                <a:lnTo>
                  <a:pt x="3681412" y="2906714"/>
                </a:lnTo>
                <a:close/>
                <a:moveTo>
                  <a:pt x="0" y="2130426"/>
                </a:moveTo>
                <a:cubicBezTo>
                  <a:pt x="0" y="2130426"/>
                  <a:pt x="0" y="2130426"/>
                  <a:pt x="675620" y="2130426"/>
                </a:cubicBezTo>
                <a:cubicBezTo>
                  <a:pt x="983828" y="2130426"/>
                  <a:pt x="1227609" y="2207011"/>
                  <a:pt x="1405220" y="2363663"/>
                </a:cubicBezTo>
                <a:cubicBezTo>
                  <a:pt x="1582832" y="2518573"/>
                  <a:pt x="1671638" y="2725701"/>
                  <a:pt x="1671638" y="2988527"/>
                </a:cubicBezTo>
                <a:cubicBezTo>
                  <a:pt x="1671638" y="3251353"/>
                  <a:pt x="1586314" y="3465443"/>
                  <a:pt x="1415668" y="3632538"/>
                </a:cubicBezTo>
                <a:cubicBezTo>
                  <a:pt x="1245022" y="3799632"/>
                  <a:pt x="1025619" y="3881439"/>
                  <a:pt x="757461" y="3881439"/>
                </a:cubicBezTo>
                <a:cubicBezTo>
                  <a:pt x="745272" y="3881439"/>
                  <a:pt x="694774" y="3879699"/>
                  <a:pt x="602486" y="3876217"/>
                </a:cubicBezTo>
                <a:cubicBezTo>
                  <a:pt x="602486" y="3876217"/>
                  <a:pt x="602486" y="3876217"/>
                  <a:pt x="602486" y="3364490"/>
                </a:cubicBezTo>
                <a:cubicBezTo>
                  <a:pt x="602486" y="3364490"/>
                  <a:pt x="602486" y="3364490"/>
                  <a:pt x="686068" y="3364490"/>
                </a:cubicBezTo>
                <a:cubicBezTo>
                  <a:pt x="989052" y="3364490"/>
                  <a:pt x="1140544" y="3239169"/>
                  <a:pt x="1140544" y="2988527"/>
                </a:cubicBezTo>
                <a:cubicBezTo>
                  <a:pt x="1140544" y="2750069"/>
                  <a:pt x="992534" y="2631710"/>
                  <a:pt x="693033" y="2631710"/>
                </a:cubicBezTo>
                <a:cubicBezTo>
                  <a:pt x="693033" y="2631710"/>
                  <a:pt x="693033" y="2631710"/>
                  <a:pt x="518904" y="2631710"/>
                </a:cubicBezTo>
                <a:cubicBezTo>
                  <a:pt x="518904" y="2631710"/>
                  <a:pt x="518904" y="2631710"/>
                  <a:pt x="518904" y="3874477"/>
                </a:cubicBezTo>
                <a:cubicBezTo>
                  <a:pt x="518904" y="3874477"/>
                  <a:pt x="518904" y="3874477"/>
                  <a:pt x="0" y="3874477"/>
                </a:cubicBezTo>
                <a:cubicBezTo>
                  <a:pt x="0" y="3874477"/>
                  <a:pt x="0" y="3874477"/>
                  <a:pt x="0" y="2130426"/>
                </a:cubicBezTo>
                <a:close/>
                <a:moveTo>
                  <a:pt x="2549475" y="2089151"/>
                </a:moveTo>
                <a:cubicBezTo>
                  <a:pt x="2753047" y="2089151"/>
                  <a:pt x="2902681" y="2143112"/>
                  <a:pt x="3001858" y="2251035"/>
                </a:cubicBezTo>
                <a:cubicBezTo>
                  <a:pt x="3099294" y="2358957"/>
                  <a:pt x="3148013" y="2524321"/>
                  <a:pt x="3148013" y="2747128"/>
                </a:cubicBezTo>
                <a:cubicBezTo>
                  <a:pt x="3148013" y="2747128"/>
                  <a:pt x="3148013" y="2747128"/>
                  <a:pt x="3148013" y="3875089"/>
                </a:cubicBezTo>
                <a:cubicBezTo>
                  <a:pt x="3148013" y="3875089"/>
                  <a:pt x="3148013" y="3875089"/>
                  <a:pt x="2629512" y="3875089"/>
                </a:cubicBezTo>
                <a:cubicBezTo>
                  <a:pt x="2629512" y="3875089"/>
                  <a:pt x="2629512" y="3875089"/>
                  <a:pt x="2629512" y="2781942"/>
                </a:cubicBezTo>
                <a:cubicBezTo>
                  <a:pt x="2629512" y="2715796"/>
                  <a:pt x="2620812" y="2668798"/>
                  <a:pt x="2605153" y="2642688"/>
                </a:cubicBezTo>
                <a:cubicBezTo>
                  <a:pt x="2587753" y="2614837"/>
                  <a:pt x="2559914" y="2600911"/>
                  <a:pt x="2519896" y="2600911"/>
                </a:cubicBezTo>
                <a:cubicBezTo>
                  <a:pt x="2439859" y="2600911"/>
                  <a:pt x="2399840" y="2661835"/>
                  <a:pt x="2399840" y="2781942"/>
                </a:cubicBezTo>
                <a:cubicBezTo>
                  <a:pt x="2399840" y="2781942"/>
                  <a:pt x="2399840" y="2781942"/>
                  <a:pt x="2399840" y="3001268"/>
                </a:cubicBezTo>
                <a:cubicBezTo>
                  <a:pt x="2399840" y="3001268"/>
                  <a:pt x="2399840" y="3001268"/>
                  <a:pt x="2545995" y="3001268"/>
                </a:cubicBezTo>
                <a:cubicBezTo>
                  <a:pt x="2545995" y="3001268"/>
                  <a:pt x="2545995" y="3001268"/>
                  <a:pt x="2545995" y="3459067"/>
                </a:cubicBezTo>
                <a:cubicBezTo>
                  <a:pt x="2545995" y="3459067"/>
                  <a:pt x="2545995" y="3459067"/>
                  <a:pt x="2399840" y="3459067"/>
                </a:cubicBezTo>
                <a:cubicBezTo>
                  <a:pt x="2399840" y="3459067"/>
                  <a:pt x="2399840" y="3459067"/>
                  <a:pt x="2399840" y="3875089"/>
                </a:cubicBezTo>
                <a:cubicBezTo>
                  <a:pt x="2399840" y="3875089"/>
                  <a:pt x="2399840" y="3875089"/>
                  <a:pt x="1879600" y="3875089"/>
                </a:cubicBezTo>
                <a:cubicBezTo>
                  <a:pt x="1879600" y="3875089"/>
                  <a:pt x="1879600" y="3875089"/>
                  <a:pt x="1879600" y="2766276"/>
                </a:cubicBezTo>
                <a:cubicBezTo>
                  <a:pt x="1879600" y="2552172"/>
                  <a:pt x="1938757" y="2385067"/>
                  <a:pt x="2055333" y="2266701"/>
                </a:cubicBezTo>
                <a:cubicBezTo>
                  <a:pt x="2171909" y="2148334"/>
                  <a:pt x="2335463" y="2089151"/>
                  <a:pt x="2549475" y="2089151"/>
                </a:cubicBezTo>
                <a:close/>
                <a:moveTo>
                  <a:pt x="11737975" y="41275"/>
                </a:moveTo>
                <a:lnTo>
                  <a:pt x="12192000" y="41275"/>
                </a:lnTo>
                <a:lnTo>
                  <a:pt x="12093575" y="741363"/>
                </a:lnTo>
                <a:lnTo>
                  <a:pt x="11833225" y="741363"/>
                </a:lnTo>
                <a:close/>
                <a:moveTo>
                  <a:pt x="9166225" y="41275"/>
                </a:moveTo>
                <a:cubicBezTo>
                  <a:pt x="9166225" y="41275"/>
                  <a:pt x="9166225" y="41275"/>
                  <a:pt x="9829351" y="41275"/>
                </a:cubicBezTo>
                <a:cubicBezTo>
                  <a:pt x="10034729" y="41275"/>
                  <a:pt x="10194854" y="95252"/>
                  <a:pt x="10313207" y="201464"/>
                </a:cubicBezTo>
                <a:cubicBezTo>
                  <a:pt x="10429819" y="309417"/>
                  <a:pt x="10488996" y="448711"/>
                  <a:pt x="10488996" y="621088"/>
                </a:cubicBezTo>
                <a:cubicBezTo>
                  <a:pt x="10488996" y="800430"/>
                  <a:pt x="10410674" y="948430"/>
                  <a:pt x="10255770" y="1066831"/>
                </a:cubicBezTo>
                <a:cubicBezTo>
                  <a:pt x="10255770" y="1066831"/>
                  <a:pt x="10255770" y="1066831"/>
                  <a:pt x="10556875" y="1785938"/>
                </a:cubicBezTo>
                <a:cubicBezTo>
                  <a:pt x="10556875" y="1785938"/>
                  <a:pt x="10556875" y="1785938"/>
                  <a:pt x="10010362" y="1785938"/>
                </a:cubicBezTo>
                <a:cubicBezTo>
                  <a:pt x="10010362" y="1785938"/>
                  <a:pt x="10010362" y="1785938"/>
                  <a:pt x="9759731" y="1223537"/>
                </a:cubicBezTo>
                <a:cubicBezTo>
                  <a:pt x="9759731" y="1223537"/>
                  <a:pt x="9759731" y="1223537"/>
                  <a:pt x="9759731" y="776053"/>
                </a:cubicBezTo>
                <a:cubicBezTo>
                  <a:pt x="9759731" y="776053"/>
                  <a:pt x="9759731" y="776053"/>
                  <a:pt x="9801503" y="776053"/>
                </a:cubicBezTo>
                <a:cubicBezTo>
                  <a:pt x="9911154" y="776053"/>
                  <a:pt x="9965109" y="729042"/>
                  <a:pt x="9965109" y="635018"/>
                </a:cubicBezTo>
                <a:cubicBezTo>
                  <a:pt x="9965109" y="553182"/>
                  <a:pt x="9902452" y="511394"/>
                  <a:pt x="9775396" y="511394"/>
                </a:cubicBezTo>
                <a:cubicBezTo>
                  <a:pt x="9775396" y="511394"/>
                  <a:pt x="9775396" y="511394"/>
                  <a:pt x="9683150" y="511394"/>
                </a:cubicBezTo>
                <a:cubicBezTo>
                  <a:pt x="9683150" y="511394"/>
                  <a:pt x="9683150" y="511394"/>
                  <a:pt x="9683150" y="1785938"/>
                </a:cubicBezTo>
                <a:cubicBezTo>
                  <a:pt x="9683150" y="1785938"/>
                  <a:pt x="9683150" y="1785938"/>
                  <a:pt x="9166225" y="1785938"/>
                </a:cubicBezTo>
                <a:cubicBezTo>
                  <a:pt x="9166225" y="1785938"/>
                  <a:pt x="9166225" y="1785938"/>
                  <a:pt x="9166225" y="41275"/>
                </a:cubicBezTo>
                <a:close/>
                <a:moveTo>
                  <a:pt x="8417367" y="41275"/>
                </a:moveTo>
                <a:cubicBezTo>
                  <a:pt x="8417367" y="41275"/>
                  <a:pt x="8417367" y="41275"/>
                  <a:pt x="8866187" y="41275"/>
                </a:cubicBezTo>
                <a:cubicBezTo>
                  <a:pt x="8866187" y="41275"/>
                  <a:pt x="8866187" y="41275"/>
                  <a:pt x="8866187" y="542735"/>
                </a:cubicBezTo>
                <a:cubicBezTo>
                  <a:pt x="8866187" y="542735"/>
                  <a:pt x="8866187" y="542735"/>
                  <a:pt x="8535660" y="542735"/>
                </a:cubicBezTo>
                <a:cubicBezTo>
                  <a:pt x="8446940" y="542735"/>
                  <a:pt x="8401710" y="572335"/>
                  <a:pt x="8401710" y="629794"/>
                </a:cubicBezTo>
                <a:cubicBezTo>
                  <a:pt x="8401710" y="666359"/>
                  <a:pt x="8413888" y="690736"/>
                  <a:pt x="8436502" y="702924"/>
                </a:cubicBezTo>
                <a:cubicBezTo>
                  <a:pt x="8460857" y="715112"/>
                  <a:pt x="8497389" y="720336"/>
                  <a:pt x="8547838" y="720336"/>
                </a:cubicBezTo>
                <a:cubicBezTo>
                  <a:pt x="8547838" y="720336"/>
                  <a:pt x="8547838" y="720336"/>
                  <a:pt x="8833134" y="720336"/>
                </a:cubicBezTo>
                <a:cubicBezTo>
                  <a:pt x="8833134" y="720336"/>
                  <a:pt x="8833134" y="720336"/>
                  <a:pt x="8833134" y="1108619"/>
                </a:cubicBezTo>
                <a:cubicBezTo>
                  <a:pt x="8833134" y="1108619"/>
                  <a:pt x="8833134" y="1108619"/>
                  <a:pt x="8495649" y="1108619"/>
                </a:cubicBezTo>
                <a:cubicBezTo>
                  <a:pt x="8450419" y="1108619"/>
                  <a:pt x="8417367" y="1115584"/>
                  <a:pt x="8398231" y="1129513"/>
                </a:cubicBezTo>
                <a:cubicBezTo>
                  <a:pt x="8379095" y="1143443"/>
                  <a:pt x="8370397" y="1166078"/>
                  <a:pt x="8370397" y="1197419"/>
                </a:cubicBezTo>
                <a:cubicBezTo>
                  <a:pt x="8370397" y="1233984"/>
                  <a:pt x="8379095" y="1258360"/>
                  <a:pt x="8398231" y="1270549"/>
                </a:cubicBezTo>
                <a:cubicBezTo>
                  <a:pt x="8415627" y="1282737"/>
                  <a:pt x="8457378" y="1287961"/>
                  <a:pt x="8520004" y="1287961"/>
                </a:cubicBezTo>
                <a:cubicBezTo>
                  <a:pt x="8520004" y="1287961"/>
                  <a:pt x="8520004" y="1287961"/>
                  <a:pt x="8866187" y="1287961"/>
                </a:cubicBezTo>
                <a:cubicBezTo>
                  <a:pt x="8866187" y="1287961"/>
                  <a:pt x="8866187" y="1287961"/>
                  <a:pt x="8866187" y="1785938"/>
                </a:cubicBezTo>
                <a:cubicBezTo>
                  <a:pt x="8866187" y="1785938"/>
                  <a:pt x="8866187" y="1785938"/>
                  <a:pt x="8459118" y="1785938"/>
                </a:cubicBezTo>
                <a:cubicBezTo>
                  <a:pt x="8267760" y="1785938"/>
                  <a:pt x="8121633" y="1740667"/>
                  <a:pt x="8020735" y="1648385"/>
                </a:cubicBezTo>
                <a:cubicBezTo>
                  <a:pt x="7919837" y="1556102"/>
                  <a:pt x="7867649" y="1425514"/>
                  <a:pt x="7867649" y="1251396"/>
                </a:cubicBezTo>
                <a:cubicBezTo>
                  <a:pt x="7867649" y="1251396"/>
                  <a:pt x="7867649" y="1251396"/>
                  <a:pt x="7867649" y="568853"/>
                </a:cubicBezTo>
                <a:cubicBezTo>
                  <a:pt x="7867649" y="401700"/>
                  <a:pt x="7916358" y="272852"/>
                  <a:pt x="8012037" y="178828"/>
                </a:cubicBezTo>
                <a:cubicBezTo>
                  <a:pt x="8107716" y="86546"/>
                  <a:pt x="8243405" y="41275"/>
                  <a:pt x="8417367" y="41275"/>
                </a:cubicBezTo>
                <a:close/>
                <a:moveTo>
                  <a:pt x="7035799" y="41275"/>
                </a:moveTo>
                <a:lnTo>
                  <a:pt x="7553324" y="41275"/>
                </a:lnTo>
                <a:lnTo>
                  <a:pt x="7553324" y="1785938"/>
                </a:lnTo>
                <a:lnTo>
                  <a:pt x="7035799" y="1785938"/>
                </a:lnTo>
                <a:close/>
                <a:moveTo>
                  <a:pt x="6286499" y="41275"/>
                </a:moveTo>
                <a:lnTo>
                  <a:pt x="6802437" y="41275"/>
                </a:lnTo>
                <a:lnTo>
                  <a:pt x="6802437" y="666750"/>
                </a:lnTo>
                <a:lnTo>
                  <a:pt x="6946899" y="666750"/>
                </a:lnTo>
                <a:lnTo>
                  <a:pt x="6946899" y="1125538"/>
                </a:lnTo>
                <a:lnTo>
                  <a:pt x="6802437" y="1125538"/>
                </a:lnTo>
                <a:lnTo>
                  <a:pt x="6802437" y="1785938"/>
                </a:lnTo>
                <a:lnTo>
                  <a:pt x="6286499" y="1785938"/>
                </a:lnTo>
                <a:close/>
                <a:moveTo>
                  <a:pt x="2021330" y="41275"/>
                </a:moveTo>
                <a:cubicBezTo>
                  <a:pt x="2021330" y="41275"/>
                  <a:pt x="2021330" y="41275"/>
                  <a:pt x="2470151" y="41275"/>
                </a:cubicBezTo>
                <a:cubicBezTo>
                  <a:pt x="2470151" y="41275"/>
                  <a:pt x="2470151" y="41275"/>
                  <a:pt x="2470151" y="542735"/>
                </a:cubicBezTo>
                <a:cubicBezTo>
                  <a:pt x="2470151" y="542735"/>
                  <a:pt x="2470151" y="542735"/>
                  <a:pt x="2137885" y="542735"/>
                </a:cubicBezTo>
                <a:cubicBezTo>
                  <a:pt x="2049164" y="542735"/>
                  <a:pt x="2005674" y="572335"/>
                  <a:pt x="2005674" y="629794"/>
                </a:cubicBezTo>
                <a:cubicBezTo>
                  <a:pt x="2005674" y="666359"/>
                  <a:pt x="2016112" y="690736"/>
                  <a:pt x="2040467" y="702924"/>
                </a:cubicBezTo>
                <a:cubicBezTo>
                  <a:pt x="2063081" y="715112"/>
                  <a:pt x="2101352" y="720336"/>
                  <a:pt x="2151801" y="720336"/>
                </a:cubicBezTo>
                <a:cubicBezTo>
                  <a:pt x="2151801" y="720336"/>
                  <a:pt x="2151801" y="720336"/>
                  <a:pt x="2435359" y="720336"/>
                </a:cubicBezTo>
                <a:cubicBezTo>
                  <a:pt x="2435359" y="720336"/>
                  <a:pt x="2435359" y="720336"/>
                  <a:pt x="2435359" y="1108619"/>
                </a:cubicBezTo>
                <a:cubicBezTo>
                  <a:pt x="2435359" y="1108619"/>
                  <a:pt x="2435359" y="1108619"/>
                  <a:pt x="2099613" y="1108619"/>
                </a:cubicBezTo>
                <a:cubicBezTo>
                  <a:pt x="2054383" y="1108619"/>
                  <a:pt x="2021330" y="1115584"/>
                  <a:pt x="2002195" y="1129513"/>
                </a:cubicBezTo>
                <a:cubicBezTo>
                  <a:pt x="1983059" y="1143443"/>
                  <a:pt x="1972621" y="1166078"/>
                  <a:pt x="1972621" y="1197419"/>
                </a:cubicBezTo>
                <a:cubicBezTo>
                  <a:pt x="1972621" y="1233984"/>
                  <a:pt x="1983059" y="1258360"/>
                  <a:pt x="2000455" y="1270549"/>
                </a:cubicBezTo>
                <a:cubicBezTo>
                  <a:pt x="2019591" y="1282737"/>
                  <a:pt x="2059602" y="1287961"/>
                  <a:pt x="2122228" y="1287961"/>
                </a:cubicBezTo>
                <a:cubicBezTo>
                  <a:pt x="2122228" y="1287961"/>
                  <a:pt x="2122228" y="1287961"/>
                  <a:pt x="2470151" y="1287961"/>
                </a:cubicBezTo>
                <a:cubicBezTo>
                  <a:pt x="2470151" y="1287961"/>
                  <a:pt x="2470151" y="1287961"/>
                  <a:pt x="2470151" y="1785938"/>
                </a:cubicBezTo>
                <a:cubicBezTo>
                  <a:pt x="2470151" y="1785938"/>
                  <a:pt x="2470151" y="1785938"/>
                  <a:pt x="2063081" y="1785938"/>
                </a:cubicBezTo>
                <a:cubicBezTo>
                  <a:pt x="1869984" y="1785938"/>
                  <a:pt x="1723856" y="1740667"/>
                  <a:pt x="1622959" y="1648385"/>
                </a:cubicBezTo>
                <a:cubicBezTo>
                  <a:pt x="1522061" y="1556102"/>
                  <a:pt x="1471613" y="1425514"/>
                  <a:pt x="1471613" y="1251396"/>
                </a:cubicBezTo>
                <a:cubicBezTo>
                  <a:pt x="1471613" y="1251396"/>
                  <a:pt x="1471613" y="1251396"/>
                  <a:pt x="1471613" y="568853"/>
                </a:cubicBezTo>
                <a:cubicBezTo>
                  <a:pt x="1471613" y="401700"/>
                  <a:pt x="1520322" y="272852"/>
                  <a:pt x="1616001" y="178828"/>
                </a:cubicBezTo>
                <a:cubicBezTo>
                  <a:pt x="1711679" y="86546"/>
                  <a:pt x="1845629" y="41275"/>
                  <a:pt x="2021330" y="41275"/>
                </a:cubicBezTo>
                <a:close/>
                <a:moveTo>
                  <a:pt x="3176" y="41275"/>
                </a:moveTo>
                <a:lnTo>
                  <a:pt x="1314450" y="41275"/>
                </a:lnTo>
                <a:lnTo>
                  <a:pt x="1314450" y="542925"/>
                </a:lnTo>
                <a:lnTo>
                  <a:pt x="919163" y="542925"/>
                </a:lnTo>
                <a:lnTo>
                  <a:pt x="919163" y="1785938"/>
                </a:lnTo>
                <a:lnTo>
                  <a:pt x="401638" y="1785938"/>
                </a:lnTo>
                <a:lnTo>
                  <a:pt x="401638" y="542925"/>
                </a:lnTo>
                <a:lnTo>
                  <a:pt x="3176" y="542925"/>
                </a:lnTo>
                <a:close/>
                <a:moveTo>
                  <a:pt x="11336953" y="0"/>
                </a:moveTo>
                <a:cubicBezTo>
                  <a:pt x="11410027" y="0"/>
                  <a:pt x="11479621" y="10439"/>
                  <a:pt x="11547475" y="33057"/>
                </a:cubicBezTo>
                <a:cubicBezTo>
                  <a:pt x="11547475" y="33057"/>
                  <a:pt x="11547475" y="33057"/>
                  <a:pt x="11547475" y="532395"/>
                </a:cubicBezTo>
                <a:cubicBezTo>
                  <a:pt x="11509198" y="518476"/>
                  <a:pt x="11483100" y="511517"/>
                  <a:pt x="11469182" y="511517"/>
                </a:cubicBezTo>
                <a:cubicBezTo>
                  <a:pt x="11429165" y="511517"/>
                  <a:pt x="11394368" y="525436"/>
                  <a:pt x="11364790" y="549793"/>
                </a:cubicBezTo>
                <a:cubicBezTo>
                  <a:pt x="11335213" y="575891"/>
                  <a:pt x="11321294" y="610688"/>
                  <a:pt x="11321294" y="655924"/>
                </a:cubicBezTo>
                <a:cubicBezTo>
                  <a:pt x="11321294" y="697681"/>
                  <a:pt x="11335213" y="742917"/>
                  <a:pt x="11364790" y="795113"/>
                </a:cubicBezTo>
                <a:cubicBezTo>
                  <a:pt x="11364790" y="795113"/>
                  <a:pt x="11364790" y="795113"/>
                  <a:pt x="11404807" y="862967"/>
                </a:cubicBezTo>
                <a:cubicBezTo>
                  <a:pt x="11476141" y="988236"/>
                  <a:pt x="11510938" y="1110026"/>
                  <a:pt x="11510938" y="1230076"/>
                </a:cubicBezTo>
                <a:cubicBezTo>
                  <a:pt x="11510938" y="1386662"/>
                  <a:pt x="11451783" y="1522371"/>
                  <a:pt x="11331733" y="1638941"/>
                </a:cubicBezTo>
                <a:cubicBezTo>
                  <a:pt x="11213423" y="1755511"/>
                  <a:pt x="11063796" y="1812926"/>
                  <a:pt x="10886331" y="1812926"/>
                </a:cubicBezTo>
                <a:cubicBezTo>
                  <a:pt x="10797599" y="1812926"/>
                  <a:pt x="10715826" y="1797268"/>
                  <a:pt x="10641012" y="1764210"/>
                </a:cubicBezTo>
                <a:cubicBezTo>
                  <a:pt x="10641012" y="1764210"/>
                  <a:pt x="10641012" y="1764210"/>
                  <a:pt x="10641012" y="1259653"/>
                </a:cubicBezTo>
                <a:cubicBezTo>
                  <a:pt x="10687988" y="1289231"/>
                  <a:pt x="10734964" y="1303149"/>
                  <a:pt x="10781940" y="1303149"/>
                </a:cubicBezTo>
                <a:cubicBezTo>
                  <a:pt x="10825436" y="1303149"/>
                  <a:pt x="10861973" y="1290971"/>
                  <a:pt x="10889811" y="1266613"/>
                </a:cubicBezTo>
                <a:cubicBezTo>
                  <a:pt x="10917648" y="1240515"/>
                  <a:pt x="10931567" y="1207458"/>
                  <a:pt x="10931567" y="1167441"/>
                </a:cubicBezTo>
                <a:cubicBezTo>
                  <a:pt x="10931567" y="1148303"/>
                  <a:pt x="10907209" y="1096107"/>
                  <a:pt x="10858494" y="1010854"/>
                </a:cubicBezTo>
                <a:cubicBezTo>
                  <a:pt x="10781940" y="873406"/>
                  <a:pt x="10743663" y="735958"/>
                  <a:pt x="10743663" y="600249"/>
                </a:cubicBezTo>
                <a:cubicBezTo>
                  <a:pt x="10743663" y="436703"/>
                  <a:pt x="10801078" y="295775"/>
                  <a:pt x="10917648" y="177465"/>
                </a:cubicBezTo>
                <a:cubicBezTo>
                  <a:pt x="11034219" y="59155"/>
                  <a:pt x="11175147" y="0"/>
                  <a:pt x="11336953" y="0"/>
                </a:cubicBezTo>
                <a:close/>
                <a:moveTo>
                  <a:pt x="5138383" y="0"/>
                </a:moveTo>
                <a:cubicBezTo>
                  <a:pt x="5363064" y="0"/>
                  <a:pt x="5554653" y="64375"/>
                  <a:pt x="5714890" y="194864"/>
                </a:cubicBezTo>
                <a:cubicBezTo>
                  <a:pt x="5875129" y="327092"/>
                  <a:pt x="5981373" y="514996"/>
                  <a:pt x="6033624" y="760316"/>
                </a:cubicBezTo>
                <a:cubicBezTo>
                  <a:pt x="6033624" y="760316"/>
                  <a:pt x="6033624" y="760316"/>
                  <a:pt x="5479759" y="800332"/>
                </a:cubicBezTo>
                <a:cubicBezTo>
                  <a:pt x="5418800" y="607209"/>
                  <a:pt x="5300363" y="511517"/>
                  <a:pt x="5126191" y="511517"/>
                </a:cubicBezTo>
                <a:cubicBezTo>
                  <a:pt x="5016463" y="511517"/>
                  <a:pt x="4924153" y="549793"/>
                  <a:pt x="4852742" y="624607"/>
                </a:cubicBezTo>
                <a:cubicBezTo>
                  <a:pt x="4779590" y="699421"/>
                  <a:pt x="4744756" y="796852"/>
                  <a:pt x="4744756" y="915162"/>
                </a:cubicBezTo>
                <a:cubicBezTo>
                  <a:pt x="4744756" y="1028253"/>
                  <a:pt x="4779590" y="1120465"/>
                  <a:pt x="4849258" y="1193539"/>
                </a:cubicBezTo>
                <a:cubicBezTo>
                  <a:pt x="4920669" y="1264873"/>
                  <a:pt x="5009497" y="1301410"/>
                  <a:pt x="5117482" y="1301410"/>
                </a:cubicBezTo>
                <a:cubicBezTo>
                  <a:pt x="5343905" y="1301410"/>
                  <a:pt x="5469309" y="1174400"/>
                  <a:pt x="5497176" y="920382"/>
                </a:cubicBezTo>
                <a:cubicBezTo>
                  <a:pt x="5497176" y="920382"/>
                  <a:pt x="5497176" y="920382"/>
                  <a:pt x="6038849" y="936041"/>
                </a:cubicBezTo>
                <a:cubicBezTo>
                  <a:pt x="6000532" y="1219637"/>
                  <a:pt x="5902995" y="1437118"/>
                  <a:pt x="5744499" y="1588485"/>
                </a:cubicBezTo>
                <a:cubicBezTo>
                  <a:pt x="5584262" y="1738113"/>
                  <a:pt x="5378739" y="1812926"/>
                  <a:pt x="5126191" y="1812926"/>
                </a:cubicBezTo>
                <a:cubicBezTo>
                  <a:pt x="4863192" y="1812926"/>
                  <a:pt x="4643736" y="1727673"/>
                  <a:pt x="4471307" y="1557168"/>
                </a:cubicBezTo>
                <a:cubicBezTo>
                  <a:pt x="4297136" y="1386662"/>
                  <a:pt x="4210050" y="1172661"/>
                  <a:pt x="4210050" y="915162"/>
                </a:cubicBezTo>
                <a:cubicBezTo>
                  <a:pt x="4210050" y="654185"/>
                  <a:pt x="4298877" y="436703"/>
                  <a:pt x="4476532" y="262718"/>
                </a:cubicBezTo>
                <a:cubicBezTo>
                  <a:pt x="4654187" y="86993"/>
                  <a:pt x="4875385" y="0"/>
                  <a:pt x="5138383" y="0"/>
                </a:cubicBezTo>
                <a:close/>
                <a:moveTo>
                  <a:pt x="3402801" y="0"/>
                </a:moveTo>
                <a:cubicBezTo>
                  <a:pt x="3606627" y="0"/>
                  <a:pt x="3758190" y="53961"/>
                  <a:pt x="3855749" y="161883"/>
                </a:cubicBezTo>
                <a:cubicBezTo>
                  <a:pt x="3953308" y="269806"/>
                  <a:pt x="4002087" y="435170"/>
                  <a:pt x="4002087" y="657977"/>
                </a:cubicBezTo>
                <a:cubicBezTo>
                  <a:pt x="4002087" y="657977"/>
                  <a:pt x="4002087" y="657977"/>
                  <a:pt x="4002087" y="1785938"/>
                </a:cubicBezTo>
                <a:cubicBezTo>
                  <a:pt x="4002087" y="1785938"/>
                  <a:pt x="4002087" y="1785938"/>
                  <a:pt x="3482938" y="1785938"/>
                </a:cubicBezTo>
                <a:cubicBezTo>
                  <a:pt x="3482938" y="1785938"/>
                  <a:pt x="3482938" y="1785938"/>
                  <a:pt x="3482938" y="692791"/>
                </a:cubicBezTo>
                <a:cubicBezTo>
                  <a:pt x="3482938" y="626645"/>
                  <a:pt x="3475970" y="579647"/>
                  <a:pt x="3458549" y="553536"/>
                </a:cubicBezTo>
                <a:cubicBezTo>
                  <a:pt x="3442870" y="525686"/>
                  <a:pt x="3413254" y="511760"/>
                  <a:pt x="3373185" y="511760"/>
                </a:cubicBezTo>
                <a:cubicBezTo>
                  <a:pt x="3293048" y="511760"/>
                  <a:pt x="3252979" y="572684"/>
                  <a:pt x="3252979" y="692791"/>
                </a:cubicBezTo>
                <a:cubicBezTo>
                  <a:pt x="3252979" y="692791"/>
                  <a:pt x="3252979" y="692791"/>
                  <a:pt x="3252979" y="912117"/>
                </a:cubicBezTo>
                <a:cubicBezTo>
                  <a:pt x="3252979" y="912117"/>
                  <a:pt x="3252979" y="912117"/>
                  <a:pt x="3399317" y="912117"/>
                </a:cubicBezTo>
                <a:cubicBezTo>
                  <a:pt x="3399317" y="912117"/>
                  <a:pt x="3399317" y="912117"/>
                  <a:pt x="3399317" y="1369916"/>
                </a:cubicBezTo>
                <a:cubicBezTo>
                  <a:pt x="3399317" y="1369916"/>
                  <a:pt x="3399317" y="1369916"/>
                  <a:pt x="3252979" y="1369916"/>
                </a:cubicBezTo>
                <a:lnTo>
                  <a:pt x="3252979" y="1785938"/>
                </a:lnTo>
                <a:cubicBezTo>
                  <a:pt x="3252979" y="1785938"/>
                  <a:pt x="3252979" y="1785938"/>
                  <a:pt x="2732087" y="1785938"/>
                </a:cubicBezTo>
                <a:cubicBezTo>
                  <a:pt x="2732087" y="1785938"/>
                  <a:pt x="2732087" y="1785938"/>
                  <a:pt x="2732087" y="677125"/>
                </a:cubicBezTo>
                <a:cubicBezTo>
                  <a:pt x="2732087" y="463021"/>
                  <a:pt x="2791319" y="295916"/>
                  <a:pt x="2908041" y="177550"/>
                </a:cubicBezTo>
                <a:cubicBezTo>
                  <a:pt x="3024763" y="59183"/>
                  <a:pt x="3190263" y="0"/>
                  <a:pt x="3402801" y="0"/>
                </a:cubicBezTo>
                <a:close/>
              </a:path>
            </a:pathLst>
          </a:custGeom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63F3E894-8E24-4E05-80E5-D47DFF696F5C}"/>
              </a:ext>
            </a:extLst>
          </p:cNvPr>
          <p:cNvSpPr>
            <a:spLocks/>
          </p:cNvSpPr>
          <p:nvPr userDrawn="1"/>
        </p:nvSpPr>
        <p:spPr bwMode="auto">
          <a:xfrm>
            <a:off x="669925" y="1045567"/>
            <a:ext cx="9426575" cy="3001039"/>
          </a:xfrm>
          <a:custGeom>
            <a:avLst/>
            <a:gdLst>
              <a:gd name="connsiteX0" fmla="*/ 3184524 w 12192000"/>
              <a:gd name="connsiteY0" fmla="*/ 2130426 h 3881439"/>
              <a:gd name="connsiteX1" fmla="*/ 3709987 w 12192000"/>
              <a:gd name="connsiteY1" fmla="*/ 2130426 h 3881439"/>
              <a:gd name="connsiteX2" fmla="*/ 3935412 w 12192000"/>
              <a:gd name="connsiteY2" fmla="*/ 2490789 h 3881439"/>
              <a:gd name="connsiteX3" fmla="*/ 4178300 w 12192000"/>
              <a:gd name="connsiteY3" fmla="*/ 2130426 h 3881439"/>
              <a:gd name="connsiteX4" fmla="*/ 4694237 w 12192000"/>
              <a:gd name="connsiteY4" fmla="*/ 2130426 h 3881439"/>
              <a:gd name="connsiteX5" fmla="*/ 4200525 w 12192000"/>
              <a:gd name="connsiteY5" fmla="*/ 2906714 h 3881439"/>
              <a:gd name="connsiteX6" fmla="*/ 4200525 w 12192000"/>
              <a:gd name="connsiteY6" fmla="*/ 3875089 h 3881439"/>
              <a:gd name="connsiteX7" fmla="*/ 3681412 w 12192000"/>
              <a:gd name="connsiteY7" fmla="*/ 3875089 h 3881439"/>
              <a:gd name="connsiteX8" fmla="*/ 3681412 w 12192000"/>
              <a:gd name="connsiteY8" fmla="*/ 2906714 h 3881439"/>
              <a:gd name="connsiteX9" fmla="*/ 0 w 12192000"/>
              <a:gd name="connsiteY9" fmla="*/ 2130426 h 3881439"/>
              <a:gd name="connsiteX10" fmla="*/ 675620 w 12192000"/>
              <a:gd name="connsiteY10" fmla="*/ 2130426 h 3881439"/>
              <a:gd name="connsiteX11" fmla="*/ 1405220 w 12192000"/>
              <a:gd name="connsiteY11" fmla="*/ 2363663 h 3881439"/>
              <a:gd name="connsiteX12" fmla="*/ 1671638 w 12192000"/>
              <a:gd name="connsiteY12" fmla="*/ 2988527 h 3881439"/>
              <a:gd name="connsiteX13" fmla="*/ 1415668 w 12192000"/>
              <a:gd name="connsiteY13" fmla="*/ 3632538 h 3881439"/>
              <a:gd name="connsiteX14" fmla="*/ 757461 w 12192000"/>
              <a:gd name="connsiteY14" fmla="*/ 3881439 h 3881439"/>
              <a:gd name="connsiteX15" fmla="*/ 602486 w 12192000"/>
              <a:gd name="connsiteY15" fmla="*/ 3876217 h 3881439"/>
              <a:gd name="connsiteX16" fmla="*/ 602486 w 12192000"/>
              <a:gd name="connsiteY16" fmla="*/ 3364490 h 3881439"/>
              <a:gd name="connsiteX17" fmla="*/ 686068 w 12192000"/>
              <a:gd name="connsiteY17" fmla="*/ 3364490 h 3881439"/>
              <a:gd name="connsiteX18" fmla="*/ 1140544 w 12192000"/>
              <a:gd name="connsiteY18" fmla="*/ 2988527 h 3881439"/>
              <a:gd name="connsiteX19" fmla="*/ 693033 w 12192000"/>
              <a:gd name="connsiteY19" fmla="*/ 2631710 h 3881439"/>
              <a:gd name="connsiteX20" fmla="*/ 518904 w 12192000"/>
              <a:gd name="connsiteY20" fmla="*/ 2631710 h 3881439"/>
              <a:gd name="connsiteX21" fmla="*/ 518904 w 12192000"/>
              <a:gd name="connsiteY21" fmla="*/ 3874477 h 3881439"/>
              <a:gd name="connsiteX22" fmla="*/ 0 w 12192000"/>
              <a:gd name="connsiteY22" fmla="*/ 3874477 h 3881439"/>
              <a:gd name="connsiteX23" fmla="*/ 0 w 12192000"/>
              <a:gd name="connsiteY23" fmla="*/ 2130426 h 3881439"/>
              <a:gd name="connsiteX24" fmla="*/ 2549475 w 12192000"/>
              <a:gd name="connsiteY24" fmla="*/ 2089151 h 3881439"/>
              <a:gd name="connsiteX25" fmla="*/ 3001858 w 12192000"/>
              <a:gd name="connsiteY25" fmla="*/ 2251035 h 3881439"/>
              <a:gd name="connsiteX26" fmla="*/ 3148013 w 12192000"/>
              <a:gd name="connsiteY26" fmla="*/ 2747128 h 3881439"/>
              <a:gd name="connsiteX27" fmla="*/ 3148013 w 12192000"/>
              <a:gd name="connsiteY27" fmla="*/ 3875089 h 3881439"/>
              <a:gd name="connsiteX28" fmla="*/ 2629512 w 12192000"/>
              <a:gd name="connsiteY28" fmla="*/ 3875089 h 3881439"/>
              <a:gd name="connsiteX29" fmla="*/ 2629512 w 12192000"/>
              <a:gd name="connsiteY29" fmla="*/ 2781942 h 3881439"/>
              <a:gd name="connsiteX30" fmla="*/ 2605153 w 12192000"/>
              <a:gd name="connsiteY30" fmla="*/ 2642688 h 3881439"/>
              <a:gd name="connsiteX31" fmla="*/ 2519896 w 12192000"/>
              <a:gd name="connsiteY31" fmla="*/ 2600911 h 3881439"/>
              <a:gd name="connsiteX32" fmla="*/ 2399840 w 12192000"/>
              <a:gd name="connsiteY32" fmla="*/ 2781942 h 3881439"/>
              <a:gd name="connsiteX33" fmla="*/ 2399840 w 12192000"/>
              <a:gd name="connsiteY33" fmla="*/ 3001268 h 3881439"/>
              <a:gd name="connsiteX34" fmla="*/ 2545995 w 12192000"/>
              <a:gd name="connsiteY34" fmla="*/ 3001268 h 3881439"/>
              <a:gd name="connsiteX35" fmla="*/ 2545995 w 12192000"/>
              <a:gd name="connsiteY35" fmla="*/ 3459067 h 3881439"/>
              <a:gd name="connsiteX36" fmla="*/ 2399840 w 12192000"/>
              <a:gd name="connsiteY36" fmla="*/ 3459067 h 3881439"/>
              <a:gd name="connsiteX37" fmla="*/ 2399840 w 12192000"/>
              <a:gd name="connsiteY37" fmla="*/ 3875089 h 3881439"/>
              <a:gd name="connsiteX38" fmla="*/ 1879600 w 12192000"/>
              <a:gd name="connsiteY38" fmla="*/ 3875089 h 3881439"/>
              <a:gd name="connsiteX39" fmla="*/ 1879600 w 12192000"/>
              <a:gd name="connsiteY39" fmla="*/ 2766276 h 3881439"/>
              <a:gd name="connsiteX40" fmla="*/ 2055333 w 12192000"/>
              <a:gd name="connsiteY40" fmla="*/ 2266701 h 3881439"/>
              <a:gd name="connsiteX41" fmla="*/ 2549475 w 12192000"/>
              <a:gd name="connsiteY41" fmla="*/ 2089151 h 3881439"/>
              <a:gd name="connsiteX42" fmla="*/ 11737975 w 12192000"/>
              <a:gd name="connsiteY42" fmla="*/ 41275 h 3881439"/>
              <a:gd name="connsiteX43" fmla="*/ 12192000 w 12192000"/>
              <a:gd name="connsiteY43" fmla="*/ 41275 h 3881439"/>
              <a:gd name="connsiteX44" fmla="*/ 12093575 w 12192000"/>
              <a:gd name="connsiteY44" fmla="*/ 741363 h 3881439"/>
              <a:gd name="connsiteX45" fmla="*/ 11833225 w 12192000"/>
              <a:gd name="connsiteY45" fmla="*/ 741363 h 3881439"/>
              <a:gd name="connsiteX46" fmla="*/ 9166225 w 12192000"/>
              <a:gd name="connsiteY46" fmla="*/ 41275 h 3881439"/>
              <a:gd name="connsiteX47" fmla="*/ 9829351 w 12192000"/>
              <a:gd name="connsiteY47" fmla="*/ 41275 h 3881439"/>
              <a:gd name="connsiteX48" fmla="*/ 10313207 w 12192000"/>
              <a:gd name="connsiteY48" fmla="*/ 201464 h 3881439"/>
              <a:gd name="connsiteX49" fmla="*/ 10488996 w 12192000"/>
              <a:gd name="connsiteY49" fmla="*/ 621088 h 3881439"/>
              <a:gd name="connsiteX50" fmla="*/ 10255770 w 12192000"/>
              <a:gd name="connsiteY50" fmla="*/ 1066831 h 3881439"/>
              <a:gd name="connsiteX51" fmla="*/ 10556875 w 12192000"/>
              <a:gd name="connsiteY51" fmla="*/ 1785938 h 3881439"/>
              <a:gd name="connsiteX52" fmla="*/ 10010362 w 12192000"/>
              <a:gd name="connsiteY52" fmla="*/ 1785938 h 3881439"/>
              <a:gd name="connsiteX53" fmla="*/ 9759731 w 12192000"/>
              <a:gd name="connsiteY53" fmla="*/ 1223537 h 3881439"/>
              <a:gd name="connsiteX54" fmla="*/ 9759731 w 12192000"/>
              <a:gd name="connsiteY54" fmla="*/ 776053 h 3881439"/>
              <a:gd name="connsiteX55" fmla="*/ 9801503 w 12192000"/>
              <a:gd name="connsiteY55" fmla="*/ 776053 h 3881439"/>
              <a:gd name="connsiteX56" fmla="*/ 9965109 w 12192000"/>
              <a:gd name="connsiteY56" fmla="*/ 635018 h 3881439"/>
              <a:gd name="connsiteX57" fmla="*/ 9775396 w 12192000"/>
              <a:gd name="connsiteY57" fmla="*/ 511394 h 3881439"/>
              <a:gd name="connsiteX58" fmla="*/ 9683150 w 12192000"/>
              <a:gd name="connsiteY58" fmla="*/ 511394 h 3881439"/>
              <a:gd name="connsiteX59" fmla="*/ 9683150 w 12192000"/>
              <a:gd name="connsiteY59" fmla="*/ 1785938 h 3881439"/>
              <a:gd name="connsiteX60" fmla="*/ 9166225 w 12192000"/>
              <a:gd name="connsiteY60" fmla="*/ 1785938 h 3881439"/>
              <a:gd name="connsiteX61" fmla="*/ 9166225 w 12192000"/>
              <a:gd name="connsiteY61" fmla="*/ 41275 h 3881439"/>
              <a:gd name="connsiteX62" fmla="*/ 8417367 w 12192000"/>
              <a:gd name="connsiteY62" fmla="*/ 41275 h 3881439"/>
              <a:gd name="connsiteX63" fmla="*/ 8866187 w 12192000"/>
              <a:gd name="connsiteY63" fmla="*/ 41275 h 3881439"/>
              <a:gd name="connsiteX64" fmla="*/ 8866187 w 12192000"/>
              <a:gd name="connsiteY64" fmla="*/ 542735 h 3881439"/>
              <a:gd name="connsiteX65" fmla="*/ 8535660 w 12192000"/>
              <a:gd name="connsiteY65" fmla="*/ 542735 h 3881439"/>
              <a:gd name="connsiteX66" fmla="*/ 8401710 w 12192000"/>
              <a:gd name="connsiteY66" fmla="*/ 629794 h 3881439"/>
              <a:gd name="connsiteX67" fmla="*/ 8436502 w 12192000"/>
              <a:gd name="connsiteY67" fmla="*/ 702924 h 3881439"/>
              <a:gd name="connsiteX68" fmla="*/ 8547838 w 12192000"/>
              <a:gd name="connsiteY68" fmla="*/ 720336 h 3881439"/>
              <a:gd name="connsiteX69" fmla="*/ 8833134 w 12192000"/>
              <a:gd name="connsiteY69" fmla="*/ 720336 h 3881439"/>
              <a:gd name="connsiteX70" fmla="*/ 8833134 w 12192000"/>
              <a:gd name="connsiteY70" fmla="*/ 1108619 h 3881439"/>
              <a:gd name="connsiteX71" fmla="*/ 8495649 w 12192000"/>
              <a:gd name="connsiteY71" fmla="*/ 1108619 h 3881439"/>
              <a:gd name="connsiteX72" fmla="*/ 8398231 w 12192000"/>
              <a:gd name="connsiteY72" fmla="*/ 1129513 h 3881439"/>
              <a:gd name="connsiteX73" fmla="*/ 8370397 w 12192000"/>
              <a:gd name="connsiteY73" fmla="*/ 1197419 h 3881439"/>
              <a:gd name="connsiteX74" fmla="*/ 8398231 w 12192000"/>
              <a:gd name="connsiteY74" fmla="*/ 1270549 h 3881439"/>
              <a:gd name="connsiteX75" fmla="*/ 8520004 w 12192000"/>
              <a:gd name="connsiteY75" fmla="*/ 1287961 h 3881439"/>
              <a:gd name="connsiteX76" fmla="*/ 8866187 w 12192000"/>
              <a:gd name="connsiteY76" fmla="*/ 1287961 h 3881439"/>
              <a:gd name="connsiteX77" fmla="*/ 8866187 w 12192000"/>
              <a:gd name="connsiteY77" fmla="*/ 1785938 h 3881439"/>
              <a:gd name="connsiteX78" fmla="*/ 8459118 w 12192000"/>
              <a:gd name="connsiteY78" fmla="*/ 1785938 h 3881439"/>
              <a:gd name="connsiteX79" fmla="*/ 8020735 w 12192000"/>
              <a:gd name="connsiteY79" fmla="*/ 1648385 h 3881439"/>
              <a:gd name="connsiteX80" fmla="*/ 7867649 w 12192000"/>
              <a:gd name="connsiteY80" fmla="*/ 1251396 h 3881439"/>
              <a:gd name="connsiteX81" fmla="*/ 7867649 w 12192000"/>
              <a:gd name="connsiteY81" fmla="*/ 568853 h 3881439"/>
              <a:gd name="connsiteX82" fmla="*/ 8012037 w 12192000"/>
              <a:gd name="connsiteY82" fmla="*/ 178828 h 3881439"/>
              <a:gd name="connsiteX83" fmla="*/ 8417367 w 12192000"/>
              <a:gd name="connsiteY83" fmla="*/ 41275 h 3881439"/>
              <a:gd name="connsiteX84" fmla="*/ 7035799 w 12192000"/>
              <a:gd name="connsiteY84" fmla="*/ 41275 h 3881439"/>
              <a:gd name="connsiteX85" fmla="*/ 7553324 w 12192000"/>
              <a:gd name="connsiteY85" fmla="*/ 41275 h 3881439"/>
              <a:gd name="connsiteX86" fmla="*/ 7553324 w 12192000"/>
              <a:gd name="connsiteY86" fmla="*/ 1785938 h 3881439"/>
              <a:gd name="connsiteX87" fmla="*/ 7035799 w 12192000"/>
              <a:gd name="connsiteY87" fmla="*/ 1785938 h 3881439"/>
              <a:gd name="connsiteX88" fmla="*/ 6286499 w 12192000"/>
              <a:gd name="connsiteY88" fmla="*/ 41275 h 3881439"/>
              <a:gd name="connsiteX89" fmla="*/ 6802437 w 12192000"/>
              <a:gd name="connsiteY89" fmla="*/ 41275 h 3881439"/>
              <a:gd name="connsiteX90" fmla="*/ 6802437 w 12192000"/>
              <a:gd name="connsiteY90" fmla="*/ 666750 h 3881439"/>
              <a:gd name="connsiteX91" fmla="*/ 6946899 w 12192000"/>
              <a:gd name="connsiteY91" fmla="*/ 666750 h 3881439"/>
              <a:gd name="connsiteX92" fmla="*/ 6946899 w 12192000"/>
              <a:gd name="connsiteY92" fmla="*/ 1125538 h 3881439"/>
              <a:gd name="connsiteX93" fmla="*/ 6802437 w 12192000"/>
              <a:gd name="connsiteY93" fmla="*/ 1125538 h 3881439"/>
              <a:gd name="connsiteX94" fmla="*/ 6802437 w 12192000"/>
              <a:gd name="connsiteY94" fmla="*/ 1785938 h 3881439"/>
              <a:gd name="connsiteX95" fmla="*/ 6286499 w 12192000"/>
              <a:gd name="connsiteY95" fmla="*/ 1785938 h 3881439"/>
              <a:gd name="connsiteX96" fmla="*/ 2021330 w 12192000"/>
              <a:gd name="connsiteY96" fmla="*/ 41275 h 3881439"/>
              <a:gd name="connsiteX97" fmla="*/ 2470151 w 12192000"/>
              <a:gd name="connsiteY97" fmla="*/ 41275 h 3881439"/>
              <a:gd name="connsiteX98" fmla="*/ 2470151 w 12192000"/>
              <a:gd name="connsiteY98" fmla="*/ 542735 h 3881439"/>
              <a:gd name="connsiteX99" fmla="*/ 2137885 w 12192000"/>
              <a:gd name="connsiteY99" fmla="*/ 542735 h 3881439"/>
              <a:gd name="connsiteX100" fmla="*/ 2005674 w 12192000"/>
              <a:gd name="connsiteY100" fmla="*/ 629794 h 3881439"/>
              <a:gd name="connsiteX101" fmla="*/ 2040467 w 12192000"/>
              <a:gd name="connsiteY101" fmla="*/ 702924 h 3881439"/>
              <a:gd name="connsiteX102" fmla="*/ 2151801 w 12192000"/>
              <a:gd name="connsiteY102" fmla="*/ 720336 h 3881439"/>
              <a:gd name="connsiteX103" fmla="*/ 2435359 w 12192000"/>
              <a:gd name="connsiteY103" fmla="*/ 720336 h 3881439"/>
              <a:gd name="connsiteX104" fmla="*/ 2435359 w 12192000"/>
              <a:gd name="connsiteY104" fmla="*/ 1108619 h 3881439"/>
              <a:gd name="connsiteX105" fmla="*/ 2099613 w 12192000"/>
              <a:gd name="connsiteY105" fmla="*/ 1108619 h 3881439"/>
              <a:gd name="connsiteX106" fmla="*/ 2002195 w 12192000"/>
              <a:gd name="connsiteY106" fmla="*/ 1129513 h 3881439"/>
              <a:gd name="connsiteX107" fmla="*/ 1972621 w 12192000"/>
              <a:gd name="connsiteY107" fmla="*/ 1197419 h 3881439"/>
              <a:gd name="connsiteX108" fmla="*/ 2000455 w 12192000"/>
              <a:gd name="connsiteY108" fmla="*/ 1270549 h 3881439"/>
              <a:gd name="connsiteX109" fmla="*/ 2122228 w 12192000"/>
              <a:gd name="connsiteY109" fmla="*/ 1287961 h 3881439"/>
              <a:gd name="connsiteX110" fmla="*/ 2470151 w 12192000"/>
              <a:gd name="connsiteY110" fmla="*/ 1287961 h 3881439"/>
              <a:gd name="connsiteX111" fmla="*/ 2470151 w 12192000"/>
              <a:gd name="connsiteY111" fmla="*/ 1785938 h 3881439"/>
              <a:gd name="connsiteX112" fmla="*/ 2063081 w 12192000"/>
              <a:gd name="connsiteY112" fmla="*/ 1785938 h 3881439"/>
              <a:gd name="connsiteX113" fmla="*/ 1622959 w 12192000"/>
              <a:gd name="connsiteY113" fmla="*/ 1648385 h 3881439"/>
              <a:gd name="connsiteX114" fmla="*/ 1471613 w 12192000"/>
              <a:gd name="connsiteY114" fmla="*/ 1251396 h 3881439"/>
              <a:gd name="connsiteX115" fmla="*/ 1471613 w 12192000"/>
              <a:gd name="connsiteY115" fmla="*/ 568853 h 3881439"/>
              <a:gd name="connsiteX116" fmla="*/ 1616001 w 12192000"/>
              <a:gd name="connsiteY116" fmla="*/ 178828 h 3881439"/>
              <a:gd name="connsiteX117" fmla="*/ 2021330 w 12192000"/>
              <a:gd name="connsiteY117" fmla="*/ 41275 h 3881439"/>
              <a:gd name="connsiteX118" fmla="*/ 3176 w 12192000"/>
              <a:gd name="connsiteY118" fmla="*/ 41275 h 3881439"/>
              <a:gd name="connsiteX119" fmla="*/ 1314450 w 12192000"/>
              <a:gd name="connsiteY119" fmla="*/ 41275 h 3881439"/>
              <a:gd name="connsiteX120" fmla="*/ 1314450 w 12192000"/>
              <a:gd name="connsiteY120" fmla="*/ 542925 h 3881439"/>
              <a:gd name="connsiteX121" fmla="*/ 919163 w 12192000"/>
              <a:gd name="connsiteY121" fmla="*/ 542925 h 3881439"/>
              <a:gd name="connsiteX122" fmla="*/ 919163 w 12192000"/>
              <a:gd name="connsiteY122" fmla="*/ 1785938 h 3881439"/>
              <a:gd name="connsiteX123" fmla="*/ 401638 w 12192000"/>
              <a:gd name="connsiteY123" fmla="*/ 1785938 h 3881439"/>
              <a:gd name="connsiteX124" fmla="*/ 401638 w 12192000"/>
              <a:gd name="connsiteY124" fmla="*/ 542925 h 3881439"/>
              <a:gd name="connsiteX125" fmla="*/ 3176 w 12192000"/>
              <a:gd name="connsiteY125" fmla="*/ 542925 h 3881439"/>
              <a:gd name="connsiteX126" fmla="*/ 11336953 w 12192000"/>
              <a:gd name="connsiteY126" fmla="*/ 0 h 3881439"/>
              <a:gd name="connsiteX127" fmla="*/ 11547475 w 12192000"/>
              <a:gd name="connsiteY127" fmla="*/ 33057 h 3881439"/>
              <a:gd name="connsiteX128" fmla="*/ 11547475 w 12192000"/>
              <a:gd name="connsiteY128" fmla="*/ 532395 h 3881439"/>
              <a:gd name="connsiteX129" fmla="*/ 11469182 w 12192000"/>
              <a:gd name="connsiteY129" fmla="*/ 511517 h 3881439"/>
              <a:gd name="connsiteX130" fmla="*/ 11364790 w 12192000"/>
              <a:gd name="connsiteY130" fmla="*/ 549793 h 3881439"/>
              <a:gd name="connsiteX131" fmla="*/ 11321294 w 12192000"/>
              <a:gd name="connsiteY131" fmla="*/ 655924 h 3881439"/>
              <a:gd name="connsiteX132" fmla="*/ 11364790 w 12192000"/>
              <a:gd name="connsiteY132" fmla="*/ 795113 h 3881439"/>
              <a:gd name="connsiteX133" fmla="*/ 11404807 w 12192000"/>
              <a:gd name="connsiteY133" fmla="*/ 862967 h 3881439"/>
              <a:gd name="connsiteX134" fmla="*/ 11510938 w 12192000"/>
              <a:gd name="connsiteY134" fmla="*/ 1230076 h 3881439"/>
              <a:gd name="connsiteX135" fmla="*/ 11331733 w 12192000"/>
              <a:gd name="connsiteY135" fmla="*/ 1638941 h 3881439"/>
              <a:gd name="connsiteX136" fmla="*/ 10886331 w 12192000"/>
              <a:gd name="connsiteY136" fmla="*/ 1812926 h 3881439"/>
              <a:gd name="connsiteX137" fmla="*/ 10641012 w 12192000"/>
              <a:gd name="connsiteY137" fmla="*/ 1764210 h 3881439"/>
              <a:gd name="connsiteX138" fmla="*/ 10641012 w 12192000"/>
              <a:gd name="connsiteY138" fmla="*/ 1259653 h 3881439"/>
              <a:gd name="connsiteX139" fmla="*/ 10781940 w 12192000"/>
              <a:gd name="connsiteY139" fmla="*/ 1303149 h 3881439"/>
              <a:gd name="connsiteX140" fmla="*/ 10889811 w 12192000"/>
              <a:gd name="connsiteY140" fmla="*/ 1266613 h 3881439"/>
              <a:gd name="connsiteX141" fmla="*/ 10931567 w 12192000"/>
              <a:gd name="connsiteY141" fmla="*/ 1167441 h 3881439"/>
              <a:gd name="connsiteX142" fmla="*/ 10858494 w 12192000"/>
              <a:gd name="connsiteY142" fmla="*/ 1010854 h 3881439"/>
              <a:gd name="connsiteX143" fmla="*/ 10743663 w 12192000"/>
              <a:gd name="connsiteY143" fmla="*/ 600249 h 3881439"/>
              <a:gd name="connsiteX144" fmla="*/ 10917648 w 12192000"/>
              <a:gd name="connsiteY144" fmla="*/ 177465 h 3881439"/>
              <a:gd name="connsiteX145" fmla="*/ 11336953 w 12192000"/>
              <a:gd name="connsiteY145" fmla="*/ 0 h 3881439"/>
              <a:gd name="connsiteX146" fmla="*/ 5138383 w 12192000"/>
              <a:gd name="connsiteY146" fmla="*/ 0 h 3881439"/>
              <a:gd name="connsiteX147" fmla="*/ 5714890 w 12192000"/>
              <a:gd name="connsiteY147" fmla="*/ 194864 h 3881439"/>
              <a:gd name="connsiteX148" fmla="*/ 6033624 w 12192000"/>
              <a:gd name="connsiteY148" fmla="*/ 760316 h 3881439"/>
              <a:gd name="connsiteX149" fmla="*/ 5479759 w 12192000"/>
              <a:gd name="connsiteY149" fmla="*/ 800332 h 3881439"/>
              <a:gd name="connsiteX150" fmla="*/ 5126191 w 12192000"/>
              <a:gd name="connsiteY150" fmla="*/ 511517 h 3881439"/>
              <a:gd name="connsiteX151" fmla="*/ 4852742 w 12192000"/>
              <a:gd name="connsiteY151" fmla="*/ 624607 h 3881439"/>
              <a:gd name="connsiteX152" fmla="*/ 4744756 w 12192000"/>
              <a:gd name="connsiteY152" fmla="*/ 915162 h 3881439"/>
              <a:gd name="connsiteX153" fmla="*/ 4849258 w 12192000"/>
              <a:gd name="connsiteY153" fmla="*/ 1193539 h 3881439"/>
              <a:gd name="connsiteX154" fmla="*/ 5117482 w 12192000"/>
              <a:gd name="connsiteY154" fmla="*/ 1301410 h 3881439"/>
              <a:gd name="connsiteX155" fmla="*/ 5497176 w 12192000"/>
              <a:gd name="connsiteY155" fmla="*/ 920382 h 3881439"/>
              <a:gd name="connsiteX156" fmla="*/ 6038849 w 12192000"/>
              <a:gd name="connsiteY156" fmla="*/ 936041 h 3881439"/>
              <a:gd name="connsiteX157" fmla="*/ 5744499 w 12192000"/>
              <a:gd name="connsiteY157" fmla="*/ 1588485 h 3881439"/>
              <a:gd name="connsiteX158" fmla="*/ 5126191 w 12192000"/>
              <a:gd name="connsiteY158" fmla="*/ 1812926 h 3881439"/>
              <a:gd name="connsiteX159" fmla="*/ 4471307 w 12192000"/>
              <a:gd name="connsiteY159" fmla="*/ 1557168 h 3881439"/>
              <a:gd name="connsiteX160" fmla="*/ 4210050 w 12192000"/>
              <a:gd name="connsiteY160" fmla="*/ 915162 h 3881439"/>
              <a:gd name="connsiteX161" fmla="*/ 4476532 w 12192000"/>
              <a:gd name="connsiteY161" fmla="*/ 262718 h 3881439"/>
              <a:gd name="connsiteX162" fmla="*/ 5138383 w 12192000"/>
              <a:gd name="connsiteY162" fmla="*/ 0 h 3881439"/>
              <a:gd name="connsiteX163" fmla="*/ 3402801 w 12192000"/>
              <a:gd name="connsiteY163" fmla="*/ 0 h 3881439"/>
              <a:gd name="connsiteX164" fmla="*/ 3855749 w 12192000"/>
              <a:gd name="connsiteY164" fmla="*/ 161883 h 3881439"/>
              <a:gd name="connsiteX165" fmla="*/ 4002087 w 12192000"/>
              <a:gd name="connsiteY165" fmla="*/ 657977 h 3881439"/>
              <a:gd name="connsiteX166" fmla="*/ 4002087 w 12192000"/>
              <a:gd name="connsiteY166" fmla="*/ 1785938 h 3881439"/>
              <a:gd name="connsiteX167" fmla="*/ 3482938 w 12192000"/>
              <a:gd name="connsiteY167" fmla="*/ 1785938 h 3881439"/>
              <a:gd name="connsiteX168" fmla="*/ 3482938 w 12192000"/>
              <a:gd name="connsiteY168" fmla="*/ 692791 h 3881439"/>
              <a:gd name="connsiteX169" fmla="*/ 3458549 w 12192000"/>
              <a:gd name="connsiteY169" fmla="*/ 553536 h 3881439"/>
              <a:gd name="connsiteX170" fmla="*/ 3373185 w 12192000"/>
              <a:gd name="connsiteY170" fmla="*/ 511760 h 3881439"/>
              <a:gd name="connsiteX171" fmla="*/ 3252979 w 12192000"/>
              <a:gd name="connsiteY171" fmla="*/ 692791 h 3881439"/>
              <a:gd name="connsiteX172" fmla="*/ 3252979 w 12192000"/>
              <a:gd name="connsiteY172" fmla="*/ 912117 h 3881439"/>
              <a:gd name="connsiteX173" fmla="*/ 3399317 w 12192000"/>
              <a:gd name="connsiteY173" fmla="*/ 912117 h 3881439"/>
              <a:gd name="connsiteX174" fmla="*/ 3399317 w 12192000"/>
              <a:gd name="connsiteY174" fmla="*/ 1369916 h 3881439"/>
              <a:gd name="connsiteX175" fmla="*/ 3252979 w 12192000"/>
              <a:gd name="connsiteY175" fmla="*/ 1369916 h 3881439"/>
              <a:gd name="connsiteX176" fmla="*/ 3252979 w 12192000"/>
              <a:gd name="connsiteY176" fmla="*/ 1785938 h 3881439"/>
              <a:gd name="connsiteX177" fmla="*/ 2732087 w 12192000"/>
              <a:gd name="connsiteY177" fmla="*/ 1785938 h 3881439"/>
              <a:gd name="connsiteX178" fmla="*/ 2732087 w 12192000"/>
              <a:gd name="connsiteY178" fmla="*/ 677125 h 3881439"/>
              <a:gd name="connsiteX179" fmla="*/ 2908041 w 12192000"/>
              <a:gd name="connsiteY179" fmla="*/ 177550 h 3881439"/>
              <a:gd name="connsiteX180" fmla="*/ 3402801 w 12192000"/>
              <a:gd name="connsiteY180" fmla="*/ 0 h 3881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12192000" h="3881439">
                <a:moveTo>
                  <a:pt x="3184524" y="2130426"/>
                </a:moveTo>
                <a:lnTo>
                  <a:pt x="3709987" y="2130426"/>
                </a:lnTo>
                <a:lnTo>
                  <a:pt x="3935412" y="2490789"/>
                </a:lnTo>
                <a:lnTo>
                  <a:pt x="4178300" y="2130426"/>
                </a:lnTo>
                <a:lnTo>
                  <a:pt x="4694237" y="2130426"/>
                </a:lnTo>
                <a:lnTo>
                  <a:pt x="4200525" y="2906714"/>
                </a:lnTo>
                <a:lnTo>
                  <a:pt x="4200525" y="3875089"/>
                </a:lnTo>
                <a:lnTo>
                  <a:pt x="3681412" y="3875089"/>
                </a:lnTo>
                <a:lnTo>
                  <a:pt x="3681412" y="2906714"/>
                </a:lnTo>
                <a:close/>
                <a:moveTo>
                  <a:pt x="0" y="2130426"/>
                </a:moveTo>
                <a:cubicBezTo>
                  <a:pt x="0" y="2130426"/>
                  <a:pt x="0" y="2130426"/>
                  <a:pt x="675620" y="2130426"/>
                </a:cubicBezTo>
                <a:cubicBezTo>
                  <a:pt x="983828" y="2130426"/>
                  <a:pt x="1227609" y="2207011"/>
                  <a:pt x="1405220" y="2363663"/>
                </a:cubicBezTo>
                <a:cubicBezTo>
                  <a:pt x="1582832" y="2518573"/>
                  <a:pt x="1671638" y="2725701"/>
                  <a:pt x="1671638" y="2988527"/>
                </a:cubicBezTo>
                <a:cubicBezTo>
                  <a:pt x="1671638" y="3251353"/>
                  <a:pt x="1586314" y="3465443"/>
                  <a:pt x="1415668" y="3632538"/>
                </a:cubicBezTo>
                <a:cubicBezTo>
                  <a:pt x="1245022" y="3799632"/>
                  <a:pt x="1025619" y="3881439"/>
                  <a:pt x="757461" y="3881439"/>
                </a:cubicBezTo>
                <a:cubicBezTo>
                  <a:pt x="745272" y="3881439"/>
                  <a:pt x="694774" y="3879699"/>
                  <a:pt x="602486" y="3876217"/>
                </a:cubicBezTo>
                <a:cubicBezTo>
                  <a:pt x="602486" y="3876217"/>
                  <a:pt x="602486" y="3876217"/>
                  <a:pt x="602486" y="3364490"/>
                </a:cubicBezTo>
                <a:cubicBezTo>
                  <a:pt x="602486" y="3364490"/>
                  <a:pt x="602486" y="3364490"/>
                  <a:pt x="686068" y="3364490"/>
                </a:cubicBezTo>
                <a:cubicBezTo>
                  <a:pt x="989052" y="3364490"/>
                  <a:pt x="1140544" y="3239169"/>
                  <a:pt x="1140544" y="2988527"/>
                </a:cubicBezTo>
                <a:cubicBezTo>
                  <a:pt x="1140544" y="2750069"/>
                  <a:pt x="992534" y="2631710"/>
                  <a:pt x="693033" y="2631710"/>
                </a:cubicBezTo>
                <a:cubicBezTo>
                  <a:pt x="693033" y="2631710"/>
                  <a:pt x="693033" y="2631710"/>
                  <a:pt x="518904" y="2631710"/>
                </a:cubicBezTo>
                <a:cubicBezTo>
                  <a:pt x="518904" y="2631710"/>
                  <a:pt x="518904" y="2631710"/>
                  <a:pt x="518904" y="3874477"/>
                </a:cubicBezTo>
                <a:cubicBezTo>
                  <a:pt x="518904" y="3874477"/>
                  <a:pt x="518904" y="3874477"/>
                  <a:pt x="0" y="3874477"/>
                </a:cubicBezTo>
                <a:cubicBezTo>
                  <a:pt x="0" y="3874477"/>
                  <a:pt x="0" y="3874477"/>
                  <a:pt x="0" y="2130426"/>
                </a:cubicBezTo>
                <a:close/>
                <a:moveTo>
                  <a:pt x="2549475" y="2089151"/>
                </a:moveTo>
                <a:cubicBezTo>
                  <a:pt x="2753047" y="2089151"/>
                  <a:pt x="2902681" y="2143112"/>
                  <a:pt x="3001858" y="2251035"/>
                </a:cubicBezTo>
                <a:cubicBezTo>
                  <a:pt x="3099294" y="2358957"/>
                  <a:pt x="3148013" y="2524321"/>
                  <a:pt x="3148013" y="2747128"/>
                </a:cubicBezTo>
                <a:cubicBezTo>
                  <a:pt x="3148013" y="2747128"/>
                  <a:pt x="3148013" y="2747128"/>
                  <a:pt x="3148013" y="3875089"/>
                </a:cubicBezTo>
                <a:cubicBezTo>
                  <a:pt x="3148013" y="3875089"/>
                  <a:pt x="3148013" y="3875089"/>
                  <a:pt x="2629512" y="3875089"/>
                </a:cubicBezTo>
                <a:cubicBezTo>
                  <a:pt x="2629512" y="3875089"/>
                  <a:pt x="2629512" y="3875089"/>
                  <a:pt x="2629512" y="2781942"/>
                </a:cubicBezTo>
                <a:cubicBezTo>
                  <a:pt x="2629512" y="2715796"/>
                  <a:pt x="2620812" y="2668798"/>
                  <a:pt x="2605153" y="2642688"/>
                </a:cubicBezTo>
                <a:cubicBezTo>
                  <a:pt x="2587753" y="2614837"/>
                  <a:pt x="2559914" y="2600911"/>
                  <a:pt x="2519896" y="2600911"/>
                </a:cubicBezTo>
                <a:cubicBezTo>
                  <a:pt x="2439859" y="2600911"/>
                  <a:pt x="2399840" y="2661835"/>
                  <a:pt x="2399840" y="2781942"/>
                </a:cubicBezTo>
                <a:cubicBezTo>
                  <a:pt x="2399840" y="2781942"/>
                  <a:pt x="2399840" y="2781942"/>
                  <a:pt x="2399840" y="3001268"/>
                </a:cubicBezTo>
                <a:cubicBezTo>
                  <a:pt x="2399840" y="3001268"/>
                  <a:pt x="2399840" y="3001268"/>
                  <a:pt x="2545995" y="3001268"/>
                </a:cubicBezTo>
                <a:cubicBezTo>
                  <a:pt x="2545995" y="3001268"/>
                  <a:pt x="2545995" y="3001268"/>
                  <a:pt x="2545995" y="3459067"/>
                </a:cubicBezTo>
                <a:cubicBezTo>
                  <a:pt x="2545995" y="3459067"/>
                  <a:pt x="2545995" y="3459067"/>
                  <a:pt x="2399840" y="3459067"/>
                </a:cubicBezTo>
                <a:cubicBezTo>
                  <a:pt x="2399840" y="3459067"/>
                  <a:pt x="2399840" y="3459067"/>
                  <a:pt x="2399840" y="3875089"/>
                </a:cubicBezTo>
                <a:cubicBezTo>
                  <a:pt x="2399840" y="3875089"/>
                  <a:pt x="2399840" y="3875089"/>
                  <a:pt x="1879600" y="3875089"/>
                </a:cubicBezTo>
                <a:cubicBezTo>
                  <a:pt x="1879600" y="3875089"/>
                  <a:pt x="1879600" y="3875089"/>
                  <a:pt x="1879600" y="2766276"/>
                </a:cubicBezTo>
                <a:cubicBezTo>
                  <a:pt x="1879600" y="2552172"/>
                  <a:pt x="1938757" y="2385067"/>
                  <a:pt x="2055333" y="2266701"/>
                </a:cubicBezTo>
                <a:cubicBezTo>
                  <a:pt x="2171909" y="2148334"/>
                  <a:pt x="2335463" y="2089151"/>
                  <a:pt x="2549475" y="2089151"/>
                </a:cubicBezTo>
                <a:close/>
                <a:moveTo>
                  <a:pt x="11737975" y="41275"/>
                </a:moveTo>
                <a:lnTo>
                  <a:pt x="12192000" y="41275"/>
                </a:lnTo>
                <a:lnTo>
                  <a:pt x="12093575" y="741363"/>
                </a:lnTo>
                <a:lnTo>
                  <a:pt x="11833225" y="741363"/>
                </a:lnTo>
                <a:close/>
                <a:moveTo>
                  <a:pt x="9166225" y="41275"/>
                </a:moveTo>
                <a:cubicBezTo>
                  <a:pt x="9166225" y="41275"/>
                  <a:pt x="9166225" y="41275"/>
                  <a:pt x="9829351" y="41275"/>
                </a:cubicBezTo>
                <a:cubicBezTo>
                  <a:pt x="10034729" y="41275"/>
                  <a:pt x="10194854" y="95252"/>
                  <a:pt x="10313207" y="201464"/>
                </a:cubicBezTo>
                <a:cubicBezTo>
                  <a:pt x="10429819" y="309417"/>
                  <a:pt x="10488996" y="448711"/>
                  <a:pt x="10488996" y="621088"/>
                </a:cubicBezTo>
                <a:cubicBezTo>
                  <a:pt x="10488996" y="800430"/>
                  <a:pt x="10410674" y="948430"/>
                  <a:pt x="10255770" y="1066831"/>
                </a:cubicBezTo>
                <a:cubicBezTo>
                  <a:pt x="10255770" y="1066831"/>
                  <a:pt x="10255770" y="1066831"/>
                  <a:pt x="10556875" y="1785938"/>
                </a:cubicBezTo>
                <a:cubicBezTo>
                  <a:pt x="10556875" y="1785938"/>
                  <a:pt x="10556875" y="1785938"/>
                  <a:pt x="10010362" y="1785938"/>
                </a:cubicBezTo>
                <a:cubicBezTo>
                  <a:pt x="10010362" y="1785938"/>
                  <a:pt x="10010362" y="1785938"/>
                  <a:pt x="9759731" y="1223537"/>
                </a:cubicBezTo>
                <a:cubicBezTo>
                  <a:pt x="9759731" y="1223537"/>
                  <a:pt x="9759731" y="1223537"/>
                  <a:pt x="9759731" y="776053"/>
                </a:cubicBezTo>
                <a:cubicBezTo>
                  <a:pt x="9759731" y="776053"/>
                  <a:pt x="9759731" y="776053"/>
                  <a:pt x="9801503" y="776053"/>
                </a:cubicBezTo>
                <a:cubicBezTo>
                  <a:pt x="9911154" y="776053"/>
                  <a:pt x="9965109" y="729042"/>
                  <a:pt x="9965109" y="635018"/>
                </a:cubicBezTo>
                <a:cubicBezTo>
                  <a:pt x="9965109" y="553182"/>
                  <a:pt x="9902452" y="511394"/>
                  <a:pt x="9775396" y="511394"/>
                </a:cubicBezTo>
                <a:cubicBezTo>
                  <a:pt x="9775396" y="511394"/>
                  <a:pt x="9775396" y="511394"/>
                  <a:pt x="9683150" y="511394"/>
                </a:cubicBezTo>
                <a:cubicBezTo>
                  <a:pt x="9683150" y="511394"/>
                  <a:pt x="9683150" y="511394"/>
                  <a:pt x="9683150" y="1785938"/>
                </a:cubicBezTo>
                <a:cubicBezTo>
                  <a:pt x="9683150" y="1785938"/>
                  <a:pt x="9683150" y="1785938"/>
                  <a:pt x="9166225" y="1785938"/>
                </a:cubicBezTo>
                <a:cubicBezTo>
                  <a:pt x="9166225" y="1785938"/>
                  <a:pt x="9166225" y="1785938"/>
                  <a:pt x="9166225" y="41275"/>
                </a:cubicBezTo>
                <a:close/>
                <a:moveTo>
                  <a:pt x="8417367" y="41275"/>
                </a:moveTo>
                <a:cubicBezTo>
                  <a:pt x="8417367" y="41275"/>
                  <a:pt x="8417367" y="41275"/>
                  <a:pt x="8866187" y="41275"/>
                </a:cubicBezTo>
                <a:cubicBezTo>
                  <a:pt x="8866187" y="41275"/>
                  <a:pt x="8866187" y="41275"/>
                  <a:pt x="8866187" y="542735"/>
                </a:cubicBezTo>
                <a:cubicBezTo>
                  <a:pt x="8866187" y="542735"/>
                  <a:pt x="8866187" y="542735"/>
                  <a:pt x="8535660" y="542735"/>
                </a:cubicBezTo>
                <a:cubicBezTo>
                  <a:pt x="8446940" y="542735"/>
                  <a:pt x="8401710" y="572335"/>
                  <a:pt x="8401710" y="629794"/>
                </a:cubicBezTo>
                <a:cubicBezTo>
                  <a:pt x="8401710" y="666359"/>
                  <a:pt x="8413888" y="690736"/>
                  <a:pt x="8436502" y="702924"/>
                </a:cubicBezTo>
                <a:cubicBezTo>
                  <a:pt x="8460857" y="715112"/>
                  <a:pt x="8497389" y="720336"/>
                  <a:pt x="8547838" y="720336"/>
                </a:cubicBezTo>
                <a:cubicBezTo>
                  <a:pt x="8547838" y="720336"/>
                  <a:pt x="8547838" y="720336"/>
                  <a:pt x="8833134" y="720336"/>
                </a:cubicBezTo>
                <a:cubicBezTo>
                  <a:pt x="8833134" y="720336"/>
                  <a:pt x="8833134" y="720336"/>
                  <a:pt x="8833134" y="1108619"/>
                </a:cubicBezTo>
                <a:cubicBezTo>
                  <a:pt x="8833134" y="1108619"/>
                  <a:pt x="8833134" y="1108619"/>
                  <a:pt x="8495649" y="1108619"/>
                </a:cubicBezTo>
                <a:cubicBezTo>
                  <a:pt x="8450419" y="1108619"/>
                  <a:pt x="8417367" y="1115584"/>
                  <a:pt x="8398231" y="1129513"/>
                </a:cubicBezTo>
                <a:cubicBezTo>
                  <a:pt x="8379095" y="1143443"/>
                  <a:pt x="8370397" y="1166078"/>
                  <a:pt x="8370397" y="1197419"/>
                </a:cubicBezTo>
                <a:cubicBezTo>
                  <a:pt x="8370397" y="1233984"/>
                  <a:pt x="8379095" y="1258360"/>
                  <a:pt x="8398231" y="1270549"/>
                </a:cubicBezTo>
                <a:cubicBezTo>
                  <a:pt x="8415627" y="1282737"/>
                  <a:pt x="8457378" y="1287961"/>
                  <a:pt x="8520004" y="1287961"/>
                </a:cubicBezTo>
                <a:cubicBezTo>
                  <a:pt x="8520004" y="1287961"/>
                  <a:pt x="8520004" y="1287961"/>
                  <a:pt x="8866187" y="1287961"/>
                </a:cubicBezTo>
                <a:cubicBezTo>
                  <a:pt x="8866187" y="1287961"/>
                  <a:pt x="8866187" y="1287961"/>
                  <a:pt x="8866187" y="1785938"/>
                </a:cubicBezTo>
                <a:cubicBezTo>
                  <a:pt x="8866187" y="1785938"/>
                  <a:pt x="8866187" y="1785938"/>
                  <a:pt x="8459118" y="1785938"/>
                </a:cubicBezTo>
                <a:cubicBezTo>
                  <a:pt x="8267760" y="1785938"/>
                  <a:pt x="8121633" y="1740667"/>
                  <a:pt x="8020735" y="1648385"/>
                </a:cubicBezTo>
                <a:cubicBezTo>
                  <a:pt x="7919837" y="1556102"/>
                  <a:pt x="7867649" y="1425514"/>
                  <a:pt x="7867649" y="1251396"/>
                </a:cubicBezTo>
                <a:cubicBezTo>
                  <a:pt x="7867649" y="1251396"/>
                  <a:pt x="7867649" y="1251396"/>
                  <a:pt x="7867649" y="568853"/>
                </a:cubicBezTo>
                <a:cubicBezTo>
                  <a:pt x="7867649" y="401700"/>
                  <a:pt x="7916358" y="272852"/>
                  <a:pt x="8012037" y="178828"/>
                </a:cubicBezTo>
                <a:cubicBezTo>
                  <a:pt x="8107716" y="86546"/>
                  <a:pt x="8243405" y="41275"/>
                  <a:pt x="8417367" y="41275"/>
                </a:cubicBezTo>
                <a:close/>
                <a:moveTo>
                  <a:pt x="7035799" y="41275"/>
                </a:moveTo>
                <a:lnTo>
                  <a:pt x="7553324" y="41275"/>
                </a:lnTo>
                <a:lnTo>
                  <a:pt x="7553324" y="1785938"/>
                </a:lnTo>
                <a:lnTo>
                  <a:pt x="7035799" y="1785938"/>
                </a:lnTo>
                <a:close/>
                <a:moveTo>
                  <a:pt x="6286499" y="41275"/>
                </a:moveTo>
                <a:lnTo>
                  <a:pt x="6802437" y="41275"/>
                </a:lnTo>
                <a:lnTo>
                  <a:pt x="6802437" y="666750"/>
                </a:lnTo>
                <a:lnTo>
                  <a:pt x="6946899" y="666750"/>
                </a:lnTo>
                <a:lnTo>
                  <a:pt x="6946899" y="1125538"/>
                </a:lnTo>
                <a:lnTo>
                  <a:pt x="6802437" y="1125538"/>
                </a:lnTo>
                <a:lnTo>
                  <a:pt x="6802437" y="1785938"/>
                </a:lnTo>
                <a:lnTo>
                  <a:pt x="6286499" y="1785938"/>
                </a:lnTo>
                <a:close/>
                <a:moveTo>
                  <a:pt x="2021330" y="41275"/>
                </a:moveTo>
                <a:cubicBezTo>
                  <a:pt x="2021330" y="41275"/>
                  <a:pt x="2021330" y="41275"/>
                  <a:pt x="2470151" y="41275"/>
                </a:cubicBezTo>
                <a:cubicBezTo>
                  <a:pt x="2470151" y="41275"/>
                  <a:pt x="2470151" y="41275"/>
                  <a:pt x="2470151" y="542735"/>
                </a:cubicBezTo>
                <a:cubicBezTo>
                  <a:pt x="2470151" y="542735"/>
                  <a:pt x="2470151" y="542735"/>
                  <a:pt x="2137885" y="542735"/>
                </a:cubicBezTo>
                <a:cubicBezTo>
                  <a:pt x="2049164" y="542735"/>
                  <a:pt x="2005674" y="572335"/>
                  <a:pt x="2005674" y="629794"/>
                </a:cubicBezTo>
                <a:cubicBezTo>
                  <a:pt x="2005674" y="666359"/>
                  <a:pt x="2016112" y="690736"/>
                  <a:pt x="2040467" y="702924"/>
                </a:cubicBezTo>
                <a:cubicBezTo>
                  <a:pt x="2063081" y="715112"/>
                  <a:pt x="2101352" y="720336"/>
                  <a:pt x="2151801" y="720336"/>
                </a:cubicBezTo>
                <a:cubicBezTo>
                  <a:pt x="2151801" y="720336"/>
                  <a:pt x="2151801" y="720336"/>
                  <a:pt x="2435359" y="720336"/>
                </a:cubicBezTo>
                <a:cubicBezTo>
                  <a:pt x="2435359" y="720336"/>
                  <a:pt x="2435359" y="720336"/>
                  <a:pt x="2435359" y="1108619"/>
                </a:cubicBezTo>
                <a:cubicBezTo>
                  <a:pt x="2435359" y="1108619"/>
                  <a:pt x="2435359" y="1108619"/>
                  <a:pt x="2099613" y="1108619"/>
                </a:cubicBezTo>
                <a:cubicBezTo>
                  <a:pt x="2054383" y="1108619"/>
                  <a:pt x="2021330" y="1115584"/>
                  <a:pt x="2002195" y="1129513"/>
                </a:cubicBezTo>
                <a:cubicBezTo>
                  <a:pt x="1983059" y="1143443"/>
                  <a:pt x="1972621" y="1166078"/>
                  <a:pt x="1972621" y="1197419"/>
                </a:cubicBezTo>
                <a:cubicBezTo>
                  <a:pt x="1972621" y="1233984"/>
                  <a:pt x="1983059" y="1258360"/>
                  <a:pt x="2000455" y="1270549"/>
                </a:cubicBezTo>
                <a:cubicBezTo>
                  <a:pt x="2019591" y="1282737"/>
                  <a:pt x="2059602" y="1287961"/>
                  <a:pt x="2122228" y="1287961"/>
                </a:cubicBezTo>
                <a:cubicBezTo>
                  <a:pt x="2122228" y="1287961"/>
                  <a:pt x="2122228" y="1287961"/>
                  <a:pt x="2470151" y="1287961"/>
                </a:cubicBezTo>
                <a:cubicBezTo>
                  <a:pt x="2470151" y="1287961"/>
                  <a:pt x="2470151" y="1287961"/>
                  <a:pt x="2470151" y="1785938"/>
                </a:cubicBezTo>
                <a:cubicBezTo>
                  <a:pt x="2470151" y="1785938"/>
                  <a:pt x="2470151" y="1785938"/>
                  <a:pt x="2063081" y="1785938"/>
                </a:cubicBezTo>
                <a:cubicBezTo>
                  <a:pt x="1869984" y="1785938"/>
                  <a:pt x="1723856" y="1740667"/>
                  <a:pt x="1622959" y="1648385"/>
                </a:cubicBezTo>
                <a:cubicBezTo>
                  <a:pt x="1522061" y="1556102"/>
                  <a:pt x="1471613" y="1425514"/>
                  <a:pt x="1471613" y="1251396"/>
                </a:cubicBezTo>
                <a:cubicBezTo>
                  <a:pt x="1471613" y="1251396"/>
                  <a:pt x="1471613" y="1251396"/>
                  <a:pt x="1471613" y="568853"/>
                </a:cubicBezTo>
                <a:cubicBezTo>
                  <a:pt x="1471613" y="401700"/>
                  <a:pt x="1520322" y="272852"/>
                  <a:pt x="1616001" y="178828"/>
                </a:cubicBezTo>
                <a:cubicBezTo>
                  <a:pt x="1711679" y="86546"/>
                  <a:pt x="1845629" y="41275"/>
                  <a:pt x="2021330" y="41275"/>
                </a:cubicBezTo>
                <a:close/>
                <a:moveTo>
                  <a:pt x="3176" y="41275"/>
                </a:moveTo>
                <a:lnTo>
                  <a:pt x="1314450" y="41275"/>
                </a:lnTo>
                <a:lnTo>
                  <a:pt x="1314450" y="542925"/>
                </a:lnTo>
                <a:lnTo>
                  <a:pt x="919163" y="542925"/>
                </a:lnTo>
                <a:lnTo>
                  <a:pt x="919163" y="1785938"/>
                </a:lnTo>
                <a:lnTo>
                  <a:pt x="401638" y="1785938"/>
                </a:lnTo>
                <a:lnTo>
                  <a:pt x="401638" y="542925"/>
                </a:lnTo>
                <a:lnTo>
                  <a:pt x="3176" y="542925"/>
                </a:lnTo>
                <a:close/>
                <a:moveTo>
                  <a:pt x="11336953" y="0"/>
                </a:moveTo>
                <a:cubicBezTo>
                  <a:pt x="11410027" y="0"/>
                  <a:pt x="11479621" y="10439"/>
                  <a:pt x="11547475" y="33057"/>
                </a:cubicBezTo>
                <a:cubicBezTo>
                  <a:pt x="11547475" y="33057"/>
                  <a:pt x="11547475" y="33057"/>
                  <a:pt x="11547475" y="532395"/>
                </a:cubicBezTo>
                <a:cubicBezTo>
                  <a:pt x="11509198" y="518476"/>
                  <a:pt x="11483100" y="511517"/>
                  <a:pt x="11469182" y="511517"/>
                </a:cubicBezTo>
                <a:cubicBezTo>
                  <a:pt x="11429165" y="511517"/>
                  <a:pt x="11394368" y="525436"/>
                  <a:pt x="11364790" y="549793"/>
                </a:cubicBezTo>
                <a:cubicBezTo>
                  <a:pt x="11335213" y="575891"/>
                  <a:pt x="11321294" y="610688"/>
                  <a:pt x="11321294" y="655924"/>
                </a:cubicBezTo>
                <a:cubicBezTo>
                  <a:pt x="11321294" y="697681"/>
                  <a:pt x="11335213" y="742917"/>
                  <a:pt x="11364790" y="795113"/>
                </a:cubicBezTo>
                <a:cubicBezTo>
                  <a:pt x="11364790" y="795113"/>
                  <a:pt x="11364790" y="795113"/>
                  <a:pt x="11404807" y="862967"/>
                </a:cubicBezTo>
                <a:cubicBezTo>
                  <a:pt x="11476141" y="988236"/>
                  <a:pt x="11510938" y="1110026"/>
                  <a:pt x="11510938" y="1230076"/>
                </a:cubicBezTo>
                <a:cubicBezTo>
                  <a:pt x="11510938" y="1386662"/>
                  <a:pt x="11451783" y="1522371"/>
                  <a:pt x="11331733" y="1638941"/>
                </a:cubicBezTo>
                <a:cubicBezTo>
                  <a:pt x="11213423" y="1755511"/>
                  <a:pt x="11063796" y="1812926"/>
                  <a:pt x="10886331" y="1812926"/>
                </a:cubicBezTo>
                <a:cubicBezTo>
                  <a:pt x="10797599" y="1812926"/>
                  <a:pt x="10715826" y="1797268"/>
                  <a:pt x="10641012" y="1764210"/>
                </a:cubicBezTo>
                <a:cubicBezTo>
                  <a:pt x="10641012" y="1764210"/>
                  <a:pt x="10641012" y="1764210"/>
                  <a:pt x="10641012" y="1259653"/>
                </a:cubicBezTo>
                <a:cubicBezTo>
                  <a:pt x="10687988" y="1289231"/>
                  <a:pt x="10734964" y="1303149"/>
                  <a:pt x="10781940" y="1303149"/>
                </a:cubicBezTo>
                <a:cubicBezTo>
                  <a:pt x="10825436" y="1303149"/>
                  <a:pt x="10861973" y="1290971"/>
                  <a:pt x="10889811" y="1266613"/>
                </a:cubicBezTo>
                <a:cubicBezTo>
                  <a:pt x="10917648" y="1240515"/>
                  <a:pt x="10931567" y="1207458"/>
                  <a:pt x="10931567" y="1167441"/>
                </a:cubicBezTo>
                <a:cubicBezTo>
                  <a:pt x="10931567" y="1148303"/>
                  <a:pt x="10907209" y="1096107"/>
                  <a:pt x="10858494" y="1010854"/>
                </a:cubicBezTo>
                <a:cubicBezTo>
                  <a:pt x="10781940" y="873406"/>
                  <a:pt x="10743663" y="735958"/>
                  <a:pt x="10743663" y="600249"/>
                </a:cubicBezTo>
                <a:cubicBezTo>
                  <a:pt x="10743663" y="436703"/>
                  <a:pt x="10801078" y="295775"/>
                  <a:pt x="10917648" y="177465"/>
                </a:cubicBezTo>
                <a:cubicBezTo>
                  <a:pt x="11034219" y="59155"/>
                  <a:pt x="11175147" y="0"/>
                  <a:pt x="11336953" y="0"/>
                </a:cubicBezTo>
                <a:close/>
                <a:moveTo>
                  <a:pt x="5138383" y="0"/>
                </a:moveTo>
                <a:cubicBezTo>
                  <a:pt x="5363064" y="0"/>
                  <a:pt x="5554653" y="64375"/>
                  <a:pt x="5714890" y="194864"/>
                </a:cubicBezTo>
                <a:cubicBezTo>
                  <a:pt x="5875129" y="327092"/>
                  <a:pt x="5981373" y="514996"/>
                  <a:pt x="6033624" y="760316"/>
                </a:cubicBezTo>
                <a:cubicBezTo>
                  <a:pt x="6033624" y="760316"/>
                  <a:pt x="6033624" y="760316"/>
                  <a:pt x="5479759" y="800332"/>
                </a:cubicBezTo>
                <a:cubicBezTo>
                  <a:pt x="5418800" y="607209"/>
                  <a:pt x="5300363" y="511517"/>
                  <a:pt x="5126191" y="511517"/>
                </a:cubicBezTo>
                <a:cubicBezTo>
                  <a:pt x="5016463" y="511517"/>
                  <a:pt x="4924153" y="549793"/>
                  <a:pt x="4852742" y="624607"/>
                </a:cubicBezTo>
                <a:cubicBezTo>
                  <a:pt x="4779590" y="699421"/>
                  <a:pt x="4744756" y="796852"/>
                  <a:pt x="4744756" y="915162"/>
                </a:cubicBezTo>
                <a:cubicBezTo>
                  <a:pt x="4744756" y="1028253"/>
                  <a:pt x="4779590" y="1120465"/>
                  <a:pt x="4849258" y="1193539"/>
                </a:cubicBezTo>
                <a:cubicBezTo>
                  <a:pt x="4920669" y="1264873"/>
                  <a:pt x="5009497" y="1301410"/>
                  <a:pt x="5117482" y="1301410"/>
                </a:cubicBezTo>
                <a:cubicBezTo>
                  <a:pt x="5343905" y="1301410"/>
                  <a:pt x="5469309" y="1174400"/>
                  <a:pt x="5497176" y="920382"/>
                </a:cubicBezTo>
                <a:cubicBezTo>
                  <a:pt x="5497176" y="920382"/>
                  <a:pt x="5497176" y="920382"/>
                  <a:pt x="6038849" y="936041"/>
                </a:cubicBezTo>
                <a:cubicBezTo>
                  <a:pt x="6000532" y="1219637"/>
                  <a:pt x="5902995" y="1437118"/>
                  <a:pt x="5744499" y="1588485"/>
                </a:cubicBezTo>
                <a:cubicBezTo>
                  <a:pt x="5584262" y="1738113"/>
                  <a:pt x="5378739" y="1812926"/>
                  <a:pt x="5126191" y="1812926"/>
                </a:cubicBezTo>
                <a:cubicBezTo>
                  <a:pt x="4863192" y="1812926"/>
                  <a:pt x="4643736" y="1727673"/>
                  <a:pt x="4471307" y="1557168"/>
                </a:cubicBezTo>
                <a:cubicBezTo>
                  <a:pt x="4297136" y="1386662"/>
                  <a:pt x="4210050" y="1172661"/>
                  <a:pt x="4210050" y="915162"/>
                </a:cubicBezTo>
                <a:cubicBezTo>
                  <a:pt x="4210050" y="654185"/>
                  <a:pt x="4298877" y="436703"/>
                  <a:pt x="4476532" y="262718"/>
                </a:cubicBezTo>
                <a:cubicBezTo>
                  <a:pt x="4654187" y="86993"/>
                  <a:pt x="4875385" y="0"/>
                  <a:pt x="5138383" y="0"/>
                </a:cubicBezTo>
                <a:close/>
                <a:moveTo>
                  <a:pt x="3402801" y="0"/>
                </a:moveTo>
                <a:cubicBezTo>
                  <a:pt x="3606627" y="0"/>
                  <a:pt x="3758190" y="53961"/>
                  <a:pt x="3855749" y="161883"/>
                </a:cubicBezTo>
                <a:cubicBezTo>
                  <a:pt x="3953308" y="269806"/>
                  <a:pt x="4002087" y="435170"/>
                  <a:pt x="4002087" y="657977"/>
                </a:cubicBezTo>
                <a:cubicBezTo>
                  <a:pt x="4002087" y="657977"/>
                  <a:pt x="4002087" y="657977"/>
                  <a:pt x="4002087" y="1785938"/>
                </a:cubicBezTo>
                <a:cubicBezTo>
                  <a:pt x="4002087" y="1785938"/>
                  <a:pt x="4002087" y="1785938"/>
                  <a:pt x="3482938" y="1785938"/>
                </a:cubicBezTo>
                <a:cubicBezTo>
                  <a:pt x="3482938" y="1785938"/>
                  <a:pt x="3482938" y="1785938"/>
                  <a:pt x="3482938" y="692791"/>
                </a:cubicBezTo>
                <a:cubicBezTo>
                  <a:pt x="3482938" y="626645"/>
                  <a:pt x="3475970" y="579647"/>
                  <a:pt x="3458549" y="553536"/>
                </a:cubicBezTo>
                <a:cubicBezTo>
                  <a:pt x="3442870" y="525686"/>
                  <a:pt x="3413254" y="511760"/>
                  <a:pt x="3373185" y="511760"/>
                </a:cubicBezTo>
                <a:cubicBezTo>
                  <a:pt x="3293048" y="511760"/>
                  <a:pt x="3252979" y="572684"/>
                  <a:pt x="3252979" y="692791"/>
                </a:cubicBezTo>
                <a:cubicBezTo>
                  <a:pt x="3252979" y="692791"/>
                  <a:pt x="3252979" y="692791"/>
                  <a:pt x="3252979" y="912117"/>
                </a:cubicBezTo>
                <a:cubicBezTo>
                  <a:pt x="3252979" y="912117"/>
                  <a:pt x="3252979" y="912117"/>
                  <a:pt x="3399317" y="912117"/>
                </a:cubicBezTo>
                <a:cubicBezTo>
                  <a:pt x="3399317" y="912117"/>
                  <a:pt x="3399317" y="912117"/>
                  <a:pt x="3399317" y="1369916"/>
                </a:cubicBezTo>
                <a:cubicBezTo>
                  <a:pt x="3399317" y="1369916"/>
                  <a:pt x="3399317" y="1369916"/>
                  <a:pt x="3252979" y="1369916"/>
                </a:cubicBezTo>
                <a:lnTo>
                  <a:pt x="3252979" y="1785938"/>
                </a:lnTo>
                <a:cubicBezTo>
                  <a:pt x="3252979" y="1785938"/>
                  <a:pt x="3252979" y="1785938"/>
                  <a:pt x="2732087" y="1785938"/>
                </a:cubicBezTo>
                <a:cubicBezTo>
                  <a:pt x="2732087" y="1785938"/>
                  <a:pt x="2732087" y="1785938"/>
                  <a:pt x="2732087" y="677125"/>
                </a:cubicBezTo>
                <a:cubicBezTo>
                  <a:pt x="2732087" y="463021"/>
                  <a:pt x="2791319" y="295916"/>
                  <a:pt x="2908041" y="177550"/>
                </a:cubicBezTo>
                <a:cubicBezTo>
                  <a:pt x="3024763" y="59183"/>
                  <a:pt x="3190263" y="0"/>
                  <a:pt x="3402801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10000"/>
                </a:schemeClr>
              </a:gs>
              <a:gs pos="100000">
                <a:schemeClr val="accent1">
                  <a:alpha val="40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>
            <a:extLst>
              <a:ext uri="{FF2B5EF4-FFF2-40B4-BE49-F238E27FC236}">
                <a16:creationId xmlns:a16="http://schemas.microsoft.com/office/drawing/2014/main" id="{5DE53E45-3B56-42E9-B60B-C5983014B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4E8BAF6F-3024-46E1-9696-FBC9292559B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3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2123498" y="4619387"/>
            <a:ext cx="5419185" cy="568779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2124614" y="5220262"/>
            <a:ext cx="5419185" cy="592172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 useBgFill="1">
        <p:nvSpPr>
          <p:cNvPr id="7" name="任意多边形: 形状 6">
            <a:extLst>
              <a:ext uri="{FF2B5EF4-FFF2-40B4-BE49-F238E27FC236}">
                <a16:creationId xmlns:a16="http://schemas.microsoft.com/office/drawing/2014/main" id="{45925924-D01A-4D58-AB4E-5A118804C08A}"/>
              </a:ext>
            </a:extLst>
          </p:cNvPr>
          <p:cNvSpPr>
            <a:spLocks/>
          </p:cNvSpPr>
          <p:nvPr userDrawn="1"/>
        </p:nvSpPr>
        <p:spPr bwMode="auto">
          <a:xfrm>
            <a:off x="669925" y="1045567"/>
            <a:ext cx="9426575" cy="3001039"/>
          </a:xfrm>
          <a:custGeom>
            <a:avLst/>
            <a:gdLst>
              <a:gd name="connsiteX0" fmla="*/ 3184524 w 12192000"/>
              <a:gd name="connsiteY0" fmla="*/ 2130426 h 3881439"/>
              <a:gd name="connsiteX1" fmla="*/ 3709987 w 12192000"/>
              <a:gd name="connsiteY1" fmla="*/ 2130426 h 3881439"/>
              <a:gd name="connsiteX2" fmla="*/ 3935412 w 12192000"/>
              <a:gd name="connsiteY2" fmla="*/ 2490789 h 3881439"/>
              <a:gd name="connsiteX3" fmla="*/ 4178300 w 12192000"/>
              <a:gd name="connsiteY3" fmla="*/ 2130426 h 3881439"/>
              <a:gd name="connsiteX4" fmla="*/ 4694237 w 12192000"/>
              <a:gd name="connsiteY4" fmla="*/ 2130426 h 3881439"/>
              <a:gd name="connsiteX5" fmla="*/ 4200525 w 12192000"/>
              <a:gd name="connsiteY5" fmla="*/ 2906714 h 3881439"/>
              <a:gd name="connsiteX6" fmla="*/ 4200525 w 12192000"/>
              <a:gd name="connsiteY6" fmla="*/ 3875089 h 3881439"/>
              <a:gd name="connsiteX7" fmla="*/ 3681412 w 12192000"/>
              <a:gd name="connsiteY7" fmla="*/ 3875089 h 3881439"/>
              <a:gd name="connsiteX8" fmla="*/ 3681412 w 12192000"/>
              <a:gd name="connsiteY8" fmla="*/ 2906714 h 3881439"/>
              <a:gd name="connsiteX9" fmla="*/ 0 w 12192000"/>
              <a:gd name="connsiteY9" fmla="*/ 2130426 h 3881439"/>
              <a:gd name="connsiteX10" fmla="*/ 675620 w 12192000"/>
              <a:gd name="connsiteY10" fmla="*/ 2130426 h 3881439"/>
              <a:gd name="connsiteX11" fmla="*/ 1405220 w 12192000"/>
              <a:gd name="connsiteY11" fmla="*/ 2363663 h 3881439"/>
              <a:gd name="connsiteX12" fmla="*/ 1671638 w 12192000"/>
              <a:gd name="connsiteY12" fmla="*/ 2988527 h 3881439"/>
              <a:gd name="connsiteX13" fmla="*/ 1415668 w 12192000"/>
              <a:gd name="connsiteY13" fmla="*/ 3632538 h 3881439"/>
              <a:gd name="connsiteX14" fmla="*/ 757461 w 12192000"/>
              <a:gd name="connsiteY14" fmla="*/ 3881439 h 3881439"/>
              <a:gd name="connsiteX15" fmla="*/ 602486 w 12192000"/>
              <a:gd name="connsiteY15" fmla="*/ 3876217 h 3881439"/>
              <a:gd name="connsiteX16" fmla="*/ 602486 w 12192000"/>
              <a:gd name="connsiteY16" fmla="*/ 3364490 h 3881439"/>
              <a:gd name="connsiteX17" fmla="*/ 686068 w 12192000"/>
              <a:gd name="connsiteY17" fmla="*/ 3364490 h 3881439"/>
              <a:gd name="connsiteX18" fmla="*/ 1140544 w 12192000"/>
              <a:gd name="connsiteY18" fmla="*/ 2988527 h 3881439"/>
              <a:gd name="connsiteX19" fmla="*/ 693033 w 12192000"/>
              <a:gd name="connsiteY19" fmla="*/ 2631710 h 3881439"/>
              <a:gd name="connsiteX20" fmla="*/ 518904 w 12192000"/>
              <a:gd name="connsiteY20" fmla="*/ 2631710 h 3881439"/>
              <a:gd name="connsiteX21" fmla="*/ 518904 w 12192000"/>
              <a:gd name="connsiteY21" fmla="*/ 3874477 h 3881439"/>
              <a:gd name="connsiteX22" fmla="*/ 0 w 12192000"/>
              <a:gd name="connsiteY22" fmla="*/ 3874477 h 3881439"/>
              <a:gd name="connsiteX23" fmla="*/ 0 w 12192000"/>
              <a:gd name="connsiteY23" fmla="*/ 2130426 h 3881439"/>
              <a:gd name="connsiteX24" fmla="*/ 2549475 w 12192000"/>
              <a:gd name="connsiteY24" fmla="*/ 2089151 h 3881439"/>
              <a:gd name="connsiteX25" fmla="*/ 3001858 w 12192000"/>
              <a:gd name="connsiteY25" fmla="*/ 2251035 h 3881439"/>
              <a:gd name="connsiteX26" fmla="*/ 3148013 w 12192000"/>
              <a:gd name="connsiteY26" fmla="*/ 2747128 h 3881439"/>
              <a:gd name="connsiteX27" fmla="*/ 3148013 w 12192000"/>
              <a:gd name="connsiteY27" fmla="*/ 3875089 h 3881439"/>
              <a:gd name="connsiteX28" fmla="*/ 2629512 w 12192000"/>
              <a:gd name="connsiteY28" fmla="*/ 3875089 h 3881439"/>
              <a:gd name="connsiteX29" fmla="*/ 2629512 w 12192000"/>
              <a:gd name="connsiteY29" fmla="*/ 2781942 h 3881439"/>
              <a:gd name="connsiteX30" fmla="*/ 2605153 w 12192000"/>
              <a:gd name="connsiteY30" fmla="*/ 2642688 h 3881439"/>
              <a:gd name="connsiteX31" fmla="*/ 2519896 w 12192000"/>
              <a:gd name="connsiteY31" fmla="*/ 2600911 h 3881439"/>
              <a:gd name="connsiteX32" fmla="*/ 2399840 w 12192000"/>
              <a:gd name="connsiteY32" fmla="*/ 2781942 h 3881439"/>
              <a:gd name="connsiteX33" fmla="*/ 2399840 w 12192000"/>
              <a:gd name="connsiteY33" fmla="*/ 3001268 h 3881439"/>
              <a:gd name="connsiteX34" fmla="*/ 2545995 w 12192000"/>
              <a:gd name="connsiteY34" fmla="*/ 3001268 h 3881439"/>
              <a:gd name="connsiteX35" fmla="*/ 2545995 w 12192000"/>
              <a:gd name="connsiteY35" fmla="*/ 3459067 h 3881439"/>
              <a:gd name="connsiteX36" fmla="*/ 2399840 w 12192000"/>
              <a:gd name="connsiteY36" fmla="*/ 3459067 h 3881439"/>
              <a:gd name="connsiteX37" fmla="*/ 2399840 w 12192000"/>
              <a:gd name="connsiteY37" fmla="*/ 3875089 h 3881439"/>
              <a:gd name="connsiteX38" fmla="*/ 1879600 w 12192000"/>
              <a:gd name="connsiteY38" fmla="*/ 3875089 h 3881439"/>
              <a:gd name="connsiteX39" fmla="*/ 1879600 w 12192000"/>
              <a:gd name="connsiteY39" fmla="*/ 2766276 h 3881439"/>
              <a:gd name="connsiteX40" fmla="*/ 2055333 w 12192000"/>
              <a:gd name="connsiteY40" fmla="*/ 2266701 h 3881439"/>
              <a:gd name="connsiteX41" fmla="*/ 2549475 w 12192000"/>
              <a:gd name="connsiteY41" fmla="*/ 2089151 h 3881439"/>
              <a:gd name="connsiteX42" fmla="*/ 11737975 w 12192000"/>
              <a:gd name="connsiteY42" fmla="*/ 41275 h 3881439"/>
              <a:gd name="connsiteX43" fmla="*/ 12192000 w 12192000"/>
              <a:gd name="connsiteY43" fmla="*/ 41275 h 3881439"/>
              <a:gd name="connsiteX44" fmla="*/ 12093575 w 12192000"/>
              <a:gd name="connsiteY44" fmla="*/ 741363 h 3881439"/>
              <a:gd name="connsiteX45" fmla="*/ 11833225 w 12192000"/>
              <a:gd name="connsiteY45" fmla="*/ 741363 h 3881439"/>
              <a:gd name="connsiteX46" fmla="*/ 9166225 w 12192000"/>
              <a:gd name="connsiteY46" fmla="*/ 41275 h 3881439"/>
              <a:gd name="connsiteX47" fmla="*/ 9829351 w 12192000"/>
              <a:gd name="connsiteY47" fmla="*/ 41275 h 3881439"/>
              <a:gd name="connsiteX48" fmla="*/ 10313207 w 12192000"/>
              <a:gd name="connsiteY48" fmla="*/ 201464 h 3881439"/>
              <a:gd name="connsiteX49" fmla="*/ 10488996 w 12192000"/>
              <a:gd name="connsiteY49" fmla="*/ 621088 h 3881439"/>
              <a:gd name="connsiteX50" fmla="*/ 10255770 w 12192000"/>
              <a:gd name="connsiteY50" fmla="*/ 1066831 h 3881439"/>
              <a:gd name="connsiteX51" fmla="*/ 10556875 w 12192000"/>
              <a:gd name="connsiteY51" fmla="*/ 1785938 h 3881439"/>
              <a:gd name="connsiteX52" fmla="*/ 10010362 w 12192000"/>
              <a:gd name="connsiteY52" fmla="*/ 1785938 h 3881439"/>
              <a:gd name="connsiteX53" fmla="*/ 9759731 w 12192000"/>
              <a:gd name="connsiteY53" fmla="*/ 1223537 h 3881439"/>
              <a:gd name="connsiteX54" fmla="*/ 9759731 w 12192000"/>
              <a:gd name="connsiteY54" fmla="*/ 776053 h 3881439"/>
              <a:gd name="connsiteX55" fmla="*/ 9801503 w 12192000"/>
              <a:gd name="connsiteY55" fmla="*/ 776053 h 3881439"/>
              <a:gd name="connsiteX56" fmla="*/ 9965109 w 12192000"/>
              <a:gd name="connsiteY56" fmla="*/ 635018 h 3881439"/>
              <a:gd name="connsiteX57" fmla="*/ 9775396 w 12192000"/>
              <a:gd name="connsiteY57" fmla="*/ 511394 h 3881439"/>
              <a:gd name="connsiteX58" fmla="*/ 9683150 w 12192000"/>
              <a:gd name="connsiteY58" fmla="*/ 511394 h 3881439"/>
              <a:gd name="connsiteX59" fmla="*/ 9683150 w 12192000"/>
              <a:gd name="connsiteY59" fmla="*/ 1785938 h 3881439"/>
              <a:gd name="connsiteX60" fmla="*/ 9166225 w 12192000"/>
              <a:gd name="connsiteY60" fmla="*/ 1785938 h 3881439"/>
              <a:gd name="connsiteX61" fmla="*/ 9166225 w 12192000"/>
              <a:gd name="connsiteY61" fmla="*/ 41275 h 3881439"/>
              <a:gd name="connsiteX62" fmla="*/ 8417367 w 12192000"/>
              <a:gd name="connsiteY62" fmla="*/ 41275 h 3881439"/>
              <a:gd name="connsiteX63" fmla="*/ 8866187 w 12192000"/>
              <a:gd name="connsiteY63" fmla="*/ 41275 h 3881439"/>
              <a:gd name="connsiteX64" fmla="*/ 8866187 w 12192000"/>
              <a:gd name="connsiteY64" fmla="*/ 542735 h 3881439"/>
              <a:gd name="connsiteX65" fmla="*/ 8535660 w 12192000"/>
              <a:gd name="connsiteY65" fmla="*/ 542735 h 3881439"/>
              <a:gd name="connsiteX66" fmla="*/ 8401710 w 12192000"/>
              <a:gd name="connsiteY66" fmla="*/ 629794 h 3881439"/>
              <a:gd name="connsiteX67" fmla="*/ 8436502 w 12192000"/>
              <a:gd name="connsiteY67" fmla="*/ 702924 h 3881439"/>
              <a:gd name="connsiteX68" fmla="*/ 8547838 w 12192000"/>
              <a:gd name="connsiteY68" fmla="*/ 720336 h 3881439"/>
              <a:gd name="connsiteX69" fmla="*/ 8833134 w 12192000"/>
              <a:gd name="connsiteY69" fmla="*/ 720336 h 3881439"/>
              <a:gd name="connsiteX70" fmla="*/ 8833134 w 12192000"/>
              <a:gd name="connsiteY70" fmla="*/ 1108619 h 3881439"/>
              <a:gd name="connsiteX71" fmla="*/ 8495649 w 12192000"/>
              <a:gd name="connsiteY71" fmla="*/ 1108619 h 3881439"/>
              <a:gd name="connsiteX72" fmla="*/ 8398231 w 12192000"/>
              <a:gd name="connsiteY72" fmla="*/ 1129513 h 3881439"/>
              <a:gd name="connsiteX73" fmla="*/ 8370397 w 12192000"/>
              <a:gd name="connsiteY73" fmla="*/ 1197419 h 3881439"/>
              <a:gd name="connsiteX74" fmla="*/ 8398231 w 12192000"/>
              <a:gd name="connsiteY74" fmla="*/ 1270549 h 3881439"/>
              <a:gd name="connsiteX75" fmla="*/ 8520004 w 12192000"/>
              <a:gd name="connsiteY75" fmla="*/ 1287961 h 3881439"/>
              <a:gd name="connsiteX76" fmla="*/ 8866187 w 12192000"/>
              <a:gd name="connsiteY76" fmla="*/ 1287961 h 3881439"/>
              <a:gd name="connsiteX77" fmla="*/ 8866187 w 12192000"/>
              <a:gd name="connsiteY77" fmla="*/ 1785938 h 3881439"/>
              <a:gd name="connsiteX78" fmla="*/ 8459118 w 12192000"/>
              <a:gd name="connsiteY78" fmla="*/ 1785938 h 3881439"/>
              <a:gd name="connsiteX79" fmla="*/ 8020735 w 12192000"/>
              <a:gd name="connsiteY79" fmla="*/ 1648385 h 3881439"/>
              <a:gd name="connsiteX80" fmla="*/ 7867649 w 12192000"/>
              <a:gd name="connsiteY80" fmla="*/ 1251396 h 3881439"/>
              <a:gd name="connsiteX81" fmla="*/ 7867649 w 12192000"/>
              <a:gd name="connsiteY81" fmla="*/ 568853 h 3881439"/>
              <a:gd name="connsiteX82" fmla="*/ 8012037 w 12192000"/>
              <a:gd name="connsiteY82" fmla="*/ 178828 h 3881439"/>
              <a:gd name="connsiteX83" fmla="*/ 8417367 w 12192000"/>
              <a:gd name="connsiteY83" fmla="*/ 41275 h 3881439"/>
              <a:gd name="connsiteX84" fmla="*/ 7035799 w 12192000"/>
              <a:gd name="connsiteY84" fmla="*/ 41275 h 3881439"/>
              <a:gd name="connsiteX85" fmla="*/ 7553324 w 12192000"/>
              <a:gd name="connsiteY85" fmla="*/ 41275 h 3881439"/>
              <a:gd name="connsiteX86" fmla="*/ 7553324 w 12192000"/>
              <a:gd name="connsiteY86" fmla="*/ 1785938 h 3881439"/>
              <a:gd name="connsiteX87" fmla="*/ 7035799 w 12192000"/>
              <a:gd name="connsiteY87" fmla="*/ 1785938 h 3881439"/>
              <a:gd name="connsiteX88" fmla="*/ 6286499 w 12192000"/>
              <a:gd name="connsiteY88" fmla="*/ 41275 h 3881439"/>
              <a:gd name="connsiteX89" fmla="*/ 6802437 w 12192000"/>
              <a:gd name="connsiteY89" fmla="*/ 41275 h 3881439"/>
              <a:gd name="connsiteX90" fmla="*/ 6802437 w 12192000"/>
              <a:gd name="connsiteY90" fmla="*/ 666750 h 3881439"/>
              <a:gd name="connsiteX91" fmla="*/ 6946899 w 12192000"/>
              <a:gd name="connsiteY91" fmla="*/ 666750 h 3881439"/>
              <a:gd name="connsiteX92" fmla="*/ 6946899 w 12192000"/>
              <a:gd name="connsiteY92" fmla="*/ 1125538 h 3881439"/>
              <a:gd name="connsiteX93" fmla="*/ 6802437 w 12192000"/>
              <a:gd name="connsiteY93" fmla="*/ 1125538 h 3881439"/>
              <a:gd name="connsiteX94" fmla="*/ 6802437 w 12192000"/>
              <a:gd name="connsiteY94" fmla="*/ 1785938 h 3881439"/>
              <a:gd name="connsiteX95" fmla="*/ 6286499 w 12192000"/>
              <a:gd name="connsiteY95" fmla="*/ 1785938 h 3881439"/>
              <a:gd name="connsiteX96" fmla="*/ 2021330 w 12192000"/>
              <a:gd name="connsiteY96" fmla="*/ 41275 h 3881439"/>
              <a:gd name="connsiteX97" fmla="*/ 2470151 w 12192000"/>
              <a:gd name="connsiteY97" fmla="*/ 41275 h 3881439"/>
              <a:gd name="connsiteX98" fmla="*/ 2470151 w 12192000"/>
              <a:gd name="connsiteY98" fmla="*/ 542735 h 3881439"/>
              <a:gd name="connsiteX99" fmla="*/ 2137885 w 12192000"/>
              <a:gd name="connsiteY99" fmla="*/ 542735 h 3881439"/>
              <a:gd name="connsiteX100" fmla="*/ 2005674 w 12192000"/>
              <a:gd name="connsiteY100" fmla="*/ 629794 h 3881439"/>
              <a:gd name="connsiteX101" fmla="*/ 2040467 w 12192000"/>
              <a:gd name="connsiteY101" fmla="*/ 702924 h 3881439"/>
              <a:gd name="connsiteX102" fmla="*/ 2151801 w 12192000"/>
              <a:gd name="connsiteY102" fmla="*/ 720336 h 3881439"/>
              <a:gd name="connsiteX103" fmla="*/ 2435359 w 12192000"/>
              <a:gd name="connsiteY103" fmla="*/ 720336 h 3881439"/>
              <a:gd name="connsiteX104" fmla="*/ 2435359 w 12192000"/>
              <a:gd name="connsiteY104" fmla="*/ 1108619 h 3881439"/>
              <a:gd name="connsiteX105" fmla="*/ 2099613 w 12192000"/>
              <a:gd name="connsiteY105" fmla="*/ 1108619 h 3881439"/>
              <a:gd name="connsiteX106" fmla="*/ 2002195 w 12192000"/>
              <a:gd name="connsiteY106" fmla="*/ 1129513 h 3881439"/>
              <a:gd name="connsiteX107" fmla="*/ 1972621 w 12192000"/>
              <a:gd name="connsiteY107" fmla="*/ 1197419 h 3881439"/>
              <a:gd name="connsiteX108" fmla="*/ 2000455 w 12192000"/>
              <a:gd name="connsiteY108" fmla="*/ 1270549 h 3881439"/>
              <a:gd name="connsiteX109" fmla="*/ 2122228 w 12192000"/>
              <a:gd name="connsiteY109" fmla="*/ 1287961 h 3881439"/>
              <a:gd name="connsiteX110" fmla="*/ 2470151 w 12192000"/>
              <a:gd name="connsiteY110" fmla="*/ 1287961 h 3881439"/>
              <a:gd name="connsiteX111" fmla="*/ 2470151 w 12192000"/>
              <a:gd name="connsiteY111" fmla="*/ 1785938 h 3881439"/>
              <a:gd name="connsiteX112" fmla="*/ 2063081 w 12192000"/>
              <a:gd name="connsiteY112" fmla="*/ 1785938 h 3881439"/>
              <a:gd name="connsiteX113" fmla="*/ 1622959 w 12192000"/>
              <a:gd name="connsiteY113" fmla="*/ 1648385 h 3881439"/>
              <a:gd name="connsiteX114" fmla="*/ 1471613 w 12192000"/>
              <a:gd name="connsiteY114" fmla="*/ 1251396 h 3881439"/>
              <a:gd name="connsiteX115" fmla="*/ 1471613 w 12192000"/>
              <a:gd name="connsiteY115" fmla="*/ 568853 h 3881439"/>
              <a:gd name="connsiteX116" fmla="*/ 1616001 w 12192000"/>
              <a:gd name="connsiteY116" fmla="*/ 178828 h 3881439"/>
              <a:gd name="connsiteX117" fmla="*/ 2021330 w 12192000"/>
              <a:gd name="connsiteY117" fmla="*/ 41275 h 3881439"/>
              <a:gd name="connsiteX118" fmla="*/ 3176 w 12192000"/>
              <a:gd name="connsiteY118" fmla="*/ 41275 h 3881439"/>
              <a:gd name="connsiteX119" fmla="*/ 1314450 w 12192000"/>
              <a:gd name="connsiteY119" fmla="*/ 41275 h 3881439"/>
              <a:gd name="connsiteX120" fmla="*/ 1314450 w 12192000"/>
              <a:gd name="connsiteY120" fmla="*/ 542925 h 3881439"/>
              <a:gd name="connsiteX121" fmla="*/ 919163 w 12192000"/>
              <a:gd name="connsiteY121" fmla="*/ 542925 h 3881439"/>
              <a:gd name="connsiteX122" fmla="*/ 919163 w 12192000"/>
              <a:gd name="connsiteY122" fmla="*/ 1785938 h 3881439"/>
              <a:gd name="connsiteX123" fmla="*/ 401638 w 12192000"/>
              <a:gd name="connsiteY123" fmla="*/ 1785938 h 3881439"/>
              <a:gd name="connsiteX124" fmla="*/ 401638 w 12192000"/>
              <a:gd name="connsiteY124" fmla="*/ 542925 h 3881439"/>
              <a:gd name="connsiteX125" fmla="*/ 3176 w 12192000"/>
              <a:gd name="connsiteY125" fmla="*/ 542925 h 3881439"/>
              <a:gd name="connsiteX126" fmla="*/ 11336953 w 12192000"/>
              <a:gd name="connsiteY126" fmla="*/ 0 h 3881439"/>
              <a:gd name="connsiteX127" fmla="*/ 11547475 w 12192000"/>
              <a:gd name="connsiteY127" fmla="*/ 33057 h 3881439"/>
              <a:gd name="connsiteX128" fmla="*/ 11547475 w 12192000"/>
              <a:gd name="connsiteY128" fmla="*/ 532395 h 3881439"/>
              <a:gd name="connsiteX129" fmla="*/ 11469182 w 12192000"/>
              <a:gd name="connsiteY129" fmla="*/ 511517 h 3881439"/>
              <a:gd name="connsiteX130" fmla="*/ 11364790 w 12192000"/>
              <a:gd name="connsiteY130" fmla="*/ 549793 h 3881439"/>
              <a:gd name="connsiteX131" fmla="*/ 11321294 w 12192000"/>
              <a:gd name="connsiteY131" fmla="*/ 655924 h 3881439"/>
              <a:gd name="connsiteX132" fmla="*/ 11364790 w 12192000"/>
              <a:gd name="connsiteY132" fmla="*/ 795113 h 3881439"/>
              <a:gd name="connsiteX133" fmla="*/ 11404807 w 12192000"/>
              <a:gd name="connsiteY133" fmla="*/ 862967 h 3881439"/>
              <a:gd name="connsiteX134" fmla="*/ 11510938 w 12192000"/>
              <a:gd name="connsiteY134" fmla="*/ 1230076 h 3881439"/>
              <a:gd name="connsiteX135" fmla="*/ 11331733 w 12192000"/>
              <a:gd name="connsiteY135" fmla="*/ 1638941 h 3881439"/>
              <a:gd name="connsiteX136" fmla="*/ 10886331 w 12192000"/>
              <a:gd name="connsiteY136" fmla="*/ 1812926 h 3881439"/>
              <a:gd name="connsiteX137" fmla="*/ 10641012 w 12192000"/>
              <a:gd name="connsiteY137" fmla="*/ 1764210 h 3881439"/>
              <a:gd name="connsiteX138" fmla="*/ 10641012 w 12192000"/>
              <a:gd name="connsiteY138" fmla="*/ 1259653 h 3881439"/>
              <a:gd name="connsiteX139" fmla="*/ 10781940 w 12192000"/>
              <a:gd name="connsiteY139" fmla="*/ 1303149 h 3881439"/>
              <a:gd name="connsiteX140" fmla="*/ 10889811 w 12192000"/>
              <a:gd name="connsiteY140" fmla="*/ 1266613 h 3881439"/>
              <a:gd name="connsiteX141" fmla="*/ 10931567 w 12192000"/>
              <a:gd name="connsiteY141" fmla="*/ 1167441 h 3881439"/>
              <a:gd name="connsiteX142" fmla="*/ 10858494 w 12192000"/>
              <a:gd name="connsiteY142" fmla="*/ 1010854 h 3881439"/>
              <a:gd name="connsiteX143" fmla="*/ 10743663 w 12192000"/>
              <a:gd name="connsiteY143" fmla="*/ 600249 h 3881439"/>
              <a:gd name="connsiteX144" fmla="*/ 10917648 w 12192000"/>
              <a:gd name="connsiteY144" fmla="*/ 177465 h 3881439"/>
              <a:gd name="connsiteX145" fmla="*/ 11336953 w 12192000"/>
              <a:gd name="connsiteY145" fmla="*/ 0 h 3881439"/>
              <a:gd name="connsiteX146" fmla="*/ 5138383 w 12192000"/>
              <a:gd name="connsiteY146" fmla="*/ 0 h 3881439"/>
              <a:gd name="connsiteX147" fmla="*/ 5714890 w 12192000"/>
              <a:gd name="connsiteY147" fmla="*/ 194864 h 3881439"/>
              <a:gd name="connsiteX148" fmla="*/ 6033624 w 12192000"/>
              <a:gd name="connsiteY148" fmla="*/ 760316 h 3881439"/>
              <a:gd name="connsiteX149" fmla="*/ 5479759 w 12192000"/>
              <a:gd name="connsiteY149" fmla="*/ 800332 h 3881439"/>
              <a:gd name="connsiteX150" fmla="*/ 5126191 w 12192000"/>
              <a:gd name="connsiteY150" fmla="*/ 511517 h 3881439"/>
              <a:gd name="connsiteX151" fmla="*/ 4852742 w 12192000"/>
              <a:gd name="connsiteY151" fmla="*/ 624607 h 3881439"/>
              <a:gd name="connsiteX152" fmla="*/ 4744756 w 12192000"/>
              <a:gd name="connsiteY152" fmla="*/ 915162 h 3881439"/>
              <a:gd name="connsiteX153" fmla="*/ 4849258 w 12192000"/>
              <a:gd name="connsiteY153" fmla="*/ 1193539 h 3881439"/>
              <a:gd name="connsiteX154" fmla="*/ 5117482 w 12192000"/>
              <a:gd name="connsiteY154" fmla="*/ 1301410 h 3881439"/>
              <a:gd name="connsiteX155" fmla="*/ 5497176 w 12192000"/>
              <a:gd name="connsiteY155" fmla="*/ 920382 h 3881439"/>
              <a:gd name="connsiteX156" fmla="*/ 6038849 w 12192000"/>
              <a:gd name="connsiteY156" fmla="*/ 936041 h 3881439"/>
              <a:gd name="connsiteX157" fmla="*/ 5744499 w 12192000"/>
              <a:gd name="connsiteY157" fmla="*/ 1588485 h 3881439"/>
              <a:gd name="connsiteX158" fmla="*/ 5126191 w 12192000"/>
              <a:gd name="connsiteY158" fmla="*/ 1812926 h 3881439"/>
              <a:gd name="connsiteX159" fmla="*/ 4471307 w 12192000"/>
              <a:gd name="connsiteY159" fmla="*/ 1557168 h 3881439"/>
              <a:gd name="connsiteX160" fmla="*/ 4210050 w 12192000"/>
              <a:gd name="connsiteY160" fmla="*/ 915162 h 3881439"/>
              <a:gd name="connsiteX161" fmla="*/ 4476532 w 12192000"/>
              <a:gd name="connsiteY161" fmla="*/ 262718 h 3881439"/>
              <a:gd name="connsiteX162" fmla="*/ 5138383 w 12192000"/>
              <a:gd name="connsiteY162" fmla="*/ 0 h 3881439"/>
              <a:gd name="connsiteX163" fmla="*/ 3402801 w 12192000"/>
              <a:gd name="connsiteY163" fmla="*/ 0 h 3881439"/>
              <a:gd name="connsiteX164" fmla="*/ 3855749 w 12192000"/>
              <a:gd name="connsiteY164" fmla="*/ 161883 h 3881439"/>
              <a:gd name="connsiteX165" fmla="*/ 4002087 w 12192000"/>
              <a:gd name="connsiteY165" fmla="*/ 657977 h 3881439"/>
              <a:gd name="connsiteX166" fmla="*/ 4002087 w 12192000"/>
              <a:gd name="connsiteY166" fmla="*/ 1785938 h 3881439"/>
              <a:gd name="connsiteX167" fmla="*/ 3482938 w 12192000"/>
              <a:gd name="connsiteY167" fmla="*/ 1785938 h 3881439"/>
              <a:gd name="connsiteX168" fmla="*/ 3482938 w 12192000"/>
              <a:gd name="connsiteY168" fmla="*/ 692791 h 3881439"/>
              <a:gd name="connsiteX169" fmla="*/ 3458549 w 12192000"/>
              <a:gd name="connsiteY169" fmla="*/ 553536 h 3881439"/>
              <a:gd name="connsiteX170" fmla="*/ 3373185 w 12192000"/>
              <a:gd name="connsiteY170" fmla="*/ 511760 h 3881439"/>
              <a:gd name="connsiteX171" fmla="*/ 3252979 w 12192000"/>
              <a:gd name="connsiteY171" fmla="*/ 692791 h 3881439"/>
              <a:gd name="connsiteX172" fmla="*/ 3252979 w 12192000"/>
              <a:gd name="connsiteY172" fmla="*/ 912117 h 3881439"/>
              <a:gd name="connsiteX173" fmla="*/ 3399317 w 12192000"/>
              <a:gd name="connsiteY173" fmla="*/ 912117 h 3881439"/>
              <a:gd name="connsiteX174" fmla="*/ 3399317 w 12192000"/>
              <a:gd name="connsiteY174" fmla="*/ 1369916 h 3881439"/>
              <a:gd name="connsiteX175" fmla="*/ 3252979 w 12192000"/>
              <a:gd name="connsiteY175" fmla="*/ 1369916 h 3881439"/>
              <a:gd name="connsiteX176" fmla="*/ 3252979 w 12192000"/>
              <a:gd name="connsiteY176" fmla="*/ 1785938 h 3881439"/>
              <a:gd name="connsiteX177" fmla="*/ 2732087 w 12192000"/>
              <a:gd name="connsiteY177" fmla="*/ 1785938 h 3881439"/>
              <a:gd name="connsiteX178" fmla="*/ 2732087 w 12192000"/>
              <a:gd name="connsiteY178" fmla="*/ 677125 h 3881439"/>
              <a:gd name="connsiteX179" fmla="*/ 2908041 w 12192000"/>
              <a:gd name="connsiteY179" fmla="*/ 177550 h 3881439"/>
              <a:gd name="connsiteX180" fmla="*/ 3402801 w 12192000"/>
              <a:gd name="connsiteY180" fmla="*/ 0 h 3881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12192000" h="3881439">
                <a:moveTo>
                  <a:pt x="3184524" y="2130426"/>
                </a:moveTo>
                <a:lnTo>
                  <a:pt x="3709987" y="2130426"/>
                </a:lnTo>
                <a:lnTo>
                  <a:pt x="3935412" y="2490789"/>
                </a:lnTo>
                <a:lnTo>
                  <a:pt x="4178300" y="2130426"/>
                </a:lnTo>
                <a:lnTo>
                  <a:pt x="4694237" y="2130426"/>
                </a:lnTo>
                <a:lnTo>
                  <a:pt x="4200525" y="2906714"/>
                </a:lnTo>
                <a:lnTo>
                  <a:pt x="4200525" y="3875089"/>
                </a:lnTo>
                <a:lnTo>
                  <a:pt x="3681412" y="3875089"/>
                </a:lnTo>
                <a:lnTo>
                  <a:pt x="3681412" y="2906714"/>
                </a:lnTo>
                <a:close/>
                <a:moveTo>
                  <a:pt x="0" y="2130426"/>
                </a:moveTo>
                <a:cubicBezTo>
                  <a:pt x="0" y="2130426"/>
                  <a:pt x="0" y="2130426"/>
                  <a:pt x="675620" y="2130426"/>
                </a:cubicBezTo>
                <a:cubicBezTo>
                  <a:pt x="983828" y="2130426"/>
                  <a:pt x="1227609" y="2207011"/>
                  <a:pt x="1405220" y="2363663"/>
                </a:cubicBezTo>
                <a:cubicBezTo>
                  <a:pt x="1582832" y="2518573"/>
                  <a:pt x="1671638" y="2725701"/>
                  <a:pt x="1671638" y="2988527"/>
                </a:cubicBezTo>
                <a:cubicBezTo>
                  <a:pt x="1671638" y="3251353"/>
                  <a:pt x="1586314" y="3465443"/>
                  <a:pt x="1415668" y="3632538"/>
                </a:cubicBezTo>
                <a:cubicBezTo>
                  <a:pt x="1245022" y="3799632"/>
                  <a:pt x="1025619" y="3881439"/>
                  <a:pt x="757461" y="3881439"/>
                </a:cubicBezTo>
                <a:cubicBezTo>
                  <a:pt x="745272" y="3881439"/>
                  <a:pt x="694774" y="3879699"/>
                  <a:pt x="602486" y="3876217"/>
                </a:cubicBezTo>
                <a:cubicBezTo>
                  <a:pt x="602486" y="3876217"/>
                  <a:pt x="602486" y="3876217"/>
                  <a:pt x="602486" y="3364490"/>
                </a:cubicBezTo>
                <a:cubicBezTo>
                  <a:pt x="602486" y="3364490"/>
                  <a:pt x="602486" y="3364490"/>
                  <a:pt x="686068" y="3364490"/>
                </a:cubicBezTo>
                <a:cubicBezTo>
                  <a:pt x="989052" y="3364490"/>
                  <a:pt x="1140544" y="3239169"/>
                  <a:pt x="1140544" y="2988527"/>
                </a:cubicBezTo>
                <a:cubicBezTo>
                  <a:pt x="1140544" y="2750069"/>
                  <a:pt x="992534" y="2631710"/>
                  <a:pt x="693033" y="2631710"/>
                </a:cubicBezTo>
                <a:cubicBezTo>
                  <a:pt x="693033" y="2631710"/>
                  <a:pt x="693033" y="2631710"/>
                  <a:pt x="518904" y="2631710"/>
                </a:cubicBezTo>
                <a:cubicBezTo>
                  <a:pt x="518904" y="2631710"/>
                  <a:pt x="518904" y="2631710"/>
                  <a:pt x="518904" y="3874477"/>
                </a:cubicBezTo>
                <a:cubicBezTo>
                  <a:pt x="518904" y="3874477"/>
                  <a:pt x="518904" y="3874477"/>
                  <a:pt x="0" y="3874477"/>
                </a:cubicBezTo>
                <a:cubicBezTo>
                  <a:pt x="0" y="3874477"/>
                  <a:pt x="0" y="3874477"/>
                  <a:pt x="0" y="2130426"/>
                </a:cubicBezTo>
                <a:close/>
                <a:moveTo>
                  <a:pt x="2549475" y="2089151"/>
                </a:moveTo>
                <a:cubicBezTo>
                  <a:pt x="2753047" y="2089151"/>
                  <a:pt x="2902681" y="2143112"/>
                  <a:pt x="3001858" y="2251035"/>
                </a:cubicBezTo>
                <a:cubicBezTo>
                  <a:pt x="3099294" y="2358957"/>
                  <a:pt x="3148013" y="2524321"/>
                  <a:pt x="3148013" y="2747128"/>
                </a:cubicBezTo>
                <a:cubicBezTo>
                  <a:pt x="3148013" y="2747128"/>
                  <a:pt x="3148013" y="2747128"/>
                  <a:pt x="3148013" y="3875089"/>
                </a:cubicBezTo>
                <a:cubicBezTo>
                  <a:pt x="3148013" y="3875089"/>
                  <a:pt x="3148013" y="3875089"/>
                  <a:pt x="2629512" y="3875089"/>
                </a:cubicBezTo>
                <a:cubicBezTo>
                  <a:pt x="2629512" y="3875089"/>
                  <a:pt x="2629512" y="3875089"/>
                  <a:pt x="2629512" y="2781942"/>
                </a:cubicBezTo>
                <a:cubicBezTo>
                  <a:pt x="2629512" y="2715796"/>
                  <a:pt x="2620812" y="2668798"/>
                  <a:pt x="2605153" y="2642688"/>
                </a:cubicBezTo>
                <a:cubicBezTo>
                  <a:pt x="2587753" y="2614837"/>
                  <a:pt x="2559914" y="2600911"/>
                  <a:pt x="2519896" y="2600911"/>
                </a:cubicBezTo>
                <a:cubicBezTo>
                  <a:pt x="2439859" y="2600911"/>
                  <a:pt x="2399840" y="2661835"/>
                  <a:pt x="2399840" y="2781942"/>
                </a:cubicBezTo>
                <a:cubicBezTo>
                  <a:pt x="2399840" y="2781942"/>
                  <a:pt x="2399840" y="2781942"/>
                  <a:pt x="2399840" y="3001268"/>
                </a:cubicBezTo>
                <a:cubicBezTo>
                  <a:pt x="2399840" y="3001268"/>
                  <a:pt x="2399840" y="3001268"/>
                  <a:pt x="2545995" y="3001268"/>
                </a:cubicBezTo>
                <a:cubicBezTo>
                  <a:pt x="2545995" y="3001268"/>
                  <a:pt x="2545995" y="3001268"/>
                  <a:pt x="2545995" y="3459067"/>
                </a:cubicBezTo>
                <a:cubicBezTo>
                  <a:pt x="2545995" y="3459067"/>
                  <a:pt x="2545995" y="3459067"/>
                  <a:pt x="2399840" y="3459067"/>
                </a:cubicBezTo>
                <a:cubicBezTo>
                  <a:pt x="2399840" y="3459067"/>
                  <a:pt x="2399840" y="3459067"/>
                  <a:pt x="2399840" y="3875089"/>
                </a:cubicBezTo>
                <a:cubicBezTo>
                  <a:pt x="2399840" y="3875089"/>
                  <a:pt x="2399840" y="3875089"/>
                  <a:pt x="1879600" y="3875089"/>
                </a:cubicBezTo>
                <a:cubicBezTo>
                  <a:pt x="1879600" y="3875089"/>
                  <a:pt x="1879600" y="3875089"/>
                  <a:pt x="1879600" y="2766276"/>
                </a:cubicBezTo>
                <a:cubicBezTo>
                  <a:pt x="1879600" y="2552172"/>
                  <a:pt x="1938757" y="2385067"/>
                  <a:pt x="2055333" y="2266701"/>
                </a:cubicBezTo>
                <a:cubicBezTo>
                  <a:pt x="2171909" y="2148334"/>
                  <a:pt x="2335463" y="2089151"/>
                  <a:pt x="2549475" y="2089151"/>
                </a:cubicBezTo>
                <a:close/>
                <a:moveTo>
                  <a:pt x="11737975" y="41275"/>
                </a:moveTo>
                <a:lnTo>
                  <a:pt x="12192000" y="41275"/>
                </a:lnTo>
                <a:lnTo>
                  <a:pt x="12093575" y="741363"/>
                </a:lnTo>
                <a:lnTo>
                  <a:pt x="11833225" y="741363"/>
                </a:lnTo>
                <a:close/>
                <a:moveTo>
                  <a:pt x="9166225" y="41275"/>
                </a:moveTo>
                <a:cubicBezTo>
                  <a:pt x="9166225" y="41275"/>
                  <a:pt x="9166225" y="41275"/>
                  <a:pt x="9829351" y="41275"/>
                </a:cubicBezTo>
                <a:cubicBezTo>
                  <a:pt x="10034729" y="41275"/>
                  <a:pt x="10194854" y="95252"/>
                  <a:pt x="10313207" y="201464"/>
                </a:cubicBezTo>
                <a:cubicBezTo>
                  <a:pt x="10429819" y="309417"/>
                  <a:pt x="10488996" y="448711"/>
                  <a:pt x="10488996" y="621088"/>
                </a:cubicBezTo>
                <a:cubicBezTo>
                  <a:pt x="10488996" y="800430"/>
                  <a:pt x="10410674" y="948430"/>
                  <a:pt x="10255770" y="1066831"/>
                </a:cubicBezTo>
                <a:cubicBezTo>
                  <a:pt x="10255770" y="1066831"/>
                  <a:pt x="10255770" y="1066831"/>
                  <a:pt x="10556875" y="1785938"/>
                </a:cubicBezTo>
                <a:cubicBezTo>
                  <a:pt x="10556875" y="1785938"/>
                  <a:pt x="10556875" y="1785938"/>
                  <a:pt x="10010362" y="1785938"/>
                </a:cubicBezTo>
                <a:cubicBezTo>
                  <a:pt x="10010362" y="1785938"/>
                  <a:pt x="10010362" y="1785938"/>
                  <a:pt x="9759731" y="1223537"/>
                </a:cubicBezTo>
                <a:cubicBezTo>
                  <a:pt x="9759731" y="1223537"/>
                  <a:pt x="9759731" y="1223537"/>
                  <a:pt x="9759731" y="776053"/>
                </a:cubicBezTo>
                <a:cubicBezTo>
                  <a:pt x="9759731" y="776053"/>
                  <a:pt x="9759731" y="776053"/>
                  <a:pt x="9801503" y="776053"/>
                </a:cubicBezTo>
                <a:cubicBezTo>
                  <a:pt x="9911154" y="776053"/>
                  <a:pt x="9965109" y="729042"/>
                  <a:pt x="9965109" y="635018"/>
                </a:cubicBezTo>
                <a:cubicBezTo>
                  <a:pt x="9965109" y="553182"/>
                  <a:pt x="9902452" y="511394"/>
                  <a:pt x="9775396" y="511394"/>
                </a:cubicBezTo>
                <a:cubicBezTo>
                  <a:pt x="9775396" y="511394"/>
                  <a:pt x="9775396" y="511394"/>
                  <a:pt x="9683150" y="511394"/>
                </a:cubicBezTo>
                <a:cubicBezTo>
                  <a:pt x="9683150" y="511394"/>
                  <a:pt x="9683150" y="511394"/>
                  <a:pt x="9683150" y="1785938"/>
                </a:cubicBezTo>
                <a:cubicBezTo>
                  <a:pt x="9683150" y="1785938"/>
                  <a:pt x="9683150" y="1785938"/>
                  <a:pt x="9166225" y="1785938"/>
                </a:cubicBezTo>
                <a:cubicBezTo>
                  <a:pt x="9166225" y="1785938"/>
                  <a:pt x="9166225" y="1785938"/>
                  <a:pt x="9166225" y="41275"/>
                </a:cubicBezTo>
                <a:close/>
                <a:moveTo>
                  <a:pt x="8417367" y="41275"/>
                </a:moveTo>
                <a:cubicBezTo>
                  <a:pt x="8417367" y="41275"/>
                  <a:pt x="8417367" y="41275"/>
                  <a:pt x="8866187" y="41275"/>
                </a:cubicBezTo>
                <a:cubicBezTo>
                  <a:pt x="8866187" y="41275"/>
                  <a:pt x="8866187" y="41275"/>
                  <a:pt x="8866187" y="542735"/>
                </a:cubicBezTo>
                <a:cubicBezTo>
                  <a:pt x="8866187" y="542735"/>
                  <a:pt x="8866187" y="542735"/>
                  <a:pt x="8535660" y="542735"/>
                </a:cubicBezTo>
                <a:cubicBezTo>
                  <a:pt x="8446940" y="542735"/>
                  <a:pt x="8401710" y="572335"/>
                  <a:pt x="8401710" y="629794"/>
                </a:cubicBezTo>
                <a:cubicBezTo>
                  <a:pt x="8401710" y="666359"/>
                  <a:pt x="8413888" y="690736"/>
                  <a:pt x="8436502" y="702924"/>
                </a:cubicBezTo>
                <a:cubicBezTo>
                  <a:pt x="8460857" y="715112"/>
                  <a:pt x="8497389" y="720336"/>
                  <a:pt x="8547838" y="720336"/>
                </a:cubicBezTo>
                <a:cubicBezTo>
                  <a:pt x="8547838" y="720336"/>
                  <a:pt x="8547838" y="720336"/>
                  <a:pt x="8833134" y="720336"/>
                </a:cubicBezTo>
                <a:cubicBezTo>
                  <a:pt x="8833134" y="720336"/>
                  <a:pt x="8833134" y="720336"/>
                  <a:pt x="8833134" y="1108619"/>
                </a:cubicBezTo>
                <a:cubicBezTo>
                  <a:pt x="8833134" y="1108619"/>
                  <a:pt x="8833134" y="1108619"/>
                  <a:pt x="8495649" y="1108619"/>
                </a:cubicBezTo>
                <a:cubicBezTo>
                  <a:pt x="8450419" y="1108619"/>
                  <a:pt x="8417367" y="1115584"/>
                  <a:pt x="8398231" y="1129513"/>
                </a:cubicBezTo>
                <a:cubicBezTo>
                  <a:pt x="8379095" y="1143443"/>
                  <a:pt x="8370397" y="1166078"/>
                  <a:pt x="8370397" y="1197419"/>
                </a:cubicBezTo>
                <a:cubicBezTo>
                  <a:pt x="8370397" y="1233984"/>
                  <a:pt x="8379095" y="1258360"/>
                  <a:pt x="8398231" y="1270549"/>
                </a:cubicBezTo>
                <a:cubicBezTo>
                  <a:pt x="8415627" y="1282737"/>
                  <a:pt x="8457378" y="1287961"/>
                  <a:pt x="8520004" y="1287961"/>
                </a:cubicBezTo>
                <a:cubicBezTo>
                  <a:pt x="8520004" y="1287961"/>
                  <a:pt x="8520004" y="1287961"/>
                  <a:pt x="8866187" y="1287961"/>
                </a:cubicBezTo>
                <a:cubicBezTo>
                  <a:pt x="8866187" y="1287961"/>
                  <a:pt x="8866187" y="1287961"/>
                  <a:pt x="8866187" y="1785938"/>
                </a:cubicBezTo>
                <a:cubicBezTo>
                  <a:pt x="8866187" y="1785938"/>
                  <a:pt x="8866187" y="1785938"/>
                  <a:pt x="8459118" y="1785938"/>
                </a:cubicBezTo>
                <a:cubicBezTo>
                  <a:pt x="8267760" y="1785938"/>
                  <a:pt x="8121633" y="1740667"/>
                  <a:pt x="8020735" y="1648385"/>
                </a:cubicBezTo>
                <a:cubicBezTo>
                  <a:pt x="7919837" y="1556102"/>
                  <a:pt x="7867649" y="1425514"/>
                  <a:pt x="7867649" y="1251396"/>
                </a:cubicBezTo>
                <a:cubicBezTo>
                  <a:pt x="7867649" y="1251396"/>
                  <a:pt x="7867649" y="1251396"/>
                  <a:pt x="7867649" y="568853"/>
                </a:cubicBezTo>
                <a:cubicBezTo>
                  <a:pt x="7867649" y="401700"/>
                  <a:pt x="7916358" y="272852"/>
                  <a:pt x="8012037" y="178828"/>
                </a:cubicBezTo>
                <a:cubicBezTo>
                  <a:pt x="8107716" y="86546"/>
                  <a:pt x="8243405" y="41275"/>
                  <a:pt x="8417367" y="41275"/>
                </a:cubicBezTo>
                <a:close/>
                <a:moveTo>
                  <a:pt x="7035799" y="41275"/>
                </a:moveTo>
                <a:lnTo>
                  <a:pt x="7553324" y="41275"/>
                </a:lnTo>
                <a:lnTo>
                  <a:pt x="7553324" y="1785938"/>
                </a:lnTo>
                <a:lnTo>
                  <a:pt x="7035799" y="1785938"/>
                </a:lnTo>
                <a:close/>
                <a:moveTo>
                  <a:pt x="6286499" y="41275"/>
                </a:moveTo>
                <a:lnTo>
                  <a:pt x="6802437" y="41275"/>
                </a:lnTo>
                <a:lnTo>
                  <a:pt x="6802437" y="666750"/>
                </a:lnTo>
                <a:lnTo>
                  <a:pt x="6946899" y="666750"/>
                </a:lnTo>
                <a:lnTo>
                  <a:pt x="6946899" y="1125538"/>
                </a:lnTo>
                <a:lnTo>
                  <a:pt x="6802437" y="1125538"/>
                </a:lnTo>
                <a:lnTo>
                  <a:pt x="6802437" y="1785938"/>
                </a:lnTo>
                <a:lnTo>
                  <a:pt x="6286499" y="1785938"/>
                </a:lnTo>
                <a:close/>
                <a:moveTo>
                  <a:pt x="2021330" y="41275"/>
                </a:moveTo>
                <a:cubicBezTo>
                  <a:pt x="2021330" y="41275"/>
                  <a:pt x="2021330" y="41275"/>
                  <a:pt x="2470151" y="41275"/>
                </a:cubicBezTo>
                <a:cubicBezTo>
                  <a:pt x="2470151" y="41275"/>
                  <a:pt x="2470151" y="41275"/>
                  <a:pt x="2470151" y="542735"/>
                </a:cubicBezTo>
                <a:cubicBezTo>
                  <a:pt x="2470151" y="542735"/>
                  <a:pt x="2470151" y="542735"/>
                  <a:pt x="2137885" y="542735"/>
                </a:cubicBezTo>
                <a:cubicBezTo>
                  <a:pt x="2049164" y="542735"/>
                  <a:pt x="2005674" y="572335"/>
                  <a:pt x="2005674" y="629794"/>
                </a:cubicBezTo>
                <a:cubicBezTo>
                  <a:pt x="2005674" y="666359"/>
                  <a:pt x="2016112" y="690736"/>
                  <a:pt x="2040467" y="702924"/>
                </a:cubicBezTo>
                <a:cubicBezTo>
                  <a:pt x="2063081" y="715112"/>
                  <a:pt x="2101352" y="720336"/>
                  <a:pt x="2151801" y="720336"/>
                </a:cubicBezTo>
                <a:cubicBezTo>
                  <a:pt x="2151801" y="720336"/>
                  <a:pt x="2151801" y="720336"/>
                  <a:pt x="2435359" y="720336"/>
                </a:cubicBezTo>
                <a:cubicBezTo>
                  <a:pt x="2435359" y="720336"/>
                  <a:pt x="2435359" y="720336"/>
                  <a:pt x="2435359" y="1108619"/>
                </a:cubicBezTo>
                <a:cubicBezTo>
                  <a:pt x="2435359" y="1108619"/>
                  <a:pt x="2435359" y="1108619"/>
                  <a:pt x="2099613" y="1108619"/>
                </a:cubicBezTo>
                <a:cubicBezTo>
                  <a:pt x="2054383" y="1108619"/>
                  <a:pt x="2021330" y="1115584"/>
                  <a:pt x="2002195" y="1129513"/>
                </a:cubicBezTo>
                <a:cubicBezTo>
                  <a:pt x="1983059" y="1143443"/>
                  <a:pt x="1972621" y="1166078"/>
                  <a:pt x="1972621" y="1197419"/>
                </a:cubicBezTo>
                <a:cubicBezTo>
                  <a:pt x="1972621" y="1233984"/>
                  <a:pt x="1983059" y="1258360"/>
                  <a:pt x="2000455" y="1270549"/>
                </a:cubicBezTo>
                <a:cubicBezTo>
                  <a:pt x="2019591" y="1282737"/>
                  <a:pt x="2059602" y="1287961"/>
                  <a:pt x="2122228" y="1287961"/>
                </a:cubicBezTo>
                <a:cubicBezTo>
                  <a:pt x="2122228" y="1287961"/>
                  <a:pt x="2122228" y="1287961"/>
                  <a:pt x="2470151" y="1287961"/>
                </a:cubicBezTo>
                <a:cubicBezTo>
                  <a:pt x="2470151" y="1287961"/>
                  <a:pt x="2470151" y="1287961"/>
                  <a:pt x="2470151" y="1785938"/>
                </a:cubicBezTo>
                <a:cubicBezTo>
                  <a:pt x="2470151" y="1785938"/>
                  <a:pt x="2470151" y="1785938"/>
                  <a:pt x="2063081" y="1785938"/>
                </a:cubicBezTo>
                <a:cubicBezTo>
                  <a:pt x="1869984" y="1785938"/>
                  <a:pt x="1723856" y="1740667"/>
                  <a:pt x="1622959" y="1648385"/>
                </a:cubicBezTo>
                <a:cubicBezTo>
                  <a:pt x="1522061" y="1556102"/>
                  <a:pt x="1471613" y="1425514"/>
                  <a:pt x="1471613" y="1251396"/>
                </a:cubicBezTo>
                <a:cubicBezTo>
                  <a:pt x="1471613" y="1251396"/>
                  <a:pt x="1471613" y="1251396"/>
                  <a:pt x="1471613" y="568853"/>
                </a:cubicBezTo>
                <a:cubicBezTo>
                  <a:pt x="1471613" y="401700"/>
                  <a:pt x="1520322" y="272852"/>
                  <a:pt x="1616001" y="178828"/>
                </a:cubicBezTo>
                <a:cubicBezTo>
                  <a:pt x="1711679" y="86546"/>
                  <a:pt x="1845629" y="41275"/>
                  <a:pt x="2021330" y="41275"/>
                </a:cubicBezTo>
                <a:close/>
                <a:moveTo>
                  <a:pt x="3176" y="41275"/>
                </a:moveTo>
                <a:lnTo>
                  <a:pt x="1314450" y="41275"/>
                </a:lnTo>
                <a:lnTo>
                  <a:pt x="1314450" y="542925"/>
                </a:lnTo>
                <a:lnTo>
                  <a:pt x="919163" y="542925"/>
                </a:lnTo>
                <a:lnTo>
                  <a:pt x="919163" y="1785938"/>
                </a:lnTo>
                <a:lnTo>
                  <a:pt x="401638" y="1785938"/>
                </a:lnTo>
                <a:lnTo>
                  <a:pt x="401638" y="542925"/>
                </a:lnTo>
                <a:lnTo>
                  <a:pt x="3176" y="542925"/>
                </a:lnTo>
                <a:close/>
                <a:moveTo>
                  <a:pt x="11336953" y="0"/>
                </a:moveTo>
                <a:cubicBezTo>
                  <a:pt x="11410027" y="0"/>
                  <a:pt x="11479621" y="10439"/>
                  <a:pt x="11547475" y="33057"/>
                </a:cubicBezTo>
                <a:cubicBezTo>
                  <a:pt x="11547475" y="33057"/>
                  <a:pt x="11547475" y="33057"/>
                  <a:pt x="11547475" y="532395"/>
                </a:cubicBezTo>
                <a:cubicBezTo>
                  <a:pt x="11509198" y="518476"/>
                  <a:pt x="11483100" y="511517"/>
                  <a:pt x="11469182" y="511517"/>
                </a:cubicBezTo>
                <a:cubicBezTo>
                  <a:pt x="11429165" y="511517"/>
                  <a:pt x="11394368" y="525436"/>
                  <a:pt x="11364790" y="549793"/>
                </a:cubicBezTo>
                <a:cubicBezTo>
                  <a:pt x="11335213" y="575891"/>
                  <a:pt x="11321294" y="610688"/>
                  <a:pt x="11321294" y="655924"/>
                </a:cubicBezTo>
                <a:cubicBezTo>
                  <a:pt x="11321294" y="697681"/>
                  <a:pt x="11335213" y="742917"/>
                  <a:pt x="11364790" y="795113"/>
                </a:cubicBezTo>
                <a:cubicBezTo>
                  <a:pt x="11364790" y="795113"/>
                  <a:pt x="11364790" y="795113"/>
                  <a:pt x="11404807" y="862967"/>
                </a:cubicBezTo>
                <a:cubicBezTo>
                  <a:pt x="11476141" y="988236"/>
                  <a:pt x="11510938" y="1110026"/>
                  <a:pt x="11510938" y="1230076"/>
                </a:cubicBezTo>
                <a:cubicBezTo>
                  <a:pt x="11510938" y="1386662"/>
                  <a:pt x="11451783" y="1522371"/>
                  <a:pt x="11331733" y="1638941"/>
                </a:cubicBezTo>
                <a:cubicBezTo>
                  <a:pt x="11213423" y="1755511"/>
                  <a:pt x="11063796" y="1812926"/>
                  <a:pt x="10886331" y="1812926"/>
                </a:cubicBezTo>
                <a:cubicBezTo>
                  <a:pt x="10797599" y="1812926"/>
                  <a:pt x="10715826" y="1797268"/>
                  <a:pt x="10641012" y="1764210"/>
                </a:cubicBezTo>
                <a:cubicBezTo>
                  <a:pt x="10641012" y="1764210"/>
                  <a:pt x="10641012" y="1764210"/>
                  <a:pt x="10641012" y="1259653"/>
                </a:cubicBezTo>
                <a:cubicBezTo>
                  <a:pt x="10687988" y="1289231"/>
                  <a:pt x="10734964" y="1303149"/>
                  <a:pt x="10781940" y="1303149"/>
                </a:cubicBezTo>
                <a:cubicBezTo>
                  <a:pt x="10825436" y="1303149"/>
                  <a:pt x="10861973" y="1290971"/>
                  <a:pt x="10889811" y="1266613"/>
                </a:cubicBezTo>
                <a:cubicBezTo>
                  <a:pt x="10917648" y="1240515"/>
                  <a:pt x="10931567" y="1207458"/>
                  <a:pt x="10931567" y="1167441"/>
                </a:cubicBezTo>
                <a:cubicBezTo>
                  <a:pt x="10931567" y="1148303"/>
                  <a:pt x="10907209" y="1096107"/>
                  <a:pt x="10858494" y="1010854"/>
                </a:cubicBezTo>
                <a:cubicBezTo>
                  <a:pt x="10781940" y="873406"/>
                  <a:pt x="10743663" y="735958"/>
                  <a:pt x="10743663" y="600249"/>
                </a:cubicBezTo>
                <a:cubicBezTo>
                  <a:pt x="10743663" y="436703"/>
                  <a:pt x="10801078" y="295775"/>
                  <a:pt x="10917648" y="177465"/>
                </a:cubicBezTo>
                <a:cubicBezTo>
                  <a:pt x="11034219" y="59155"/>
                  <a:pt x="11175147" y="0"/>
                  <a:pt x="11336953" y="0"/>
                </a:cubicBezTo>
                <a:close/>
                <a:moveTo>
                  <a:pt x="5138383" y="0"/>
                </a:moveTo>
                <a:cubicBezTo>
                  <a:pt x="5363064" y="0"/>
                  <a:pt x="5554653" y="64375"/>
                  <a:pt x="5714890" y="194864"/>
                </a:cubicBezTo>
                <a:cubicBezTo>
                  <a:pt x="5875129" y="327092"/>
                  <a:pt x="5981373" y="514996"/>
                  <a:pt x="6033624" y="760316"/>
                </a:cubicBezTo>
                <a:cubicBezTo>
                  <a:pt x="6033624" y="760316"/>
                  <a:pt x="6033624" y="760316"/>
                  <a:pt x="5479759" y="800332"/>
                </a:cubicBezTo>
                <a:cubicBezTo>
                  <a:pt x="5418800" y="607209"/>
                  <a:pt x="5300363" y="511517"/>
                  <a:pt x="5126191" y="511517"/>
                </a:cubicBezTo>
                <a:cubicBezTo>
                  <a:pt x="5016463" y="511517"/>
                  <a:pt x="4924153" y="549793"/>
                  <a:pt x="4852742" y="624607"/>
                </a:cubicBezTo>
                <a:cubicBezTo>
                  <a:pt x="4779590" y="699421"/>
                  <a:pt x="4744756" y="796852"/>
                  <a:pt x="4744756" y="915162"/>
                </a:cubicBezTo>
                <a:cubicBezTo>
                  <a:pt x="4744756" y="1028253"/>
                  <a:pt x="4779590" y="1120465"/>
                  <a:pt x="4849258" y="1193539"/>
                </a:cubicBezTo>
                <a:cubicBezTo>
                  <a:pt x="4920669" y="1264873"/>
                  <a:pt x="5009497" y="1301410"/>
                  <a:pt x="5117482" y="1301410"/>
                </a:cubicBezTo>
                <a:cubicBezTo>
                  <a:pt x="5343905" y="1301410"/>
                  <a:pt x="5469309" y="1174400"/>
                  <a:pt x="5497176" y="920382"/>
                </a:cubicBezTo>
                <a:cubicBezTo>
                  <a:pt x="5497176" y="920382"/>
                  <a:pt x="5497176" y="920382"/>
                  <a:pt x="6038849" y="936041"/>
                </a:cubicBezTo>
                <a:cubicBezTo>
                  <a:pt x="6000532" y="1219637"/>
                  <a:pt x="5902995" y="1437118"/>
                  <a:pt x="5744499" y="1588485"/>
                </a:cubicBezTo>
                <a:cubicBezTo>
                  <a:pt x="5584262" y="1738113"/>
                  <a:pt x="5378739" y="1812926"/>
                  <a:pt x="5126191" y="1812926"/>
                </a:cubicBezTo>
                <a:cubicBezTo>
                  <a:pt x="4863192" y="1812926"/>
                  <a:pt x="4643736" y="1727673"/>
                  <a:pt x="4471307" y="1557168"/>
                </a:cubicBezTo>
                <a:cubicBezTo>
                  <a:pt x="4297136" y="1386662"/>
                  <a:pt x="4210050" y="1172661"/>
                  <a:pt x="4210050" y="915162"/>
                </a:cubicBezTo>
                <a:cubicBezTo>
                  <a:pt x="4210050" y="654185"/>
                  <a:pt x="4298877" y="436703"/>
                  <a:pt x="4476532" y="262718"/>
                </a:cubicBezTo>
                <a:cubicBezTo>
                  <a:pt x="4654187" y="86993"/>
                  <a:pt x="4875385" y="0"/>
                  <a:pt x="5138383" y="0"/>
                </a:cubicBezTo>
                <a:close/>
                <a:moveTo>
                  <a:pt x="3402801" y="0"/>
                </a:moveTo>
                <a:cubicBezTo>
                  <a:pt x="3606627" y="0"/>
                  <a:pt x="3758190" y="53961"/>
                  <a:pt x="3855749" y="161883"/>
                </a:cubicBezTo>
                <a:cubicBezTo>
                  <a:pt x="3953308" y="269806"/>
                  <a:pt x="4002087" y="435170"/>
                  <a:pt x="4002087" y="657977"/>
                </a:cubicBezTo>
                <a:cubicBezTo>
                  <a:pt x="4002087" y="657977"/>
                  <a:pt x="4002087" y="657977"/>
                  <a:pt x="4002087" y="1785938"/>
                </a:cubicBezTo>
                <a:cubicBezTo>
                  <a:pt x="4002087" y="1785938"/>
                  <a:pt x="4002087" y="1785938"/>
                  <a:pt x="3482938" y="1785938"/>
                </a:cubicBezTo>
                <a:cubicBezTo>
                  <a:pt x="3482938" y="1785938"/>
                  <a:pt x="3482938" y="1785938"/>
                  <a:pt x="3482938" y="692791"/>
                </a:cubicBezTo>
                <a:cubicBezTo>
                  <a:pt x="3482938" y="626645"/>
                  <a:pt x="3475970" y="579647"/>
                  <a:pt x="3458549" y="553536"/>
                </a:cubicBezTo>
                <a:cubicBezTo>
                  <a:pt x="3442870" y="525686"/>
                  <a:pt x="3413254" y="511760"/>
                  <a:pt x="3373185" y="511760"/>
                </a:cubicBezTo>
                <a:cubicBezTo>
                  <a:pt x="3293048" y="511760"/>
                  <a:pt x="3252979" y="572684"/>
                  <a:pt x="3252979" y="692791"/>
                </a:cubicBezTo>
                <a:cubicBezTo>
                  <a:pt x="3252979" y="692791"/>
                  <a:pt x="3252979" y="692791"/>
                  <a:pt x="3252979" y="912117"/>
                </a:cubicBezTo>
                <a:cubicBezTo>
                  <a:pt x="3252979" y="912117"/>
                  <a:pt x="3252979" y="912117"/>
                  <a:pt x="3399317" y="912117"/>
                </a:cubicBezTo>
                <a:cubicBezTo>
                  <a:pt x="3399317" y="912117"/>
                  <a:pt x="3399317" y="912117"/>
                  <a:pt x="3399317" y="1369916"/>
                </a:cubicBezTo>
                <a:cubicBezTo>
                  <a:pt x="3399317" y="1369916"/>
                  <a:pt x="3399317" y="1369916"/>
                  <a:pt x="3252979" y="1369916"/>
                </a:cubicBezTo>
                <a:lnTo>
                  <a:pt x="3252979" y="1785938"/>
                </a:lnTo>
                <a:cubicBezTo>
                  <a:pt x="3252979" y="1785938"/>
                  <a:pt x="3252979" y="1785938"/>
                  <a:pt x="2732087" y="1785938"/>
                </a:cubicBezTo>
                <a:cubicBezTo>
                  <a:pt x="2732087" y="1785938"/>
                  <a:pt x="2732087" y="1785938"/>
                  <a:pt x="2732087" y="677125"/>
                </a:cubicBezTo>
                <a:cubicBezTo>
                  <a:pt x="2732087" y="463021"/>
                  <a:pt x="2791319" y="295916"/>
                  <a:pt x="2908041" y="177550"/>
                </a:cubicBezTo>
                <a:cubicBezTo>
                  <a:pt x="3024763" y="59183"/>
                  <a:pt x="3190263" y="0"/>
                  <a:pt x="3402801" y="0"/>
                </a:cubicBezTo>
                <a:close/>
              </a:path>
            </a:pathLst>
          </a:custGeom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746A2B94-8344-49F4-B7AB-07C0C9575765}"/>
              </a:ext>
            </a:extLst>
          </p:cNvPr>
          <p:cNvSpPr>
            <a:spLocks/>
          </p:cNvSpPr>
          <p:nvPr userDrawn="1"/>
        </p:nvSpPr>
        <p:spPr bwMode="auto">
          <a:xfrm>
            <a:off x="669925" y="1045567"/>
            <a:ext cx="9426575" cy="3001039"/>
          </a:xfrm>
          <a:custGeom>
            <a:avLst/>
            <a:gdLst>
              <a:gd name="connsiteX0" fmla="*/ 3184524 w 12192000"/>
              <a:gd name="connsiteY0" fmla="*/ 2130426 h 3881439"/>
              <a:gd name="connsiteX1" fmla="*/ 3709987 w 12192000"/>
              <a:gd name="connsiteY1" fmla="*/ 2130426 h 3881439"/>
              <a:gd name="connsiteX2" fmla="*/ 3935412 w 12192000"/>
              <a:gd name="connsiteY2" fmla="*/ 2490789 h 3881439"/>
              <a:gd name="connsiteX3" fmla="*/ 4178300 w 12192000"/>
              <a:gd name="connsiteY3" fmla="*/ 2130426 h 3881439"/>
              <a:gd name="connsiteX4" fmla="*/ 4694237 w 12192000"/>
              <a:gd name="connsiteY4" fmla="*/ 2130426 h 3881439"/>
              <a:gd name="connsiteX5" fmla="*/ 4200525 w 12192000"/>
              <a:gd name="connsiteY5" fmla="*/ 2906714 h 3881439"/>
              <a:gd name="connsiteX6" fmla="*/ 4200525 w 12192000"/>
              <a:gd name="connsiteY6" fmla="*/ 3875089 h 3881439"/>
              <a:gd name="connsiteX7" fmla="*/ 3681412 w 12192000"/>
              <a:gd name="connsiteY7" fmla="*/ 3875089 h 3881439"/>
              <a:gd name="connsiteX8" fmla="*/ 3681412 w 12192000"/>
              <a:gd name="connsiteY8" fmla="*/ 2906714 h 3881439"/>
              <a:gd name="connsiteX9" fmla="*/ 0 w 12192000"/>
              <a:gd name="connsiteY9" fmla="*/ 2130426 h 3881439"/>
              <a:gd name="connsiteX10" fmla="*/ 675620 w 12192000"/>
              <a:gd name="connsiteY10" fmla="*/ 2130426 h 3881439"/>
              <a:gd name="connsiteX11" fmla="*/ 1405220 w 12192000"/>
              <a:gd name="connsiteY11" fmla="*/ 2363663 h 3881439"/>
              <a:gd name="connsiteX12" fmla="*/ 1671638 w 12192000"/>
              <a:gd name="connsiteY12" fmla="*/ 2988527 h 3881439"/>
              <a:gd name="connsiteX13" fmla="*/ 1415668 w 12192000"/>
              <a:gd name="connsiteY13" fmla="*/ 3632538 h 3881439"/>
              <a:gd name="connsiteX14" fmla="*/ 757461 w 12192000"/>
              <a:gd name="connsiteY14" fmla="*/ 3881439 h 3881439"/>
              <a:gd name="connsiteX15" fmla="*/ 602486 w 12192000"/>
              <a:gd name="connsiteY15" fmla="*/ 3876217 h 3881439"/>
              <a:gd name="connsiteX16" fmla="*/ 602486 w 12192000"/>
              <a:gd name="connsiteY16" fmla="*/ 3364490 h 3881439"/>
              <a:gd name="connsiteX17" fmla="*/ 686068 w 12192000"/>
              <a:gd name="connsiteY17" fmla="*/ 3364490 h 3881439"/>
              <a:gd name="connsiteX18" fmla="*/ 1140544 w 12192000"/>
              <a:gd name="connsiteY18" fmla="*/ 2988527 h 3881439"/>
              <a:gd name="connsiteX19" fmla="*/ 693033 w 12192000"/>
              <a:gd name="connsiteY19" fmla="*/ 2631710 h 3881439"/>
              <a:gd name="connsiteX20" fmla="*/ 518904 w 12192000"/>
              <a:gd name="connsiteY20" fmla="*/ 2631710 h 3881439"/>
              <a:gd name="connsiteX21" fmla="*/ 518904 w 12192000"/>
              <a:gd name="connsiteY21" fmla="*/ 3874477 h 3881439"/>
              <a:gd name="connsiteX22" fmla="*/ 0 w 12192000"/>
              <a:gd name="connsiteY22" fmla="*/ 3874477 h 3881439"/>
              <a:gd name="connsiteX23" fmla="*/ 0 w 12192000"/>
              <a:gd name="connsiteY23" fmla="*/ 2130426 h 3881439"/>
              <a:gd name="connsiteX24" fmla="*/ 2549475 w 12192000"/>
              <a:gd name="connsiteY24" fmla="*/ 2089151 h 3881439"/>
              <a:gd name="connsiteX25" fmla="*/ 3001858 w 12192000"/>
              <a:gd name="connsiteY25" fmla="*/ 2251035 h 3881439"/>
              <a:gd name="connsiteX26" fmla="*/ 3148013 w 12192000"/>
              <a:gd name="connsiteY26" fmla="*/ 2747128 h 3881439"/>
              <a:gd name="connsiteX27" fmla="*/ 3148013 w 12192000"/>
              <a:gd name="connsiteY27" fmla="*/ 3875089 h 3881439"/>
              <a:gd name="connsiteX28" fmla="*/ 2629512 w 12192000"/>
              <a:gd name="connsiteY28" fmla="*/ 3875089 h 3881439"/>
              <a:gd name="connsiteX29" fmla="*/ 2629512 w 12192000"/>
              <a:gd name="connsiteY29" fmla="*/ 2781942 h 3881439"/>
              <a:gd name="connsiteX30" fmla="*/ 2605153 w 12192000"/>
              <a:gd name="connsiteY30" fmla="*/ 2642688 h 3881439"/>
              <a:gd name="connsiteX31" fmla="*/ 2519896 w 12192000"/>
              <a:gd name="connsiteY31" fmla="*/ 2600911 h 3881439"/>
              <a:gd name="connsiteX32" fmla="*/ 2399840 w 12192000"/>
              <a:gd name="connsiteY32" fmla="*/ 2781942 h 3881439"/>
              <a:gd name="connsiteX33" fmla="*/ 2399840 w 12192000"/>
              <a:gd name="connsiteY33" fmla="*/ 3001268 h 3881439"/>
              <a:gd name="connsiteX34" fmla="*/ 2545995 w 12192000"/>
              <a:gd name="connsiteY34" fmla="*/ 3001268 h 3881439"/>
              <a:gd name="connsiteX35" fmla="*/ 2545995 w 12192000"/>
              <a:gd name="connsiteY35" fmla="*/ 3459067 h 3881439"/>
              <a:gd name="connsiteX36" fmla="*/ 2399840 w 12192000"/>
              <a:gd name="connsiteY36" fmla="*/ 3459067 h 3881439"/>
              <a:gd name="connsiteX37" fmla="*/ 2399840 w 12192000"/>
              <a:gd name="connsiteY37" fmla="*/ 3875089 h 3881439"/>
              <a:gd name="connsiteX38" fmla="*/ 1879600 w 12192000"/>
              <a:gd name="connsiteY38" fmla="*/ 3875089 h 3881439"/>
              <a:gd name="connsiteX39" fmla="*/ 1879600 w 12192000"/>
              <a:gd name="connsiteY39" fmla="*/ 2766276 h 3881439"/>
              <a:gd name="connsiteX40" fmla="*/ 2055333 w 12192000"/>
              <a:gd name="connsiteY40" fmla="*/ 2266701 h 3881439"/>
              <a:gd name="connsiteX41" fmla="*/ 2549475 w 12192000"/>
              <a:gd name="connsiteY41" fmla="*/ 2089151 h 3881439"/>
              <a:gd name="connsiteX42" fmla="*/ 11737975 w 12192000"/>
              <a:gd name="connsiteY42" fmla="*/ 41275 h 3881439"/>
              <a:gd name="connsiteX43" fmla="*/ 12192000 w 12192000"/>
              <a:gd name="connsiteY43" fmla="*/ 41275 h 3881439"/>
              <a:gd name="connsiteX44" fmla="*/ 12093575 w 12192000"/>
              <a:gd name="connsiteY44" fmla="*/ 741363 h 3881439"/>
              <a:gd name="connsiteX45" fmla="*/ 11833225 w 12192000"/>
              <a:gd name="connsiteY45" fmla="*/ 741363 h 3881439"/>
              <a:gd name="connsiteX46" fmla="*/ 9166225 w 12192000"/>
              <a:gd name="connsiteY46" fmla="*/ 41275 h 3881439"/>
              <a:gd name="connsiteX47" fmla="*/ 9829351 w 12192000"/>
              <a:gd name="connsiteY47" fmla="*/ 41275 h 3881439"/>
              <a:gd name="connsiteX48" fmla="*/ 10313207 w 12192000"/>
              <a:gd name="connsiteY48" fmla="*/ 201464 h 3881439"/>
              <a:gd name="connsiteX49" fmla="*/ 10488996 w 12192000"/>
              <a:gd name="connsiteY49" fmla="*/ 621088 h 3881439"/>
              <a:gd name="connsiteX50" fmla="*/ 10255770 w 12192000"/>
              <a:gd name="connsiteY50" fmla="*/ 1066831 h 3881439"/>
              <a:gd name="connsiteX51" fmla="*/ 10556875 w 12192000"/>
              <a:gd name="connsiteY51" fmla="*/ 1785938 h 3881439"/>
              <a:gd name="connsiteX52" fmla="*/ 10010362 w 12192000"/>
              <a:gd name="connsiteY52" fmla="*/ 1785938 h 3881439"/>
              <a:gd name="connsiteX53" fmla="*/ 9759731 w 12192000"/>
              <a:gd name="connsiteY53" fmla="*/ 1223537 h 3881439"/>
              <a:gd name="connsiteX54" fmla="*/ 9759731 w 12192000"/>
              <a:gd name="connsiteY54" fmla="*/ 776053 h 3881439"/>
              <a:gd name="connsiteX55" fmla="*/ 9801503 w 12192000"/>
              <a:gd name="connsiteY55" fmla="*/ 776053 h 3881439"/>
              <a:gd name="connsiteX56" fmla="*/ 9965109 w 12192000"/>
              <a:gd name="connsiteY56" fmla="*/ 635018 h 3881439"/>
              <a:gd name="connsiteX57" fmla="*/ 9775396 w 12192000"/>
              <a:gd name="connsiteY57" fmla="*/ 511394 h 3881439"/>
              <a:gd name="connsiteX58" fmla="*/ 9683150 w 12192000"/>
              <a:gd name="connsiteY58" fmla="*/ 511394 h 3881439"/>
              <a:gd name="connsiteX59" fmla="*/ 9683150 w 12192000"/>
              <a:gd name="connsiteY59" fmla="*/ 1785938 h 3881439"/>
              <a:gd name="connsiteX60" fmla="*/ 9166225 w 12192000"/>
              <a:gd name="connsiteY60" fmla="*/ 1785938 h 3881439"/>
              <a:gd name="connsiteX61" fmla="*/ 9166225 w 12192000"/>
              <a:gd name="connsiteY61" fmla="*/ 41275 h 3881439"/>
              <a:gd name="connsiteX62" fmla="*/ 8417367 w 12192000"/>
              <a:gd name="connsiteY62" fmla="*/ 41275 h 3881439"/>
              <a:gd name="connsiteX63" fmla="*/ 8866187 w 12192000"/>
              <a:gd name="connsiteY63" fmla="*/ 41275 h 3881439"/>
              <a:gd name="connsiteX64" fmla="*/ 8866187 w 12192000"/>
              <a:gd name="connsiteY64" fmla="*/ 542735 h 3881439"/>
              <a:gd name="connsiteX65" fmla="*/ 8535660 w 12192000"/>
              <a:gd name="connsiteY65" fmla="*/ 542735 h 3881439"/>
              <a:gd name="connsiteX66" fmla="*/ 8401710 w 12192000"/>
              <a:gd name="connsiteY66" fmla="*/ 629794 h 3881439"/>
              <a:gd name="connsiteX67" fmla="*/ 8436502 w 12192000"/>
              <a:gd name="connsiteY67" fmla="*/ 702924 h 3881439"/>
              <a:gd name="connsiteX68" fmla="*/ 8547838 w 12192000"/>
              <a:gd name="connsiteY68" fmla="*/ 720336 h 3881439"/>
              <a:gd name="connsiteX69" fmla="*/ 8833134 w 12192000"/>
              <a:gd name="connsiteY69" fmla="*/ 720336 h 3881439"/>
              <a:gd name="connsiteX70" fmla="*/ 8833134 w 12192000"/>
              <a:gd name="connsiteY70" fmla="*/ 1108619 h 3881439"/>
              <a:gd name="connsiteX71" fmla="*/ 8495649 w 12192000"/>
              <a:gd name="connsiteY71" fmla="*/ 1108619 h 3881439"/>
              <a:gd name="connsiteX72" fmla="*/ 8398231 w 12192000"/>
              <a:gd name="connsiteY72" fmla="*/ 1129513 h 3881439"/>
              <a:gd name="connsiteX73" fmla="*/ 8370397 w 12192000"/>
              <a:gd name="connsiteY73" fmla="*/ 1197419 h 3881439"/>
              <a:gd name="connsiteX74" fmla="*/ 8398231 w 12192000"/>
              <a:gd name="connsiteY74" fmla="*/ 1270549 h 3881439"/>
              <a:gd name="connsiteX75" fmla="*/ 8520004 w 12192000"/>
              <a:gd name="connsiteY75" fmla="*/ 1287961 h 3881439"/>
              <a:gd name="connsiteX76" fmla="*/ 8866187 w 12192000"/>
              <a:gd name="connsiteY76" fmla="*/ 1287961 h 3881439"/>
              <a:gd name="connsiteX77" fmla="*/ 8866187 w 12192000"/>
              <a:gd name="connsiteY77" fmla="*/ 1785938 h 3881439"/>
              <a:gd name="connsiteX78" fmla="*/ 8459118 w 12192000"/>
              <a:gd name="connsiteY78" fmla="*/ 1785938 h 3881439"/>
              <a:gd name="connsiteX79" fmla="*/ 8020735 w 12192000"/>
              <a:gd name="connsiteY79" fmla="*/ 1648385 h 3881439"/>
              <a:gd name="connsiteX80" fmla="*/ 7867649 w 12192000"/>
              <a:gd name="connsiteY80" fmla="*/ 1251396 h 3881439"/>
              <a:gd name="connsiteX81" fmla="*/ 7867649 w 12192000"/>
              <a:gd name="connsiteY81" fmla="*/ 568853 h 3881439"/>
              <a:gd name="connsiteX82" fmla="*/ 8012037 w 12192000"/>
              <a:gd name="connsiteY82" fmla="*/ 178828 h 3881439"/>
              <a:gd name="connsiteX83" fmla="*/ 8417367 w 12192000"/>
              <a:gd name="connsiteY83" fmla="*/ 41275 h 3881439"/>
              <a:gd name="connsiteX84" fmla="*/ 7035799 w 12192000"/>
              <a:gd name="connsiteY84" fmla="*/ 41275 h 3881439"/>
              <a:gd name="connsiteX85" fmla="*/ 7553324 w 12192000"/>
              <a:gd name="connsiteY85" fmla="*/ 41275 h 3881439"/>
              <a:gd name="connsiteX86" fmla="*/ 7553324 w 12192000"/>
              <a:gd name="connsiteY86" fmla="*/ 1785938 h 3881439"/>
              <a:gd name="connsiteX87" fmla="*/ 7035799 w 12192000"/>
              <a:gd name="connsiteY87" fmla="*/ 1785938 h 3881439"/>
              <a:gd name="connsiteX88" fmla="*/ 6286499 w 12192000"/>
              <a:gd name="connsiteY88" fmla="*/ 41275 h 3881439"/>
              <a:gd name="connsiteX89" fmla="*/ 6802437 w 12192000"/>
              <a:gd name="connsiteY89" fmla="*/ 41275 h 3881439"/>
              <a:gd name="connsiteX90" fmla="*/ 6802437 w 12192000"/>
              <a:gd name="connsiteY90" fmla="*/ 666750 h 3881439"/>
              <a:gd name="connsiteX91" fmla="*/ 6946899 w 12192000"/>
              <a:gd name="connsiteY91" fmla="*/ 666750 h 3881439"/>
              <a:gd name="connsiteX92" fmla="*/ 6946899 w 12192000"/>
              <a:gd name="connsiteY92" fmla="*/ 1125538 h 3881439"/>
              <a:gd name="connsiteX93" fmla="*/ 6802437 w 12192000"/>
              <a:gd name="connsiteY93" fmla="*/ 1125538 h 3881439"/>
              <a:gd name="connsiteX94" fmla="*/ 6802437 w 12192000"/>
              <a:gd name="connsiteY94" fmla="*/ 1785938 h 3881439"/>
              <a:gd name="connsiteX95" fmla="*/ 6286499 w 12192000"/>
              <a:gd name="connsiteY95" fmla="*/ 1785938 h 3881439"/>
              <a:gd name="connsiteX96" fmla="*/ 2021330 w 12192000"/>
              <a:gd name="connsiteY96" fmla="*/ 41275 h 3881439"/>
              <a:gd name="connsiteX97" fmla="*/ 2470151 w 12192000"/>
              <a:gd name="connsiteY97" fmla="*/ 41275 h 3881439"/>
              <a:gd name="connsiteX98" fmla="*/ 2470151 w 12192000"/>
              <a:gd name="connsiteY98" fmla="*/ 542735 h 3881439"/>
              <a:gd name="connsiteX99" fmla="*/ 2137885 w 12192000"/>
              <a:gd name="connsiteY99" fmla="*/ 542735 h 3881439"/>
              <a:gd name="connsiteX100" fmla="*/ 2005674 w 12192000"/>
              <a:gd name="connsiteY100" fmla="*/ 629794 h 3881439"/>
              <a:gd name="connsiteX101" fmla="*/ 2040467 w 12192000"/>
              <a:gd name="connsiteY101" fmla="*/ 702924 h 3881439"/>
              <a:gd name="connsiteX102" fmla="*/ 2151801 w 12192000"/>
              <a:gd name="connsiteY102" fmla="*/ 720336 h 3881439"/>
              <a:gd name="connsiteX103" fmla="*/ 2435359 w 12192000"/>
              <a:gd name="connsiteY103" fmla="*/ 720336 h 3881439"/>
              <a:gd name="connsiteX104" fmla="*/ 2435359 w 12192000"/>
              <a:gd name="connsiteY104" fmla="*/ 1108619 h 3881439"/>
              <a:gd name="connsiteX105" fmla="*/ 2099613 w 12192000"/>
              <a:gd name="connsiteY105" fmla="*/ 1108619 h 3881439"/>
              <a:gd name="connsiteX106" fmla="*/ 2002195 w 12192000"/>
              <a:gd name="connsiteY106" fmla="*/ 1129513 h 3881439"/>
              <a:gd name="connsiteX107" fmla="*/ 1972621 w 12192000"/>
              <a:gd name="connsiteY107" fmla="*/ 1197419 h 3881439"/>
              <a:gd name="connsiteX108" fmla="*/ 2000455 w 12192000"/>
              <a:gd name="connsiteY108" fmla="*/ 1270549 h 3881439"/>
              <a:gd name="connsiteX109" fmla="*/ 2122228 w 12192000"/>
              <a:gd name="connsiteY109" fmla="*/ 1287961 h 3881439"/>
              <a:gd name="connsiteX110" fmla="*/ 2470151 w 12192000"/>
              <a:gd name="connsiteY110" fmla="*/ 1287961 h 3881439"/>
              <a:gd name="connsiteX111" fmla="*/ 2470151 w 12192000"/>
              <a:gd name="connsiteY111" fmla="*/ 1785938 h 3881439"/>
              <a:gd name="connsiteX112" fmla="*/ 2063081 w 12192000"/>
              <a:gd name="connsiteY112" fmla="*/ 1785938 h 3881439"/>
              <a:gd name="connsiteX113" fmla="*/ 1622959 w 12192000"/>
              <a:gd name="connsiteY113" fmla="*/ 1648385 h 3881439"/>
              <a:gd name="connsiteX114" fmla="*/ 1471613 w 12192000"/>
              <a:gd name="connsiteY114" fmla="*/ 1251396 h 3881439"/>
              <a:gd name="connsiteX115" fmla="*/ 1471613 w 12192000"/>
              <a:gd name="connsiteY115" fmla="*/ 568853 h 3881439"/>
              <a:gd name="connsiteX116" fmla="*/ 1616001 w 12192000"/>
              <a:gd name="connsiteY116" fmla="*/ 178828 h 3881439"/>
              <a:gd name="connsiteX117" fmla="*/ 2021330 w 12192000"/>
              <a:gd name="connsiteY117" fmla="*/ 41275 h 3881439"/>
              <a:gd name="connsiteX118" fmla="*/ 3176 w 12192000"/>
              <a:gd name="connsiteY118" fmla="*/ 41275 h 3881439"/>
              <a:gd name="connsiteX119" fmla="*/ 1314450 w 12192000"/>
              <a:gd name="connsiteY119" fmla="*/ 41275 h 3881439"/>
              <a:gd name="connsiteX120" fmla="*/ 1314450 w 12192000"/>
              <a:gd name="connsiteY120" fmla="*/ 542925 h 3881439"/>
              <a:gd name="connsiteX121" fmla="*/ 919163 w 12192000"/>
              <a:gd name="connsiteY121" fmla="*/ 542925 h 3881439"/>
              <a:gd name="connsiteX122" fmla="*/ 919163 w 12192000"/>
              <a:gd name="connsiteY122" fmla="*/ 1785938 h 3881439"/>
              <a:gd name="connsiteX123" fmla="*/ 401638 w 12192000"/>
              <a:gd name="connsiteY123" fmla="*/ 1785938 h 3881439"/>
              <a:gd name="connsiteX124" fmla="*/ 401638 w 12192000"/>
              <a:gd name="connsiteY124" fmla="*/ 542925 h 3881439"/>
              <a:gd name="connsiteX125" fmla="*/ 3176 w 12192000"/>
              <a:gd name="connsiteY125" fmla="*/ 542925 h 3881439"/>
              <a:gd name="connsiteX126" fmla="*/ 11336953 w 12192000"/>
              <a:gd name="connsiteY126" fmla="*/ 0 h 3881439"/>
              <a:gd name="connsiteX127" fmla="*/ 11547475 w 12192000"/>
              <a:gd name="connsiteY127" fmla="*/ 33057 h 3881439"/>
              <a:gd name="connsiteX128" fmla="*/ 11547475 w 12192000"/>
              <a:gd name="connsiteY128" fmla="*/ 532395 h 3881439"/>
              <a:gd name="connsiteX129" fmla="*/ 11469182 w 12192000"/>
              <a:gd name="connsiteY129" fmla="*/ 511517 h 3881439"/>
              <a:gd name="connsiteX130" fmla="*/ 11364790 w 12192000"/>
              <a:gd name="connsiteY130" fmla="*/ 549793 h 3881439"/>
              <a:gd name="connsiteX131" fmla="*/ 11321294 w 12192000"/>
              <a:gd name="connsiteY131" fmla="*/ 655924 h 3881439"/>
              <a:gd name="connsiteX132" fmla="*/ 11364790 w 12192000"/>
              <a:gd name="connsiteY132" fmla="*/ 795113 h 3881439"/>
              <a:gd name="connsiteX133" fmla="*/ 11404807 w 12192000"/>
              <a:gd name="connsiteY133" fmla="*/ 862967 h 3881439"/>
              <a:gd name="connsiteX134" fmla="*/ 11510938 w 12192000"/>
              <a:gd name="connsiteY134" fmla="*/ 1230076 h 3881439"/>
              <a:gd name="connsiteX135" fmla="*/ 11331733 w 12192000"/>
              <a:gd name="connsiteY135" fmla="*/ 1638941 h 3881439"/>
              <a:gd name="connsiteX136" fmla="*/ 10886331 w 12192000"/>
              <a:gd name="connsiteY136" fmla="*/ 1812926 h 3881439"/>
              <a:gd name="connsiteX137" fmla="*/ 10641012 w 12192000"/>
              <a:gd name="connsiteY137" fmla="*/ 1764210 h 3881439"/>
              <a:gd name="connsiteX138" fmla="*/ 10641012 w 12192000"/>
              <a:gd name="connsiteY138" fmla="*/ 1259653 h 3881439"/>
              <a:gd name="connsiteX139" fmla="*/ 10781940 w 12192000"/>
              <a:gd name="connsiteY139" fmla="*/ 1303149 h 3881439"/>
              <a:gd name="connsiteX140" fmla="*/ 10889811 w 12192000"/>
              <a:gd name="connsiteY140" fmla="*/ 1266613 h 3881439"/>
              <a:gd name="connsiteX141" fmla="*/ 10931567 w 12192000"/>
              <a:gd name="connsiteY141" fmla="*/ 1167441 h 3881439"/>
              <a:gd name="connsiteX142" fmla="*/ 10858494 w 12192000"/>
              <a:gd name="connsiteY142" fmla="*/ 1010854 h 3881439"/>
              <a:gd name="connsiteX143" fmla="*/ 10743663 w 12192000"/>
              <a:gd name="connsiteY143" fmla="*/ 600249 h 3881439"/>
              <a:gd name="connsiteX144" fmla="*/ 10917648 w 12192000"/>
              <a:gd name="connsiteY144" fmla="*/ 177465 h 3881439"/>
              <a:gd name="connsiteX145" fmla="*/ 11336953 w 12192000"/>
              <a:gd name="connsiteY145" fmla="*/ 0 h 3881439"/>
              <a:gd name="connsiteX146" fmla="*/ 5138383 w 12192000"/>
              <a:gd name="connsiteY146" fmla="*/ 0 h 3881439"/>
              <a:gd name="connsiteX147" fmla="*/ 5714890 w 12192000"/>
              <a:gd name="connsiteY147" fmla="*/ 194864 h 3881439"/>
              <a:gd name="connsiteX148" fmla="*/ 6033624 w 12192000"/>
              <a:gd name="connsiteY148" fmla="*/ 760316 h 3881439"/>
              <a:gd name="connsiteX149" fmla="*/ 5479759 w 12192000"/>
              <a:gd name="connsiteY149" fmla="*/ 800332 h 3881439"/>
              <a:gd name="connsiteX150" fmla="*/ 5126191 w 12192000"/>
              <a:gd name="connsiteY150" fmla="*/ 511517 h 3881439"/>
              <a:gd name="connsiteX151" fmla="*/ 4852742 w 12192000"/>
              <a:gd name="connsiteY151" fmla="*/ 624607 h 3881439"/>
              <a:gd name="connsiteX152" fmla="*/ 4744756 w 12192000"/>
              <a:gd name="connsiteY152" fmla="*/ 915162 h 3881439"/>
              <a:gd name="connsiteX153" fmla="*/ 4849258 w 12192000"/>
              <a:gd name="connsiteY153" fmla="*/ 1193539 h 3881439"/>
              <a:gd name="connsiteX154" fmla="*/ 5117482 w 12192000"/>
              <a:gd name="connsiteY154" fmla="*/ 1301410 h 3881439"/>
              <a:gd name="connsiteX155" fmla="*/ 5497176 w 12192000"/>
              <a:gd name="connsiteY155" fmla="*/ 920382 h 3881439"/>
              <a:gd name="connsiteX156" fmla="*/ 6038849 w 12192000"/>
              <a:gd name="connsiteY156" fmla="*/ 936041 h 3881439"/>
              <a:gd name="connsiteX157" fmla="*/ 5744499 w 12192000"/>
              <a:gd name="connsiteY157" fmla="*/ 1588485 h 3881439"/>
              <a:gd name="connsiteX158" fmla="*/ 5126191 w 12192000"/>
              <a:gd name="connsiteY158" fmla="*/ 1812926 h 3881439"/>
              <a:gd name="connsiteX159" fmla="*/ 4471307 w 12192000"/>
              <a:gd name="connsiteY159" fmla="*/ 1557168 h 3881439"/>
              <a:gd name="connsiteX160" fmla="*/ 4210050 w 12192000"/>
              <a:gd name="connsiteY160" fmla="*/ 915162 h 3881439"/>
              <a:gd name="connsiteX161" fmla="*/ 4476532 w 12192000"/>
              <a:gd name="connsiteY161" fmla="*/ 262718 h 3881439"/>
              <a:gd name="connsiteX162" fmla="*/ 5138383 w 12192000"/>
              <a:gd name="connsiteY162" fmla="*/ 0 h 3881439"/>
              <a:gd name="connsiteX163" fmla="*/ 3402801 w 12192000"/>
              <a:gd name="connsiteY163" fmla="*/ 0 h 3881439"/>
              <a:gd name="connsiteX164" fmla="*/ 3855749 w 12192000"/>
              <a:gd name="connsiteY164" fmla="*/ 161883 h 3881439"/>
              <a:gd name="connsiteX165" fmla="*/ 4002087 w 12192000"/>
              <a:gd name="connsiteY165" fmla="*/ 657977 h 3881439"/>
              <a:gd name="connsiteX166" fmla="*/ 4002087 w 12192000"/>
              <a:gd name="connsiteY166" fmla="*/ 1785938 h 3881439"/>
              <a:gd name="connsiteX167" fmla="*/ 3482938 w 12192000"/>
              <a:gd name="connsiteY167" fmla="*/ 1785938 h 3881439"/>
              <a:gd name="connsiteX168" fmla="*/ 3482938 w 12192000"/>
              <a:gd name="connsiteY168" fmla="*/ 692791 h 3881439"/>
              <a:gd name="connsiteX169" fmla="*/ 3458549 w 12192000"/>
              <a:gd name="connsiteY169" fmla="*/ 553536 h 3881439"/>
              <a:gd name="connsiteX170" fmla="*/ 3373185 w 12192000"/>
              <a:gd name="connsiteY170" fmla="*/ 511760 h 3881439"/>
              <a:gd name="connsiteX171" fmla="*/ 3252979 w 12192000"/>
              <a:gd name="connsiteY171" fmla="*/ 692791 h 3881439"/>
              <a:gd name="connsiteX172" fmla="*/ 3252979 w 12192000"/>
              <a:gd name="connsiteY172" fmla="*/ 912117 h 3881439"/>
              <a:gd name="connsiteX173" fmla="*/ 3399317 w 12192000"/>
              <a:gd name="connsiteY173" fmla="*/ 912117 h 3881439"/>
              <a:gd name="connsiteX174" fmla="*/ 3399317 w 12192000"/>
              <a:gd name="connsiteY174" fmla="*/ 1369916 h 3881439"/>
              <a:gd name="connsiteX175" fmla="*/ 3252979 w 12192000"/>
              <a:gd name="connsiteY175" fmla="*/ 1369916 h 3881439"/>
              <a:gd name="connsiteX176" fmla="*/ 3252979 w 12192000"/>
              <a:gd name="connsiteY176" fmla="*/ 1785938 h 3881439"/>
              <a:gd name="connsiteX177" fmla="*/ 2732087 w 12192000"/>
              <a:gd name="connsiteY177" fmla="*/ 1785938 h 3881439"/>
              <a:gd name="connsiteX178" fmla="*/ 2732087 w 12192000"/>
              <a:gd name="connsiteY178" fmla="*/ 677125 h 3881439"/>
              <a:gd name="connsiteX179" fmla="*/ 2908041 w 12192000"/>
              <a:gd name="connsiteY179" fmla="*/ 177550 h 3881439"/>
              <a:gd name="connsiteX180" fmla="*/ 3402801 w 12192000"/>
              <a:gd name="connsiteY180" fmla="*/ 0 h 38814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</a:cxnLst>
            <a:rect l="l" t="t" r="r" b="b"/>
            <a:pathLst>
              <a:path w="12192000" h="3881439">
                <a:moveTo>
                  <a:pt x="3184524" y="2130426"/>
                </a:moveTo>
                <a:lnTo>
                  <a:pt x="3709987" y="2130426"/>
                </a:lnTo>
                <a:lnTo>
                  <a:pt x="3935412" y="2490789"/>
                </a:lnTo>
                <a:lnTo>
                  <a:pt x="4178300" y="2130426"/>
                </a:lnTo>
                <a:lnTo>
                  <a:pt x="4694237" y="2130426"/>
                </a:lnTo>
                <a:lnTo>
                  <a:pt x="4200525" y="2906714"/>
                </a:lnTo>
                <a:lnTo>
                  <a:pt x="4200525" y="3875089"/>
                </a:lnTo>
                <a:lnTo>
                  <a:pt x="3681412" y="3875089"/>
                </a:lnTo>
                <a:lnTo>
                  <a:pt x="3681412" y="2906714"/>
                </a:lnTo>
                <a:close/>
                <a:moveTo>
                  <a:pt x="0" y="2130426"/>
                </a:moveTo>
                <a:cubicBezTo>
                  <a:pt x="0" y="2130426"/>
                  <a:pt x="0" y="2130426"/>
                  <a:pt x="675620" y="2130426"/>
                </a:cubicBezTo>
                <a:cubicBezTo>
                  <a:pt x="983828" y="2130426"/>
                  <a:pt x="1227609" y="2207011"/>
                  <a:pt x="1405220" y="2363663"/>
                </a:cubicBezTo>
                <a:cubicBezTo>
                  <a:pt x="1582832" y="2518573"/>
                  <a:pt x="1671638" y="2725701"/>
                  <a:pt x="1671638" y="2988527"/>
                </a:cubicBezTo>
                <a:cubicBezTo>
                  <a:pt x="1671638" y="3251353"/>
                  <a:pt x="1586314" y="3465443"/>
                  <a:pt x="1415668" y="3632538"/>
                </a:cubicBezTo>
                <a:cubicBezTo>
                  <a:pt x="1245022" y="3799632"/>
                  <a:pt x="1025619" y="3881439"/>
                  <a:pt x="757461" y="3881439"/>
                </a:cubicBezTo>
                <a:cubicBezTo>
                  <a:pt x="745272" y="3881439"/>
                  <a:pt x="694774" y="3879699"/>
                  <a:pt x="602486" y="3876217"/>
                </a:cubicBezTo>
                <a:cubicBezTo>
                  <a:pt x="602486" y="3876217"/>
                  <a:pt x="602486" y="3876217"/>
                  <a:pt x="602486" y="3364490"/>
                </a:cubicBezTo>
                <a:cubicBezTo>
                  <a:pt x="602486" y="3364490"/>
                  <a:pt x="602486" y="3364490"/>
                  <a:pt x="686068" y="3364490"/>
                </a:cubicBezTo>
                <a:cubicBezTo>
                  <a:pt x="989052" y="3364490"/>
                  <a:pt x="1140544" y="3239169"/>
                  <a:pt x="1140544" y="2988527"/>
                </a:cubicBezTo>
                <a:cubicBezTo>
                  <a:pt x="1140544" y="2750069"/>
                  <a:pt x="992534" y="2631710"/>
                  <a:pt x="693033" y="2631710"/>
                </a:cubicBezTo>
                <a:cubicBezTo>
                  <a:pt x="693033" y="2631710"/>
                  <a:pt x="693033" y="2631710"/>
                  <a:pt x="518904" y="2631710"/>
                </a:cubicBezTo>
                <a:cubicBezTo>
                  <a:pt x="518904" y="2631710"/>
                  <a:pt x="518904" y="2631710"/>
                  <a:pt x="518904" y="3874477"/>
                </a:cubicBezTo>
                <a:cubicBezTo>
                  <a:pt x="518904" y="3874477"/>
                  <a:pt x="518904" y="3874477"/>
                  <a:pt x="0" y="3874477"/>
                </a:cubicBezTo>
                <a:cubicBezTo>
                  <a:pt x="0" y="3874477"/>
                  <a:pt x="0" y="3874477"/>
                  <a:pt x="0" y="2130426"/>
                </a:cubicBezTo>
                <a:close/>
                <a:moveTo>
                  <a:pt x="2549475" y="2089151"/>
                </a:moveTo>
                <a:cubicBezTo>
                  <a:pt x="2753047" y="2089151"/>
                  <a:pt x="2902681" y="2143112"/>
                  <a:pt x="3001858" y="2251035"/>
                </a:cubicBezTo>
                <a:cubicBezTo>
                  <a:pt x="3099294" y="2358957"/>
                  <a:pt x="3148013" y="2524321"/>
                  <a:pt x="3148013" y="2747128"/>
                </a:cubicBezTo>
                <a:cubicBezTo>
                  <a:pt x="3148013" y="2747128"/>
                  <a:pt x="3148013" y="2747128"/>
                  <a:pt x="3148013" y="3875089"/>
                </a:cubicBezTo>
                <a:cubicBezTo>
                  <a:pt x="3148013" y="3875089"/>
                  <a:pt x="3148013" y="3875089"/>
                  <a:pt x="2629512" y="3875089"/>
                </a:cubicBezTo>
                <a:cubicBezTo>
                  <a:pt x="2629512" y="3875089"/>
                  <a:pt x="2629512" y="3875089"/>
                  <a:pt x="2629512" y="2781942"/>
                </a:cubicBezTo>
                <a:cubicBezTo>
                  <a:pt x="2629512" y="2715796"/>
                  <a:pt x="2620812" y="2668798"/>
                  <a:pt x="2605153" y="2642688"/>
                </a:cubicBezTo>
                <a:cubicBezTo>
                  <a:pt x="2587753" y="2614837"/>
                  <a:pt x="2559914" y="2600911"/>
                  <a:pt x="2519896" y="2600911"/>
                </a:cubicBezTo>
                <a:cubicBezTo>
                  <a:pt x="2439859" y="2600911"/>
                  <a:pt x="2399840" y="2661835"/>
                  <a:pt x="2399840" y="2781942"/>
                </a:cubicBezTo>
                <a:cubicBezTo>
                  <a:pt x="2399840" y="2781942"/>
                  <a:pt x="2399840" y="2781942"/>
                  <a:pt x="2399840" y="3001268"/>
                </a:cubicBezTo>
                <a:cubicBezTo>
                  <a:pt x="2399840" y="3001268"/>
                  <a:pt x="2399840" y="3001268"/>
                  <a:pt x="2545995" y="3001268"/>
                </a:cubicBezTo>
                <a:cubicBezTo>
                  <a:pt x="2545995" y="3001268"/>
                  <a:pt x="2545995" y="3001268"/>
                  <a:pt x="2545995" y="3459067"/>
                </a:cubicBezTo>
                <a:cubicBezTo>
                  <a:pt x="2545995" y="3459067"/>
                  <a:pt x="2545995" y="3459067"/>
                  <a:pt x="2399840" y="3459067"/>
                </a:cubicBezTo>
                <a:cubicBezTo>
                  <a:pt x="2399840" y="3459067"/>
                  <a:pt x="2399840" y="3459067"/>
                  <a:pt x="2399840" y="3875089"/>
                </a:cubicBezTo>
                <a:cubicBezTo>
                  <a:pt x="2399840" y="3875089"/>
                  <a:pt x="2399840" y="3875089"/>
                  <a:pt x="1879600" y="3875089"/>
                </a:cubicBezTo>
                <a:cubicBezTo>
                  <a:pt x="1879600" y="3875089"/>
                  <a:pt x="1879600" y="3875089"/>
                  <a:pt x="1879600" y="2766276"/>
                </a:cubicBezTo>
                <a:cubicBezTo>
                  <a:pt x="1879600" y="2552172"/>
                  <a:pt x="1938757" y="2385067"/>
                  <a:pt x="2055333" y="2266701"/>
                </a:cubicBezTo>
                <a:cubicBezTo>
                  <a:pt x="2171909" y="2148334"/>
                  <a:pt x="2335463" y="2089151"/>
                  <a:pt x="2549475" y="2089151"/>
                </a:cubicBezTo>
                <a:close/>
                <a:moveTo>
                  <a:pt x="11737975" y="41275"/>
                </a:moveTo>
                <a:lnTo>
                  <a:pt x="12192000" y="41275"/>
                </a:lnTo>
                <a:lnTo>
                  <a:pt x="12093575" y="741363"/>
                </a:lnTo>
                <a:lnTo>
                  <a:pt x="11833225" y="741363"/>
                </a:lnTo>
                <a:close/>
                <a:moveTo>
                  <a:pt x="9166225" y="41275"/>
                </a:moveTo>
                <a:cubicBezTo>
                  <a:pt x="9166225" y="41275"/>
                  <a:pt x="9166225" y="41275"/>
                  <a:pt x="9829351" y="41275"/>
                </a:cubicBezTo>
                <a:cubicBezTo>
                  <a:pt x="10034729" y="41275"/>
                  <a:pt x="10194854" y="95252"/>
                  <a:pt x="10313207" y="201464"/>
                </a:cubicBezTo>
                <a:cubicBezTo>
                  <a:pt x="10429819" y="309417"/>
                  <a:pt x="10488996" y="448711"/>
                  <a:pt x="10488996" y="621088"/>
                </a:cubicBezTo>
                <a:cubicBezTo>
                  <a:pt x="10488996" y="800430"/>
                  <a:pt x="10410674" y="948430"/>
                  <a:pt x="10255770" y="1066831"/>
                </a:cubicBezTo>
                <a:cubicBezTo>
                  <a:pt x="10255770" y="1066831"/>
                  <a:pt x="10255770" y="1066831"/>
                  <a:pt x="10556875" y="1785938"/>
                </a:cubicBezTo>
                <a:cubicBezTo>
                  <a:pt x="10556875" y="1785938"/>
                  <a:pt x="10556875" y="1785938"/>
                  <a:pt x="10010362" y="1785938"/>
                </a:cubicBezTo>
                <a:cubicBezTo>
                  <a:pt x="10010362" y="1785938"/>
                  <a:pt x="10010362" y="1785938"/>
                  <a:pt x="9759731" y="1223537"/>
                </a:cubicBezTo>
                <a:cubicBezTo>
                  <a:pt x="9759731" y="1223537"/>
                  <a:pt x="9759731" y="1223537"/>
                  <a:pt x="9759731" y="776053"/>
                </a:cubicBezTo>
                <a:cubicBezTo>
                  <a:pt x="9759731" y="776053"/>
                  <a:pt x="9759731" y="776053"/>
                  <a:pt x="9801503" y="776053"/>
                </a:cubicBezTo>
                <a:cubicBezTo>
                  <a:pt x="9911154" y="776053"/>
                  <a:pt x="9965109" y="729042"/>
                  <a:pt x="9965109" y="635018"/>
                </a:cubicBezTo>
                <a:cubicBezTo>
                  <a:pt x="9965109" y="553182"/>
                  <a:pt x="9902452" y="511394"/>
                  <a:pt x="9775396" y="511394"/>
                </a:cubicBezTo>
                <a:cubicBezTo>
                  <a:pt x="9775396" y="511394"/>
                  <a:pt x="9775396" y="511394"/>
                  <a:pt x="9683150" y="511394"/>
                </a:cubicBezTo>
                <a:cubicBezTo>
                  <a:pt x="9683150" y="511394"/>
                  <a:pt x="9683150" y="511394"/>
                  <a:pt x="9683150" y="1785938"/>
                </a:cubicBezTo>
                <a:cubicBezTo>
                  <a:pt x="9683150" y="1785938"/>
                  <a:pt x="9683150" y="1785938"/>
                  <a:pt x="9166225" y="1785938"/>
                </a:cubicBezTo>
                <a:cubicBezTo>
                  <a:pt x="9166225" y="1785938"/>
                  <a:pt x="9166225" y="1785938"/>
                  <a:pt x="9166225" y="41275"/>
                </a:cubicBezTo>
                <a:close/>
                <a:moveTo>
                  <a:pt x="8417367" y="41275"/>
                </a:moveTo>
                <a:cubicBezTo>
                  <a:pt x="8417367" y="41275"/>
                  <a:pt x="8417367" y="41275"/>
                  <a:pt x="8866187" y="41275"/>
                </a:cubicBezTo>
                <a:cubicBezTo>
                  <a:pt x="8866187" y="41275"/>
                  <a:pt x="8866187" y="41275"/>
                  <a:pt x="8866187" y="542735"/>
                </a:cubicBezTo>
                <a:cubicBezTo>
                  <a:pt x="8866187" y="542735"/>
                  <a:pt x="8866187" y="542735"/>
                  <a:pt x="8535660" y="542735"/>
                </a:cubicBezTo>
                <a:cubicBezTo>
                  <a:pt x="8446940" y="542735"/>
                  <a:pt x="8401710" y="572335"/>
                  <a:pt x="8401710" y="629794"/>
                </a:cubicBezTo>
                <a:cubicBezTo>
                  <a:pt x="8401710" y="666359"/>
                  <a:pt x="8413888" y="690736"/>
                  <a:pt x="8436502" y="702924"/>
                </a:cubicBezTo>
                <a:cubicBezTo>
                  <a:pt x="8460857" y="715112"/>
                  <a:pt x="8497389" y="720336"/>
                  <a:pt x="8547838" y="720336"/>
                </a:cubicBezTo>
                <a:cubicBezTo>
                  <a:pt x="8547838" y="720336"/>
                  <a:pt x="8547838" y="720336"/>
                  <a:pt x="8833134" y="720336"/>
                </a:cubicBezTo>
                <a:cubicBezTo>
                  <a:pt x="8833134" y="720336"/>
                  <a:pt x="8833134" y="720336"/>
                  <a:pt x="8833134" y="1108619"/>
                </a:cubicBezTo>
                <a:cubicBezTo>
                  <a:pt x="8833134" y="1108619"/>
                  <a:pt x="8833134" y="1108619"/>
                  <a:pt x="8495649" y="1108619"/>
                </a:cubicBezTo>
                <a:cubicBezTo>
                  <a:pt x="8450419" y="1108619"/>
                  <a:pt x="8417367" y="1115584"/>
                  <a:pt x="8398231" y="1129513"/>
                </a:cubicBezTo>
                <a:cubicBezTo>
                  <a:pt x="8379095" y="1143443"/>
                  <a:pt x="8370397" y="1166078"/>
                  <a:pt x="8370397" y="1197419"/>
                </a:cubicBezTo>
                <a:cubicBezTo>
                  <a:pt x="8370397" y="1233984"/>
                  <a:pt x="8379095" y="1258360"/>
                  <a:pt x="8398231" y="1270549"/>
                </a:cubicBezTo>
                <a:cubicBezTo>
                  <a:pt x="8415627" y="1282737"/>
                  <a:pt x="8457378" y="1287961"/>
                  <a:pt x="8520004" y="1287961"/>
                </a:cubicBezTo>
                <a:cubicBezTo>
                  <a:pt x="8520004" y="1287961"/>
                  <a:pt x="8520004" y="1287961"/>
                  <a:pt x="8866187" y="1287961"/>
                </a:cubicBezTo>
                <a:cubicBezTo>
                  <a:pt x="8866187" y="1287961"/>
                  <a:pt x="8866187" y="1287961"/>
                  <a:pt x="8866187" y="1785938"/>
                </a:cubicBezTo>
                <a:cubicBezTo>
                  <a:pt x="8866187" y="1785938"/>
                  <a:pt x="8866187" y="1785938"/>
                  <a:pt x="8459118" y="1785938"/>
                </a:cubicBezTo>
                <a:cubicBezTo>
                  <a:pt x="8267760" y="1785938"/>
                  <a:pt x="8121633" y="1740667"/>
                  <a:pt x="8020735" y="1648385"/>
                </a:cubicBezTo>
                <a:cubicBezTo>
                  <a:pt x="7919837" y="1556102"/>
                  <a:pt x="7867649" y="1425514"/>
                  <a:pt x="7867649" y="1251396"/>
                </a:cubicBezTo>
                <a:cubicBezTo>
                  <a:pt x="7867649" y="1251396"/>
                  <a:pt x="7867649" y="1251396"/>
                  <a:pt x="7867649" y="568853"/>
                </a:cubicBezTo>
                <a:cubicBezTo>
                  <a:pt x="7867649" y="401700"/>
                  <a:pt x="7916358" y="272852"/>
                  <a:pt x="8012037" y="178828"/>
                </a:cubicBezTo>
                <a:cubicBezTo>
                  <a:pt x="8107716" y="86546"/>
                  <a:pt x="8243405" y="41275"/>
                  <a:pt x="8417367" y="41275"/>
                </a:cubicBezTo>
                <a:close/>
                <a:moveTo>
                  <a:pt x="7035799" y="41275"/>
                </a:moveTo>
                <a:lnTo>
                  <a:pt x="7553324" y="41275"/>
                </a:lnTo>
                <a:lnTo>
                  <a:pt x="7553324" y="1785938"/>
                </a:lnTo>
                <a:lnTo>
                  <a:pt x="7035799" y="1785938"/>
                </a:lnTo>
                <a:close/>
                <a:moveTo>
                  <a:pt x="6286499" y="41275"/>
                </a:moveTo>
                <a:lnTo>
                  <a:pt x="6802437" y="41275"/>
                </a:lnTo>
                <a:lnTo>
                  <a:pt x="6802437" y="666750"/>
                </a:lnTo>
                <a:lnTo>
                  <a:pt x="6946899" y="666750"/>
                </a:lnTo>
                <a:lnTo>
                  <a:pt x="6946899" y="1125538"/>
                </a:lnTo>
                <a:lnTo>
                  <a:pt x="6802437" y="1125538"/>
                </a:lnTo>
                <a:lnTo>
                  <a:pt x="6802437" y="1785938"/>
                </a:lnTo>
                <a:lnTo>
                  <a:pt x="6286499" y="1785938"/>
                </a:lnTo>
                <a:close/>
                <a:moveTo>
                  <a:pt x="2021330" y="41275"/>
                </a:moveTo>
                <a:cubicBezTo>
                  <a:pt x="2021330" y="41275"/>
                  <a:pt x="2021330" y="41275"/>
                  <a:pt x="2470151" y="41275"/>
                </a:cubicBezTo>
                <a:cubicBezTo>
                  <a:pt x="2470151" y="41275"/>
                  <a:pt x="2470151" y="41275"/>
                  <a:pt x="2470151" y="542735"/>
                </a:cubicBezTo>
                <a:cubicBezTo>
                  <a:pt x="2470151" y="542735"/>
                  <a:pt x="2470151" y="542735"/>
                  <a:pt x="2137885" y="542735"/>
                </a:cubicBezTo>
                <a:cubicBezTo>
                  <a:pt x="2049164" y="542735"/>
                  <a:pt x="2005674" y="572335"/>
                  <a:pt x="2005674" y="629794"/>
                </a:cubicBezTo>
                <a:cubicBezTo>
                  <a:pt x="2005674" y="666359"/>
                  <a:pt x="2016112" y="690736"/>
                  <a:pt x="2040467" y="702924"/>
                </a:cubicBezTo>
                <a:cubicBezTo>
                  <a:pt x="2063081" y="715112"/>
                  <a:pt x="2101352" y="720336"/>
                  <a:pt x="2151801" y="720336"/>
                </a:cubicBezTo>
                <a:cubicBezTo>
                  <a:pt x="2151801" y="720336"/>
                  <a:pt x="2151801" y="720336"/>
                  <a:pt x="2435359" y="720336"/>
                </a:cubicBezTo>
                <a:cubicBezTo>
                  <a:pt x="2435359" y="720336"/>
                  <a:pt x="2435359" y="720336"/>
                  <a:pt x="2435359" y="1108619"/>
                </a:cubicBezTo>
                <a:cubicBezTo>
                  <a:pt x="2435359" y="1108619"/>
                  <a:pt x="2435359" y="1108619"/>
                  <a:pt x="2099613" y="1108619"/>
                </a:cubicBezTo>
                <a:cubicBezTo>
                  <a:pt x="2054383" y="1108619"/>
                  <a:pt x="2021330" y="1115584"/>
                  <a:pt x="2002195" y="1129513"/>
                </a:cubicBezTo>
                <a:cubicBezTo>
                  <a:pt x="1983059" y="1143443"/>
                  <a:pt x="1972621" y="1166078"/>
                  <a:pt x="1972621" y="1197419"/>
                </a:cubicBezTo>
                <a:cubicBezTo>
                  <a:pt x="1972621" y="1233984"/>
                  <a:pt x="1983059" y="1258360"/>
                  <a:pt x="2000455" y="1270549"/>
                </a:cubicBezTo>
                <a:cubicBezTo>
                  <a:pt x="2019591" y="1282737"/>
                  <a:pt x="2059602" y="1287961"/>
                  <a:pt x="2122228" y="1287961"/>
                </a:cubicBezTo>
                <a:cubicBezTo>
                  <a:pt x="2122228" y="1287961"/>
                  <a:pt x="2122228" y="1287961"/>
                  <a:pt x="2470151" y="1287961"/>
                </a:cubicBezTo>
                <a:cubicBezTo>
                  <a:pt x="2470151" y="1287961"/>
                  <a:pt x="2470151" y="1287961"/>
                  <a:pt x="2470151" y="1785938"/>
                </a:cubicBezTo>
                <a:cubicBezTo>
                  <a:pt x="2470151" y="1785938"/>
                  <a:pt x="2470151" y="1785938"/>
                  <a:pt x="2063081" y="1785938"/>
                </a:cubicBezTo>
                <a:cubicBezTo>
                  <a:pt x="1869984" y="1785938"/>
                  <a:pt x="1723856" y="1740667"/>
                  <a:pt x="1622959" y="1648385"/>
                </a:cubicBezTo>
                <a:cubicBezTo>
                  <a:pt x="1522061" y="1556102"/>
                  <a:pt x="1471613" y="1425514"/>
                  <a:pt x="1471613" y="1251396"/>
                </a:cubicBezTo>
                <a:cubicBezTo>
                  <a:pt x="1471613" y="1251396"/>
                  <a:pt x="1471613" y="1251396"/>
                  <a:pt x="1471613" y="568853"/>
                </a:cubicBezTo>
                <a:cubicBezTo>
                  <a:pt x="1471613" y="401700"/>
                  <a:pt x="1520322" y="272852"/>
                  <a:pt x="1616001" y="178828"/>
                </a:cubicBezTo>
                <a:cubicBezTo>
                  <a:pt x="1711679" y="86546"/>
                  <a:pt x="1845629" y="41275"/>
                  <a:pt x="2021330" y="41275"/>
                </a:cubicBezTo>
                <a:close/>
                <a:moveTo>
                  <a:pt x="3176" y="41275"/>
                </a:moveTo>
                <a:lnTo>
                  <a:pt x="1314450" y="41275"/>
                </a:lnTo>
                <a:lnTo>
                  <a:pt x="1314450" y="542925"/>
                </a:lnTo>
                <a:lnTo>
                  <a:pt x="919163" y="542925"/>
                </a:lnTo>
                <a:lnTo>
                  <a:pt x="919163" y="1785938"/>
                </a:lnTo>
                <a:lnTo>
                  <a:pt x="401638" y="1785938"/>
                </a:lnTo>
                <a:lnTo>
                  <a:pt x="401638" y="542925"/>
                </a:lnTo>
                <a:lnTo>
                  <a:pt x="3176" y="542925"/>
                </a:lnTo>
                <a:close/>
                <a:moveTo>
                  <a:pt x="11336953" y="0"/>
                </a:moveTo>
                <a:cubicBezTo>
                  <a:pt x="11410027" y="0"/>
                  <a:pt x="11479621" y="10439"/>
                  <a:pt x="11547475" y="33057"/>
                </a:cubicBezTo>
                <a:cubicBezTo>
                  <a:pt x="11547475" y="33057"/>
                  <a:pt x="11547475" y="33057"/>
                  <a:pt x="11547475" y="532395"/>
                </a:cubicBezTo>
                <a:cubicBezTo>
                  <a:pt x="11509198" y="518476"/>
                  <a:pt x="11483100" y="511517"/>
                  <a:pt x="11469182" y="511517"/>
                </a:cubicBezTo>
                <a:cubicBezTo>
                  <a:pt x="11429165" y="511517"/>
                  <a:pt x="11394368" y="525436"/>
                  <a:pt x="11364790" y="549793"/>
                </a:cubicBezTo>
                <a:cubicBezTo>
                  <a:pt x="11335213" y="575891"/>
                  <a:pt x="11321294" y="610688"/>
                  <a:pt x="11321294" y="655924"/>
                </a:cubicBezTo>
                <a:cubicBezTo>
                  <a:pt x="11321294" y="697681"/>
                  <a:pt x="11335213" y="742917"/>
                  <a:pt x="11364790" y="795113"/>
                </a:cubicBezTo>
                <a:cubicBezTo>
                  <a:pt x="11364790" y="795113"/>
                  <a:pt x="11364790" y="795113"/>
                  <a:pt x="11404807" y="862967"/>
                </a:cubicBezTo>
                <a:cubicBezTo>
                  <a:pt x="11476141" y="988236"/>
                  <a:pt x="11510938" y="1110026"/>
                  <a:pt x="11510938" y="1230076"/>
                </a:cubicBezTo>
                <a:cubicBezTo>
                  <a:pt x="11510938" y="1386662"/>
                  <a:pt x="11451783" y="1522371"/>
                  <a:pt x="11331733" y="1638941"/>
                </a:cubicBezTo>
                <a:cubicBezTo>
                  <a:pt x="11213423" y="1755511"/>
                  <a:pt x="11063796" y="1812926"/>
                  <a:pt x="10886331" y="1812926"/>
                </a:cubicBezTo>
                <a:cubicBezTo>
                  <a:pt x="10797599" y="1812926"/>
                  <a:pt x="10715826" y="1797268"/>
                  <a:pt x="10641012" y="1764210"/>
                </a:cubicBezTo>
                <a:cubicBezTo>
                  <a:pt x="10641012" y="1764210"/>
                  <a:pt x="10641012" y="1764210"/>
                  <a:pt x="10641012" y="1259653"/>
                </a:cubicBezTo>
                <a:cubicBezTo>
                  <a:pt x="10687988" y="1289231"/>
                  <a:pt x="10734964" y="1303149"/>
                  <a:pt x="10781940" y="1303149"/>
                </a:cubicBezTo>
                <a:cubicBezTo>
                  <a:pt x="10825436" y="1303149"/>
                  <a:pt x="10861973" y="1290971"/>
                  <a:pt x="10889811" y="1266613"/>
                </a:cubicBezTo>
                <a:cubicBezTo>
                  <a:pt x="10917648" y="1240515"/>
                  <a:pt x="10931567" y="1207458"/>
                  <a:pt x="10931567" y="1167441"/>
                </a:cubicBezTo>
                <a:cubicBezTo>
                  <a:pt x="10931567" y="1148303"/>
                  <a:pt x="10907209" y="1096107"/>
                  <a:pt x="10858494" y="1010854"/>
                </a:cubicBezTo>
                <a:cubicBezTo>
                  <a:pt x="10781940" y="873406"/>
                  <a:pt x="10743663" y="735958"/>
                  <a:pt x="10743663" y="600249"/>
                </a:cubicBezTo>
                <a:cubicBezTo>
                  <a:pt x="10743663" y="436703"/>
                  <a:pt x="10801078" y="295775"/>
                  <a:pt x="10917648" y="177465"/>
                </a:cubicBezTo>
                <a:cubicBezTo>
                  <a:pt x="11034219" y="59155"/>
                  <a:pt x="11175147" y="0"/>
                  <a:pt x="11336953" y="0"/>
                </a:cubicBezTo>
                <a:close/>
                <a:moveTo>
                  <a:pt x="5138383" y="0"/>
                </a:moveTo>
                <a:cubicBezTo>
                  <a:pt x="5363064" y="0"/>
                  <a:pt x="5554653" y="64375"/>
                  <a:pt x="5714890" y="194864"/>
                </a:cubicBezTo>
                <a:cubicBezTo>
                  <a:pt x="5875129" y="327092"/>
                  <a:pt x="5981373" y="514996"/>
                  <a:pt x="6033624" y="760316"/>
                </a:cubicBezTo>
                <a:cubicBezTo>
                  <a:pt x="6033624" y="760316"/>
                  <a:pt x="6033624" y="760316"/>
                  <a:pt x="5479759" y="800332"/>
                </a:cubicBezTo>
                <a:cubicBezTo>
                  <a:pt x="5418800" y="607209"/>
                  <a:pt x="5300363" y="511517"/>
                  <a:pt x="5126191" y="511517"/>
                </a:cubicBezTo>
                <a:cubicBezTo>
                  <a:pt x="5016463" y="511517"/>
                  <a:pt x="4924153" y="549793"/>
                  <a:pt x="4852742" y="624607"/>
                </a:cubicBezTo>
                <a:cubicBezTo>
                  <a:pt x="4779590" y="699421"/>
                  <a:pt x="4744756" y="796852"/>
                  <a:pt x="4744756" y="915162"/>
                </a:cubicBezTo>
                <a:cubicBezTo>
                  <a:pt x="4744756" y="1028253"/>
                  <a:pt x="4779590" y="1120465"/>
                  <a:pt x="4849258" y="1193539"/>
                </a:cubicBezTo>
                <a:cubicBezTo>
                  <a:pt x="4920669" y="1264873"/>
                  <a:pt x="5009497" y="1301410"/>
                  <a:pt x="5117482" y="1301410"/>
                </a:cubicBezTo>
                <a:cubicBezTo>
                  <a:pt x="5343905" y="1301410"/>
                  <a:pt x="5469309" y="1174400"/>
                  <a:pt x="5497176" y="920382"/>
                </a:cubicBezTo>
                <a:cubicBezTo>
                  <a:pt x="5497176" y="920382"/>
                  <a:pt x="5497176" y="920382"/>
                  <a:pt x="6038849" y="936041"/>
                </a:cubicBezTo>
                <a:cubicBezTo>
                  <a:pt x="6000532" y="1219637"/>
                  <a:pt x="5902995" y="1437118"/>
                  <a:pt x="5744499" y="1588485"/>
                </a:cubicBezTo>
                <a:cubicBezTo>
                  <a:pt x="5584262" y="1738113"/>
                  <a:pt x="5378739" y="1812926"/>
                  <a:pt x="5126191" y="1812926"/>
                </a:cubicBezTo>
                <a:cubicBezTo>
                  <a:pt x="4863192" y="1812926"/>
                  <a:pt x="4643736" y="1727673"/>
                  <a:pt x="4471307" y="1557168"/>
                </a:cubicBezTo>
                <a:cubicBezTo>
                  <a:pt x="4297136" y="1386662"/>
                  <a:pt x="4210050" y="1172661"/>
                  <a:pt x="4210050" y="915162"/>
                </a:cubicBezTo>
                <a:cubicBezTo>
                  <a:pt x="4210050" y="654185"/>
                  <a:pt x="4298877" y="436703"/>
                  <a:pt x="4476532" y="262718"/>
                </a:cubicBezTo>
                <a:cubicBezTo>
                  <a:pt x="4654187" y="86993"/>
                  <a:pt x="4875385" y="0"/>
                  <a:pt x="5138383" y="0"/>
                </a:cubicBezTo>
                <a:close/>
                <a:moveTo>
                  <a:pt x="3402801" y="0"/>
                </a:moveTo>
                <a:cubicBezTo>
                  <a:pt x="3606627" y="0"/>
                  <a:pt x="3758190" y="53961"/>
                  <a:pt x="3855749" y="161883"/>
                </a:cubicBezTo>
                <a:cubicBezTo>
                  <a:pt x="3953308" y="269806"/>
                  <a:pt x="4002087" y="435170"/>
                  <a:pt x="4002087" y="657977"/>
                </a:cubicBezTo>
                <a:cubicBezTo>
                  <a:pt x="4002087" y="657977"/>
                  <a:pt x="4002087" y="657977"/>
                  <a:pt x="4002087" y="1785938"/>
                </a:cubicBezTo>
                <a:cubicBezTo>
                  <a:pt x="4002087" y="1785938"/>
                  <a:pt x="4002087" y="1785938"/>
                  <a:pt x="3482938" y="1785938"/>
                </a:cubicBezTo>
                <a:cubicBezTo>
                  <a:pt x="3482938" y="1785938"/>
                  <a:pt x="3482938" y="1785938"/>
                  <a:pt x="3482938" y="692791"/>
                </a:cubicBezTo>
                <a:cubicBezTo>
                  <a:pt x="3482938" y="626645"/>
                  <a:pt x="3475970" y="579647"/>
                  <a:pt x="3458549" y="553536"/>
                </a:cubicBezTo>
                <a:cubicBezTo>
                  <a:pt x="3442870" y="525686"/>
                  <a:pt x="3413254" y="511760"/>
                  <a:pt x="3373185" y="511760"/>
                </a:cubicBezTo>
                <a:cubicBezTo>
                  <a:pt x="3293048" y="511760"/>
                  <a:pt x="3252979" y="572684"/>
                  <a:pt x="3252979" y="692791"/>
                </a:cubicBezTo>
                <a:cubicBezTo>
                  <a:pt x="3252979" y="692791"/>
                  <a:pt x="3252979" y="692791"/>
                  <a:pt x="3252979" y="912117"/>
                </a:cubicBezTo>
                <a:cubicBezTo>
                  <a:pt x="3252979" y="912117"/>
                  <a:pt x="3252979" y="912117"/>
                  <a:pt x="3399317" y="912117"/>
                </a:cubicBezTo>
                <a:cubicBezTo>
                  <a:pt x="3399317" y="912117"/>
                  <a:pt x="3399317" y="912117"/>
                  <a:pt x="3399317" y="1369916"/>
                </a:cubicBezTo>
                <a:cubicBezTo>
                  <a:pt x="3399317" y="1369916"/>
                  <a:pt x="3399317" y="1369916"/>
                  <a:pt x="3252979" y="1369916"/>
                </a:cubicBezTo>
                <a:lnTo>
                  <a:pt x="3252979" y="1785938"/>
                </a:lnTo>
                <a:cubicBezTo>
                  <a:pt x="3252979" y="1785938"/>
                  <a:pt x="3252979" y="1785938"/>
                  <a:pt x="2732087" y="1785938"/>
                </a:cubicBezTo>
                <a:cubicBezTo>
                  <a:pt x="2732087" y="1785938"/>
                  <a:pt x="2732087" y="1785938"/>
                  <a:pt x="2732087" y="677125"/>
                </a:cubicBezTo>
                <a:cubicBezTo>
                  <a:pt x="2732087" y="463021"/>
                  <a:pt x="2791319" y="295916"/>
                  <a:pt x="2908041" y="177550"/>
                </a:cubicBezTo>
                <a:cubicBezTo>
                  <a:pt x="3024763" y="59183"/>
                  <a:pt x="3190263" y="0"/>
                  <a:pt x="3402801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0000"/>
                </a:schemeClr>
              </a:gs>
              <a:gs pos="100000">
                <a:schemeClr val="accent1">
                  <a:alpha val="50000"/>
                </a:schemeClr>
              </a:gs>
            </a:gsLst>
            <a:lin ang="54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2/9/10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>
            <a:extLst>
              <a:ext uri="{FF2B5EF4-FFF2-40B4-BE49-F238E27FC236}">
                <a16:creationId xmlns:a16="http://schemas.microsoft.com/office/drawing/2014/main" id="{55C7806B-4AC4-4A2B-9FF9-DF366662398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78C127D-182A-4618-B8FD-50C0D120CD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alpha val="30000"/>
                </a:schemeClr>
              </a:gs>
              <a:gs pos="100000">
                <a:schemeClr val="accent1">
                  <a:alpha val="9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2362198" y="1861457"/>
            <a:ext cx="7467602" cy="2390781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362198" y="5286109"/>
            <a:ext cx="74676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62200" y="4989838"/>
            <a:ext cx="74676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5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2/9/10</a:t>
            </a:fld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OfficePLUS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2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副标题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4400" dirty="0">
                <a:latin typeface="+mn-lt"/>
                <a:ea typeface="+mn-ea"/>
                <a:cs typeface="+mn-ea"/>
                <a:sym typeface="+mn-lt"/>
              </a:rPr>
              <a:t>教师节主题</a:t>
            </a:r>
            <a:r>
              <a:rPr lang="en-US" altLang="zh-CN" sz="4400" dirty="0">
                <a:latin typeface="+mn-lt"/>
                <a:ea typeface="+mn-ea"/>
                <a:cs typeface="+mn-ea"/>
                <a:sym typeface="+mn-lt"/>
              </a:rPr>
              <a:t>PPT</a:t>
            </a:r>
            <a:r>
              <a:rPr lang="zh-CN" altLang="en-US" sz="4400" dirty="0">
                <a:latin typeface="+mn-lt"/>
                <a:ea typeface="+mn-ea"/>
                <a:cs typeface="+mn-ea"/>
                <a:sym typeface="+mn-lt"/>
              </a:rPr>
              <a:t>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Designed by OfficePLUS</a:t>
            </a:r>
            <a:endParaRPr lang="en-US" altLang="en-US" dirty="0">
              <a:cs typeface="+mn-ea"/>
              <a:sym typeface="+mn-lt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6B8E8FC8-1A72-469D-9B81-E005AFA3A97D}"/>
              </a:ext>
            </a:extLst>
          </p:cNvPr>
          <p:cNvCxnSpPr>
            <a:cxnSpLocks/>
          </p:cNvCxnSpPr>
          <p:nvPr/>
        </p:nvCxnSpPr>
        <p:spPr>
          <a:xfrm>
            <a:off x="4559300" y="3127274"/>
            <a:ext cx="565652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 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6ADE0E79-B222-41D4-9F20-C7CBD0D11341}"/>
              </a:ext>
            </a:extLst>
          </p:cNvPr>
          <p:cNvSpPr/>
          <p:nvPr/>
        </p:nvSpPr>
        <p:spPr>
          <a:xfrm>
            <a:off x="4849071" y="2393330"/>
            <a:ext cx="2506688" cy="2506687"/>
          </a:xfrm>
          <a:prstGeom prst="ellipse">
            <a:avLst/>
          </a:prstGeom>
          <a:noFill/>
          <a:ln w="5715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B7410E52-A33F-4EB4-822F-62502F4066C1}"/>
              </a:ext>
            </a:extLst>
          </p:cNvPr>
          <p:cNvSpPr/>
          <p:nvPr/>
        </p:nvSpPr>
        <p:spPr>
          <a:xfrm>
            <a:off x="5754162" y="1938401"/>
            <a:ext cx="696504" cy="69650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D1C612B-BA21-4061-A711-C23B6D74F1C0}"/>
              </a:ext>
            </a:extLst>
          </p:cNvPr>
          <p:cNvSpPr/>
          <p:nvPr/>
        </p:nvSpPr>
        <p:spPr>
          <a:xfrm>
            <a:off x="6931977" y="2618412"/>
            <a:ext cx="696504" cy="69650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3"/>
          </a:solidFill>
          <a:ln w="28575"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740F2897-2F57-44ED-84DF-50A0966C8552}"/>
              </a:ext>
            </a:extLst>
          </p:cNvPr>
          <p:cNvSpPr/>
          <p:nvPr/>
        </p:nvSpPr>
        <p:spPr>
          <a:xfrm>
            <a:off x="6931977" y="3978431"/>
            <a:ext cx="696504" cy="69650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726DA289-C31A-42C8-AD6F-AB62947FCAC3}"/>
              </a:ext>
            </a:extLst>
          </p:cNvPr>
          <p:cNvSpPr/>
          <p:nvPr/>
        </p:nvSpPr>
        <p:spPr>
          <a:xfrm>
            <a:off x="5754162" y="4658442"/>
            <a:ext cx="696504" cy="69650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3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5BBF52F3-817C-4BC2-A88B-F4B6CD16DD00}"/>
              </a:ext>
            </a:extLst>
          </p:cNvPr>
          <p:cNvSpPr/>
          <p:nvPr/>
        </p:nvSpPr>
        <p:spPr>
          <a:xfrm>
            <a:off x="4576351" y="3978431"/>
            <a:ext cx="696504" cy="69650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1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BFE98E86-ECD0-497C-92FF-9E7EC4667D3C}"/>
              </a:ext>
            </a:extLst>
          </p:cNvPr>
          <p:cNvSpPr/>
          <p:nvPr/>
        </p:nvSpPr>
        <p:spPr>
          <a:xfrm>
            <a:off x="4576351" y="2618412"/>
            <a:ext cx="696504" cy="696504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accent3"/>
          </a:solidFill>
          <a:ln w="28575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79E9469-2F2D-4F80-8BCC-CCDDB456DB17}"/>
              </a:ext>
            </a:extLst>
          </p:cNvPr>
          <p:cNvSpPr/>
          <p:nvPr/>
        </p:nvSpPr>
        <p:spPr>
          <a:xfrm>
            <a:off x="5631771" y="1407639"/>
            <a:ext cx="941283" cy="30777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Keyword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E0F014EA-719D-43A3-B2E7-D741270AA62F}"/>
              </a:ext>
            </a:extLst>
          </p:cNvPr>
          <p:cNvSpPr/>
          <p:nvPr/>
        </p:nvSpPr>
        <p:spPr>
          <a:xfrm>
            <a:off x="5358983" y="5462926"/>
            <a:ext cx="1486860" cy="307777"/>
          </a:xfrm>
          <a:prstGeom prst="rect">
            <a:avLst/>
          </a:prstGeom>
        </p:spPr>
        <p:txBody>
          <a:bodyPr wrap="square">
            <a:normAutofit/>
          </a:bodyPr>
          <a:lstStyle/>
          <a:p>
            <a:pPr algn="ctr"/>
            <a:r>
              <a:rPr lang="en-US" altLang="zh-CN" sz="1400" b="1" dirty="0">
                <a:cs typeface="+mn-ea"/>
                <a:sym typeface="+mn-lt"/>
              </a:rPr>
              <a:t>Keyword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0E71190B-A7F1-441A-A08A-525DD497BF05}"/>
              </a:ext>
            </a:extLst>
          </p:cNvPr>
          <p:cNvSpPr/>
          <p:nvPr/>
        </p:nvSpPr>
        <p:spPr>
          <a:xfrm>
            <a:off x="7798138" y="2594905"/>
            <a:ext cx="941283" cy="30777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r>
              <a:rPr lang="en-US" altLang="zh-CN" sz="1400" b="1" dirty="0">
                <a:cs typeface="+mn-ea"/>
                <a:sym typeface="+mn-lt"/>
              </a:rPr>
              <a:t>Keyword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5D0A06D-CE14-4C84-B628-497586332CEC}"/>
              </a:ext>
            </a:extLst>
          </p:cNvPr>
          <p:cNvSpPr/>
          <p:nvPr/>
        </p:nvSpPr>
        <p:spPr>
          <a:xfrm>
            <a:off x="3452579" y="2594905"/>
            <a:ext cx="941283" cy="30777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r">
              <a:tabLst>
                <a:tab pos="360000" algn="l"/>
              </a:tabLst>
            </a:pPr>
            <a:r>
              <a:rPr lang="en-US" altLang="zh-CN" sz="1400" b="1" dirty="0">
                <a:cs typeface="+mn-ea"/>
                <a:sym typeface="+mn-lt"/>
              </a:rPr>
              <a:t>Keyword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9CED6BB2-24A7-4FD8-9E73-ACEF54E7A505}"/>
              </a:ext>
            </a:extLst>
          </p:cNvPr>
          <p:cNvSpPr/>
          <p:nvPr/>
        </p:nvSpPr>
        <p:spPr>
          <a:xfrm>
            <a:off x="3476466" y="4253050"/>
            <a:ext cx="941283" cy="30777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pPr algn="r" defTabSz="360000" fontAlgn="auto">
              <a:spcBef>
                <a:spcPts val="0"/>
              </a:spcBef>
              <a:spcAft>
                <a:spcPts val="600"/>
              </a:spcAft>
              <a:tabLst>
                <a:tab pos="360000" algn="l"/>
              </a:tabLst>
            </a:pPr>
            <a:r>
              <a:rPr lang="en-US" altLang="zh-CN" sz="1400" b="1" dirty="0">
                <a:cs typeface="+mn-ea"/>
                <a:sym typeface="+mn-lt"/>
              </a:rPr>
              <a:t>Keyword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7A56842C-41A6-46FF-BF47-5E23BCD5BF0E}"/>
              </a:ext>
            </a:extLst>
          </p:cNvPr>
          <p:cNvSpPr/>
          <p:nvPr/>
        </p:nvSpPr>
        <p:spPr>
          <a:xfrm>
            <a:off x="7798138" y="4253050"/>
            <a:ext cx="941283" cy="307777"/>
          </a:xfrm>
          <a:prstGeom prst="rect">
            <a:avLst/>
          </a:prstGeom>
        </p:spPr>
        <p:txBody>
          <a:bodyPr wrap="none">
            <a:normAutofit/>
          </a:bodyPr>
          <a:lstStyle/>
          <a:p>
            <a:r>
              <a:rPr lang="en-US" altLang="zh-CN" sz="1400" b="1" dirty="0">
                <a:cs typeface="+mn-ea"/>
                <a:sym typeface="+mn-lt"/>
              </a:rPr>
              <a:t>Keyword</a:t>
            </a:r>
            <a:endParaRPr lang="zh-CN" altLang="en-US" sz="1400" b="1" dirty="0"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E35D3E9F-D026-45A6-A97E-0CE8C79B2B3D}"/>
              </a:ext>
            </a:extLst>
          </p:cNvPr>
          <p:cNvSpPr/>
          <p:nvPr/>
        </p:nvSpPr>
        <p:spPr bwMode="auto">
          <a:xfrm>
            <a:off x="5917267" y="2057929"/>
            <a:ext cx="370293" cy="390105"/>
          </a:xfrm>
          <a:custGeom>
            <a:avLst/>
            <a:gdLst>
              <a:gd name="T0" fmla="*/ 126 w 466"/>
              <a:gd name="T1" fmla="*/ 153 h 491"/>
              <a:gd name="T2" fmla="*/ 233 w 466"/>
              <a:gd name="T3" fmla="*/ 61 h 491"/>
              <a:gd name="T4" fmla="*/ 258 w 466"/>
              <a:gd name="T5" fmla="*/ 122 h 491"/>
              <a:gd name="T6" fmla="*/ 233 w 466"/>
              <a:gd name="T7" fmla="*/ 101 h 491"/>
              <a:gd name="T8" fmla="*/ 402 w 466"/>
              <a:gd name="T9" fmla="*/ 399 h 491"/>
              <a:gd name="T10" fmla="*/ 433 w 466"/>
              <a:gd name="T11" fmla="*/ 215 h 491"/>
              <a:gd name="T12" fmla="*/ 452 w 466"/>
              <a:gd name="T13" fmla="*/ 160 h 491"/>
              <a:gd name="T14" fmla="*/ 233 w 466"/>
              <a:gd name="T15" fmla="*/ 0 h 491"/>
              <a:gd name="T16" fmla="*/ 15 w 466"/>
              <a:gd name="T17" fmla="*/ 160 h 491"/>
              <a:gd name="T18" fmla="*/ 34 w 466"/>
              <a:gd name="T19" fmla="*/ 215 h 491"/>
              <a:gd name="T20" fmla="*/ 64 w 466"/>
              <a:gd name="T21" fmla="*/ 399 h 491"/>
              <a:gd name="T22" fmla="*/ 3 w 466"/>
              <a:gd name="T23" fmla="*/ 445 h 491"/>
              <a:gd name="T24" fmla="*/ 418 w 466"/>
              <a:gd name="T25" fmla="*/ 491 h 491"/>
              <a:gd name="T26" fmla="*/ 418 w 466"/>
              <a:gd name="T27" fmla="*/ 399 h 491"/>
              <a:gd name="T28" fmla="*/ 221 w 466"/>
              <a:gd name="T29" fmla="*/ 33 h 491"/>
              <a:gd name="T30" fmla="*/ 246 w 466"/>
              <a:gd name="T31" fmla="*/ 33 h 491"/>
              <a:gd name="T32" fmla="*/ 34 w 466"/>
              <a:gd name="T33" fmla="*/ 183 h 491"/>
              <a:gd name="T34" fmla="*/ 371 w 466"/>
              <a:gd name="T35" fmla="*/ 399 h 491"/>
              <a:gd name="T36" fmla="*/ 341 w 466"/>
              <a:gd name="T37" fmla="*/ 215 h 491"/>
              <a:gd name="T38" fmla="*/ 310 w 466"/>
              <a:gd name="T39" fmla="*/ 215 h 491"/>
              <a:gd name="T40" fmla="*/ 279 w 466"/>
              <a:gd name="T41" fmla="*/ 399 h 491"/>
              <a:gd name="T42" fmla="*/ 310 w 466"/>
              <a:gd name="T43" fmla="*/ 215 h 491"/>
              <a:gd name="T44" fmla="*/ 249 w 466"/>
              <a:gd name="T45" fmla="*/ 399 h 491"/>
              <a:gd name="T46" fmla="*/ 218 w 466"/>
              <a:gd name="T47" fmla="*/ 215 h 491"/>
              <a:gd name="T48" fmla="*/ 187 w 466"/>
              <a:gd name="T49" fmla="*/ 215 h 491"/>
              <a:gd name="T50" fmla="*/ 156 w 466"/>
              <a:gd name="T51" fmla="*/ 399 h 491"/>
              <a:gd name="T52" fmla="*/ 187 w 466"/>
              <a:gd name="T53" fmla="*/ 215 h 491"/>
              <a:gd name="T54" fmla="*/ 126 w 466"/>
              <a:gd name="T55" fmla="*/ 399 h 491"/>
              <a:gd name="T56" fmla="*/ 95 w 466"/>
              <a:gd name="T57" fmla="*/ 215 h 491"/>
              <a:gd name="T58" fmla="*/ 418 w 466"/>
              <a:gd name="T59" fmla="*/ 460 h 491"/>
              <a:gd name="T60" fmla="*/ 34 w 466"/>
              <a:gd name="T61" fmla="*/ 445 h 491"/>
              <a:gd name="T62" fmla="*/ 418 w 466"/>
              <a:gd name="T63" fmla="*/ 430 h 491"/>
              <a:gd name="T64" fmla="*/ 418 w 466"/>
              <a:gd name="T65" fmla="*/ 4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66" h="491">
                <a:moveTo>
                  <a:pt x="233" y="61"/>
                </a:moveTo>
                <a:cubicBezTo>
                  <a:pt x="126" y="153"/>
                  <a:pt x="126" y="153"/>
                  <a:pt x="126" y="153"/>
                </a:cubicBezTo>
                <a:cubicBezTo>
                  <a:pt x="341" y="153"/>
                  <a:pt x="341" y="153"/>
                  <a:pt x="341" y="153"/>
                </a:cubicBezTo>
                <a:cubicBezTo>
                  <a:pt x="233" y="61"/>
                  <a:pt x="233" y="61"/>
                  <a:pt x="233" y="61"/>
                </a:cubicBezTo>
                <a:close/>
                <a:moveTo>
                  <a:pt x="233" y="101"/>
                </a:moveTo>
                <a:cubicBezTo>
                  <a:pt x="258" y="122"/>
                  <a:pt x="258" y="122"/>
                  <a:pt x="258" y="122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33" y="101"/>
                  <a:pt x="233" y="101"/>
                  <a:pt x="233" y="101"/>
                </a:cubicBezTo>
                <a:close/>
                <a:moveTo>
                  <a:pt x="418" y="399"/>
                </a:moveTo>
                <a:cubicBezTo>
                  <a:pt x="402" y="399"/>
                  <a:pt x="402" y="399"/>
                  <a:pt x="402" y="399"/>
                </a:cubicBezTo>
                <a:cubicBezTo>
                  <a:pt x="402" y="215"/>
                  <a:pt x="402" y="215"/>
                  <a:pt x="402" y="215"/>
                </a:cubicBezTo>
                <a:cubicBezTo>
                  <a:pt x="433" y="215"/>
                  <a:pt x="433" y="215"/>
                  <a:pt x="433" y="215"/>
                </a:cubicBezTo>
                <a:cubicBezTo>
                  <a:pt x="446" y="215"/>
                  <a:pt x="458" y="206"/>
                  <a:pt x="462" y="194"/>
                </a:cubicBezTo>
                <a:cubicBezTo>
                  <a:pt x="466" y="181"/>
                  <a:pt x="462" y="168"/>
                  <a:pt x="452" y="160"/>
                </a:cubicBezTo>
                <a:cubicBezTo>
                  <a:pt x="263" y="7"/>
                  <a:pt x="263" y="7"/>
                  <a:pt x="263" y="7"/>
                </a:cubicBezTo>
                <a:cubicBezTo>
                  <a:pt x="253" y="2"/>
                  <a:pt x="243" y="0"/>
                  <a:pt x="233" y="0"/>
                </a:cubicBezTo>
                <a:cubicBezTo>
                  <a:pt x="223" y="0"/>
                  <a:pt x="213" y="2"/>
                  <a:pt x="204" y="7"/>
                </a:cubicBezTo>
                <a:cubicBezTo>
                  <a:pt x="15" y="160"/>
                  <a:pt x="15" y="160"/>
                  <a:pt x="15" y="160"/>
                </a:cubicBezTo>
                <a:cubicBezTo>
                  <a:pt x="4" y="168"/>
                  <a:pt x="0" y="181"/>
                  <a:pt x="4" y="194"/>
                </a:cubicBezTo>
                <a:cubicBezTo>
                  <a:pt x="9" y="206"/>
                  <a:pt x="20" y="215"/>
                  <a:pt x="34" y="215"/>
                </a:cubicBezTo>
                <a:cubicBezTo>
                  <a:pt x="64" y="215"/>
                  <a:pt x="64" y="215"/>
                  <a:pt x="64" y="215"/>
                </a:cubicBezTo>
                <a:cubicBezTo>
                  <a:pt x="64" y="399"/>
                  <a:pt x="64" y="399"/>
                  <a:pt x="64" y="399"/>
                </a:cubicBezTo>
                <a:cubicBezTo>
                  <a:pt x="49" y="399"/>
                  <a:pt x="49" y="399"/>
                  <a:pt x="49" y="399"/>
                </a:cubicBezTo>
                <a:cubicBezTo>
                  <a:pt x="23" y="399"/>
                  <a:pt x="3" y="420"/>
                  <a:pt x="3" y="445"/>
                </a:cubicBezTo>
                <a:cubicBezTo>
                  <a:pt x="3" y="470"/>
                  <a:pt x="23" y="491"/>
                  <a:pt x="49" y="491"/>
                </a:cubicBezTo>
                <a:cubicBezTo>
                  <a:pt x="418" y="491"/>
                  <a:pt x="418" y="491"/>
                  <a:pt x="418" y="491"/>
                </a:cubicBezTo>
                <a:cubicBezTo>
                  <a:pt x="443" y="491"/>
                  <a:pt x="464" y="470"/>
                  <a:pt x="464" y="445"/>
                </a:cubicBezTo>
                <a:cubicBezTo>
                  <a:pt x="464" y="420"/>
                  <a:pt x="443" y="399"/>
                  <a:pt x="418" y="399"/>
                </a:cubicBezTo>
                <a:close/>
                <a:moveTo>
                  <a:pt x="34" y="183"/>
                </a:moveTo>
                <a:cubicBezTo>
                  <a:pt x="221" y="33"/>
                  <a:pt x="221" y="33"/>
                  <a:pt x="221" y="33"/>
                </a:cubicBezTo>
                <a:cubicBezTo>
                  <a:pt x="224" y="31"/>
                  <a:pt x="229" y="30"/>
                  <a:pt x="233" y="30"/>
                </a:cubicBezTo>
                <a:cubicBezTo>
                  <a:pt x="238" y="30"/>
                  <a:pt x="242" y="31"/>
                  <a:pt x="246" y="33"/>
                </a:cubicBezTo>
                <a:cubicBezTo>
                  <a:pt x="433" y="184"/>
                  <a:pt x="433" y="184"/>
                  <a:pt x="433" y="184"/>
                </a:cubicBezTo>
                <a:cubicBezTo>
                  <a:pt x="34" y="183"/>
                  <a:pt x="34" y="183"/>
                  <a:pt x="34" y="183"/>
                </a:cubicBezTo>
                <a:close/>
                <a:moveTo>
                  <a:pt x="371" y="215"/>
                </a:moveTo>
                <a:cubicBezTo>
                  <a:pt x="371" y="399"/>
                  <a:pt x="371" y="399"/>
                  <a:pt x="371" y="399"/>
                </a:cubicBezTo>
                <a:cubicBezTo>
                  <a:pt x="341" y="399"/>
                  <a:pt x="341" y="399"/>
                  <a:pt x="341" y="399"/>
                </a:cubicBezTo>
                <a:cubicBezTo>
                  <a:pt x="341" y="215"/>
                  <a:pt x="341" y="215"/>
                  <a:pt x="341" y="215"/>
                </a:cubicBezTo>
                <a:cubicBezTo>
                  <a:pt x="371" y="215"/>
                  <a:pt x="371" y="215"/>
                  <a:pt x="371" y="215"/>
                </a:cubicBezTo>
                <a:close/>
                <a:moveTo>
                  <a:pt x="310" y="215"/>
                </a:moveTo>
                <a:cubicBezTo>
                  <a:pt x="310" y="399"/>
                  <a:pt x="310" y="399"/>
                  <a:pt x="310" y="399"/>
                </a:cubicBezTo>
                <a:cubicBezTo>
                  <a:pt x="279" y="399"/>
                  <a:pt x="279" y="399"/>
                  <a:pt x="279" y="399"/>
                </a:cubicBezTo>
                <a:cubicBezTo>
                  <a:pt x="279" y="215"/>
                  <a:pt x="279" y="215"/>
                  <a:pt x="279" y="215"/>
                </a:cubicBezTo>
                <a:cubicBezTo>
                  <a:pt x="310" y="215"/>
                  <a:pt x="310" y="215"/>
                  <a:pt x="310" y="215"/>
                </a:cubicBezTo>
                <a:close/>
                <a:moveTo>
                  <a:pt x="249" y="215"/>
                </a:moveTo>
                <a:cubicBezTo>
                  <a:pt x="249" y="399"/>
                  <a:pt x="249" y="399"/>
                  <a:pt x="249" y="399"/>
                </a:cubicBezTo>
                <a:cubicBezTo>
                  <a:pt x="218" y="399"/>
                  <a:pt x="218" y="399"/>
                  <a:pt x="218" y="399"/>
                </a:cubicBezTo>
                <a:cubicBezTo>
                  <a:pt x="218" y="215"/>
                  <a:pt x="218" y="215"/>
                  <a:pt x="218" y="215"/>
                </a:cubicBezTo>
                <a:cubicBezTo>
                  <a:pt x="249" y="215"/>
                  <a:pt x="249" y="215"/>
                  <a:pt x="249" y="215"/>
                </a:cubicBezTo>
                <a:close/>
                <a:moveTo>
                  <a:pt x="187" y="215"/>
                </a:moveTo>
                <a:cubicBezTo>
                  <a:pt x="187" y="399"/>
                  <a:pt x="187" y="399"/>
                  <a:pt x="187" y="399"/>
                </a:cubicBezTo>
                <a:cubicBezTo>
                  <a:pt x="156" y="399"/>
                  <a:pt x="156" y="399"/>
                  <a:pt x="156" y="399"/>
                </a:cubicBezTo>
                <a:cubicBezTo>
                  <a:pt x="156" y="215"/>
                  <a:pt x="156" y="215"/>
                  <a:pt x="156" y="215"/>
                </a:cubicBezTo>
                <a:cubicBezTo>
                  <a:pt x="187" y="215"/>
                  <a:pt x="187" y="215"/>
                  <a:pt x="187" y="215"/>
                </a:cubicBezTo>
                <a:close/>
                <a:moveTo>
                  <a:pt x="126" y="215"/>
                </a:moveTo>
                <a:cubicBezTo>
                  <a:pt x="126" y="399"/>
                  <a:pt x="126" y="399"/>
                  <a:pt x="126" y="399"/>
                </a:cubicBezTo>
                <a:cubicBezTo>
                  <a:pt x="95" y="399"/>
                  <a:pt x="95" y="399"/>
                  <a:pt x="95" y="399"/>
                </a:cubicBezTo>
                <a:cubicBezTo>
                  <a:pt x="95" y="215"/>
                  <a:pt x="95" y="215"/>
                  <a:pt x="95" y="215"/>
                </a:cubicBezTo>
                <a:cubicBezTo>
                  <a:pt x="126" y="215"/>
                  <a:pt x="126" y="215"/>
                  <a:pt x="126" y="215"/>
                </a:cubicBezTo>
                <a:close/>
                <a:moveTo>
                  <a:pt x="418" y="460"/>
                </a:moveTo>
                <a:cubicBezTo>
                  <a:pt x="49" y="460"/>
                  <a:pt x="49" y="460"/>
                  <a:pt x="49" y="460"/>
                </a:cubicBezTo>
                <a:cubicBezTo>
                  <a:pt x="40" y="460"/>
                  <a:pt x="34" y="453"/>
                  <a:pt x="34" y="445"/>
                </a:cubicBezTo>
                <a:cubicBezTo>
                  <a:pt x="34" y="437"/>
                  <a:pt x="40" y="430"/>
                  <a:pt x="49" y="430"/>
                </a:cubicBezTo>
                <a:cubicBezTo>
                  <a:pt x="418" y="430"/>
                  <a:pt x="418" y="430"/>
                  <a:pt x="418" y="430"/>
                </a:cubicBezTo>
                <a:cubicBezTo>
                  <a:pt x="426" y="430"/>
                  <a:pt x="433" y="437"/>
                  <a:pt x="433" y="445"/>
                </a:cubicBezTo>
                <a:cubicBezTo>
                  <a:pt x="433" y="453"/>
                  <a:pt x="426" y="460"/>
                  <a:pt x="418" y="4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AC538A90-C769-4070-8C1F-A16F281966AA}"/>
              </a:ext>
            </a:extLst>
          </p:cNvPr>
          <p:cNvSpPr/>
          <p:nvPr/>
        </p:nvSpPr>
        <p:spPr bwMode="auto">
          <a:xfrm>
            <a:off x="4734366" y="2750505"/>
            <a:ext cx="370293" cy="390105"/>
          </a:xfrm>
          <a:custGeom>
            <a:avLst/>
            <a:gdLst>
              <a:gd name="T0" fmla="*/ 126 w 466"/>
              <a:gd name="T1" fmla="*/ 153 h 491"/>
              <a:gd name="T2" fmla="*/ 233 w 466"/>
              <a:gd name="T3" fmla="*/ 61 h 491"/>
              <a:gd name="T4" fmla="*/ 258 w 466"/>
              <a:gd name="T5" fmla="*/ 122 h 491"/>
              <a:gd name="T6" fmla="*/ 233 w 466"/>
              <a:gd name="T7" fmla="*/ 101 h 491"/>
              <a:gd name="T8" fmla="*/ 402 w 466"/>
              <a:gd name="T9" fmla="*/ 399 h 491"/>
              <a:gd name="T10" fmla="*/ 433 w 466"/>
              <a:gd name="T11" fmla="*/ 215 h 491"/>
              <a:gd name="T12" fmla="*/ 452 w 466"/>
              <a:gd name="T13" fmla="*/ 160 h 491"/>
              <a:gd name="T14" fmla="*/ 233 w 466"/>
              <a:gd name="T15" fmla="*/ 0 h 491"/>
              <a:gd name="T16" fmla="*/ 15 w 466"/>
              <a:gd name="T17" fmla="*/ 160 h 491"/>
              <a:gd name="T18" fmla="*/ 34 w 466"/>
              <a:gd name="T19" fmla="*/ 215 h 491"/>
              <a:gd name="T20" fmla="*/ 64 w 466"/>
              <a:gd name="T21" fmla="*/ 399 h 491"/>
              <a:gd name="T22" fmla="*/ 3 w 466"/>
              <a:gd name="T23" fmla="*/ 445 h 491"/>
              <a:gd name="T24" fmla="*/ 418 w 466"/>
              <a:gd name="T25" fmla="*/ 491 h 491"/>
              <a:gd name="T26" fmla="*/ 418 w 466"/>
              <a:gd name="T27" fmla="*/ 399 h 491"/>
              <a:gd name="T28" fmla="*/ 221 w 466"/>
              <a:gd name="T29" fmla="*/ 33 h 491"/>
              <a:gd name="T30" fmla="*/ 246 w 466"/>
              <a:gd name="T31" fmla="*/ 33 h 491"/>
              <a:gd name="T32" fmla="*/ 34 w 466"/>
              <a:gd name="T33" fmla="*/ 183 h 491"/>
              <a:gd name="T34" fmla="*/ 371 w 466"/>
              <a:gd name="T35" fmla="*/ 399 h 491"/>
              <a:gd name="T36" fmla="*/ 341 w 466"/>
              <a:gd name="T37" fmla="*/ 215 h 491"/>
              <a:gd name="T38" fmla="*/ 310 w 466"/>
              <a:gd name="T39" fmla="*/ 215 h 491"/>
              <a:gd name="T40" fmla="*/ 279 w 466"/>
              <a:gd name="T41" fmla="*/ 399 h 491"/>
              <a:gd name="T42" fmla="*/ 310 w 466"/>
              <a:gd name="T43" fmla="*/ 215 h 491"/>
              <a:gd name="T44" fmla="*/ 249 w 466"/>
              <a:gd name="T45" fmla="*/ 399 h 491"/>
              <a:gd name="T46" fmla="*/ 218 w 466"/>
              <a:gd name="T47" fmla="*/ 215 h 491"/>
              <a:gd name="T48" fmla="*/ 187 w 466"/>
              <a:gd name="T49" fmla="*/ 215 h 491"/>
              <a:gd name="T50" fmla="*/ 156 w 466"/>
              <a:gd name="T51" fmla="*/ 399 h 491"/>
              <a:gd name="T52" fmla="*/ 187 w 466"/>
              <a:gd name="T53" fmla="*/ 215 h 491"/>
              <a:gd name="T54" fmla="*/ 126 w 466"/>
              <a:gd name="T55" fmla="*/ 399 h 491"/>
              <a:gd name="T56" fmla="*/ 95 w 466"/>
              <a:gd name="T57" fmla="*/ 215 h 491"/>
              <a:gd name="T58" fmla="*/ 418 w 466"/>
              <a:gd name="T59" fmla="*/ 460 h 491"/>
              <a:gd name="T60" fmla="*/ 34 w 466"/>
              <a:gd name="T61" fmla="*/ 445 h 491"/>
              <a:gd name="T62" fmla="*/ 418 w 466"/>
              <a:gd name="T63" fmla="*/ 430 h 491"/>
              <a:gd name="T64" fmla="*/ 418 w 466"/>
              <a:gd name="T65" fmla="*/ 4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66" h="491">
                <a:moveTo>
                  <a:pt x="233" y="61"/>
                </a:moveTo>
                <a:cubicBezTo>
                  <a:pt x="126" y="153"/>
                  <a:pt x="126" y="153"/>
                  <a:pt x="126" y="153"/>
                </a:cubicBezTo>
                <a:cubicBezTo>
                  <a:pt x="341" y="153"/>
                  <a:pt x="341" y="153"/>
                  <a:pt x="341" y="153"/>
                </a:cubicBezTo>
                <a:cubicBezTo>
                  <a:pt x="233" y="61"/>
                  <a:pt x="233" y="61"/>
                  <a:pt x="233" y="61"/>
                </a:cubicBezTo>
                <a:close/>
                <a:moveTo>
                  <a:pt x="233" y="101"/>
                </a:moveTo>
                <a:cubicBezTo>
                  <a:pt x="258" y="122"/>
                  <a:pt x="258" y="122"/>
                  <a:pt x="258" y="122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33" y="101"/>
                  <a:pt x="233" y="101"/>
                  <a:pt x="233" y="101"/>
                </a:cubicBezTo>
                <a:close/>
                <a:moveTo>
                  <a:pt x="418" y="399"/>
                </a:moveTo>
                <a:cubicBezTo>
                  <a:pt x="402" y="399"/>
                  <a:pt x="402" y="399"/>
                  <a:pt x="402" y="399"/>
                </a:cubicBezTo>
                <a:cubicBezTo>
                  <a:pt x="402" y="215"/>
                  <a:pt x="402" y="215"/>
                  <a:pt x="402" y="215"/>
                </a:cubicBezTo>
                <a:cubicBezTo>
                  <a:pt x="433" y="215"/>
                  <a:pt x="433" y="215"/>
                  <a:pt x="433" y="215"/>
                </a:cubicBezTo>
                <a:cubicBezTo>
                  <a:pt x="446" y="215"/>
                  <a:pt x="458" y="206"/>
                  <a:pt x="462" y="194"/>
                </a:cubicBezTo>
                <a:cubicBezTo>
                  <a:pt x="466" y="181"/>
                  <a:pt x="462" y="168"/>
                  <a:pt x="452" y="160"/>
                </a:cubicBezTo>
                <a:cubicBezTo>
                  <a:pt x="263" y="7"/>
                  <a:pt x="263" y="7"/>
                  <a:pt x="263" y="7"/>
                </a:cubicBezTo>
                <a:cubicBezTo>
                  <a:pt x="253" y="2"/>
                  <a:pt x="243" y="0"/>
                  <a:pt x="233" y="0"/>
                </a:cubicBezTo>
                <a:cubicBezTo>
                  <a:pt x="223" y="0"/>
                  <a:pt x="213" y="2"/>
                  <a:pt x="204" y="7"/>
                </a:cubicBezTo>
                <a:cubicBezTo>
                  <a:pt x="15" y="160"/>
                  <a:pt x="15" y="160"/>
                  <a:pt x="15" y="160"/>
                </a:cubicBezTo>
                <a:cubicBezTo>
                  <a:pt x="4" y="168"/>
                  <a:pt x="0" y="181"/>
                  <a:pt x="4" y="194"/>
                </a:cubicBezTo>
                <a:cubicBezTo>
                  <a:pt x="9" y="206"/>
                  <a:pt x="20" y="215"/>
                  <a:pt x="34" y="215"/>
                </a:cubicBezTo>
                <a:cubicBezTo>
                  <a:pt x="64" y="215"/>
                  <a:pt x="64" y="215"/>
                  <a:pt x="64" y="215"/>
                </a:cubicBezTo>
                <a:cubicBezTo>
                  <a:pt x="64" y="399"/>
                  <a:pt x="64" y="399"/>
                  <a:pt x="64" y="399"/>
                </a:cubicBezTo>
                <a:cubicBezTo>
                  <a:pt x="49" y="399"/>
                  <a:pt x="49" y="399"/>
                  <a:pt x="49" y="399"/>
                </a:cubicBezTo>
                <a:cubicBezTo>
                  <a:pt x="23" y="399"/>
                  <a:pt x="3" y="420"/>
                  <a:pt x="3" y="445"/>
                </a:cubicBezTo>
                <a:cubicBezTo>
                  <a:pt x="3" y="470"/>
                  <a:pt x="23" y="491"/>
                  <a:pt x="49" y="491"/>
                </a:cubicBezTo>
                <a:cubicBezTo>
                  <a:pt x="418" y="491"/>
                  <a:pt x="418" y="491"/>
                  <a:pt x="418" y="491"/>
                </a:cubicBezTo>
                <a:cubicBezTo>
                  <a:pt x="443" y="491"/>
                  <a:pt x="464" y="470"/>
                  <a:pt x="464" y="445"/>
                </a:cubicBezTo>
                <a:cubicBezTo>
                  <a:pt x="464" y="420"/>
                  <a:pt x="443" y="399"/>
                  <a:pt x="418" y="399"/>
                </a:cubicBezTo>
                <a:close/>
                <a:moveTo>
                  <a:pt x="34" y="183"/>
                </a:moveTo>
                <a:cubicBezTo>
                  <a:pt x="221" y="33"/>
                  <a:pt x="221" y="33"/>
                  <a:pt x="221" y="33"/>
                </a:cubicBezTo>
                <a:cubicBezTo>
                  <a:pt x="224" y="31"/>
                  <a:pt x="229" y="30"/>
                  <a:pt x="233" y="30"/>
                </a:cubicBezTo>
                <a:cubicBezTo>
                  <a:pt x="238" y="30"/>
                  <a:pt x="242" y="31"/>
                  <a:pt x="246" y="33"/>
                </a:cubicBezTo>
                <a:cubicBezTo>
                  <a:pt x="433" y="184"/>
                  <a:pt x="433" y="184"/>
                  <a:pt x="433" y="184"/>
                </a:cubicBezTo>
                <a:cubicBezTo>
                  <a:pt x="34" y="183"/>
                  <a:pt x="34" y="183"/>
                  <a:pt x="34" y="183"/>
                </a:cubicBezTo>
                <a:close/>
                <a:moveTo>
                  <a:pt x="371" y="215"/>
                </a:moveTo>
                <a:cubicBezTo>
                  <a:pt x="371" y="399"/>
                  <a:pt x="371" y="399"/>
                  <a:pt x="371" y="399"/>
                </a:cubicBezTo>
                <a:cubicBezTo>
                  <a:pt x="341" y="399"/>
                  <a:pt x="341" y="399"/>
                  <a:pt x="341" y="399"/>
                </a:cubicBezTo>
                <a:cubicBezTo>
                  <a:pt x="341" y="215"/>
                  <a:pt x="341" y="215"/>
                  <a:pt x="341" y="215"/>
                </a:cubicBezTo>
                <a:cubicBezTo>
                  <a:pt x="371" y="215"/>
                  <a:pt x="371" y="215"/>
                  <a:pt x="371" y="215"/>
                </a:cubicBezTo>
                <a:close/>
                <a:moveTo>
                  <a:pt x="310" y="215"/>
                </a:moveTo>
                <a:cubicBezTo>
                  <a:pt x="310" y="399"/>
                  <a:pt x="310" y="399"/>
                  <a:pt x="310" y="399"/>
                </a:cubicBezTo>
                <a:cubicBezTo>
                  <a:pt x="279" y="399"/>
                  <a:pt x="279" y="399"/>
                  <a:pt x="279" y="399"/>
                </a:cubicBezTo>
                <a:cubicBezTo>
                  <a:pt x="279" y="215"/>
                  <a:pt x="279" y="215"/>
                  <a:pt x="279" y="215"/>
                </a:cubicBezTo>
                <a:cubicBezTo>
                  <a:pt x="310" y="215"/>
                  <a:pt x="310" y="215"/>
                  <a:pt x="310" y="215"/>
                </a:cubicBezTo>
                <a:close/>
                <a:moveTo>
                  <a:pt x="249" y="215"/>
                </a:moveTo>
                <a:cubicBezTo>
                  <a:pt x="249" y="399"/>
                  <a:pt x="249" y="399"/>
                  <a:pt x="249" y="399"/>
                </a:cubicBezTo>
                <a:cubicBezTo>
                  <a:pt x="218" y="399"/>
                  <a:pt x="218" y="399"/>
                  <a:pt x="218" y="399"/>
                </a:cubicBezTo>
                <a:cubicBezTo>
                  <a:pt x="218" y="215"/>
                  <a:pt x="218" y="215"/>
                  <a:pt x="218" y="215"/>
                </a:cubicBezTo>
                <a:cubicBezTo>
                  <a:pt x="249" y="215"/>
                  <a:pt x="249" y="215"/>
                  <a:pt x="249" y="215"/>
                </a:cubicBezTo>
                <a:close/>
                <a:moveTo>
                  <a:pt x="187" y="215"/>
                </a:moveTo>
                <a:cubicBezTo>
                  <a:pt x="187" y="399"/>
                  <a:pt x="187" y="399"/>
                  <a:pt x="187" y="399"/>
                </a:cubicBezTo>
                <a:cubicBezTo>
                  <a:pt x="156" y="399"/>
                  <a:pt x="156" y="399"/>
                  <a:pt x="156" y="399"/>
                </a:cubicBezTo>
                <a:cubicBezTo>
                  <a:pt x="156" y="215"/>
                  <a:pt x="156" y="215"/>
                  <a:pt x="156" y="215"/>
                </a:cubicBezTo>
                <a:cubicBezTo>
                  <a:pt x="187" y="215"/>
                  <a:pt x="187" y="215"/>
                  <a:pt x="187" y="215"/>
                </a:cubicBezTo>
                <a:close/>
                <a:moveTo>
                  <a:pt x="126" y="215"/>
                </a:moveTo>
                <a:cubicBezTo>
                  <a:pt x="126" y="399"/>
                  <a:pt x="126" y="399"/>
                  <a:pt x="126" y="399"/>
                </a:cubicBezTo>
                <a:cubicBezTo>
                  <a:pt x="95" y="399"/>
                  <a:pt x="95" y="399"/>
                  <a:pt x="95" y="399"/>
                </a:cubicBezTo>
                <a:cubicBezTo>
                  <a:pt x="95" y="215"/>
                  <a:pt x="95" y="215"/>
                  <a:pt x="95" y="215"/>
                </a:cubicBezTo>
                <a:cubicBezTo>
                  <a:pt x="126" y="215"/>
                  <a:pt x="126" y="215"/>
                  <a:pt x="126" y="215"/>
                </a:cubicBezTo>
                <a:close/>
                <a:moveTo>
                  <a:pt x="418" y="460"/>
                </a:moveTo>
                <a:cubicBezTo>
                  <a:pt x="49" y="460"/>
                  <a:pt x="49" y="460"/>
                  <a:pt x="49" y="460"/>
                </a:cubicBezTo>
                <a:cubicBezTo>
                  <a:pt x="40" y="460"/>
                  <a:pt x="34" y="453"/>
                  <a:pt x="34" y="445"/>
                </a:cubicBezTo>
                <a:cubicBezTo>
                  <a:pt x="34" y="437"/>
                  <a:pt x="40" y="430"/>
                  <a:pt x="49" y="430"/>
                </a:cubicBezTo>
                <a:cubicBezTo>
                  <a:pt x="418" y="430"/>
                  <a:pt x="418" y="430"/>
                  <a:pt x="418" y="430"/>
                </a:cubicBezTo>
                <a:cubicBezTo>
                  <a:pt x="426" y="430"/>
                  <a:pt x="433" y="437"/>
                  <a:pt x="433" y="445"/>
                </a:cubicBezTo>
                <a:cubicBezTo>
                  <a:pt x="433" y="453"/>
                  <a:pt x="426" y="460"/>
                  <a:pt x="418" y="4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72861D5C-49B1-477D-9490-C31D4E5E7B91}"/>
              </a:ext>
            </a:extLst>
          </p:cNvPr>
          <p:cNvSpPr/>
          <p:nvPr/>
        </p:nvSpPr>
        <p:spPr bwMode="auto">
          <a:xfrm>
            <a:off x="7097235" y="2750505"/>
            <a:ext cx="370293" cy="390105"/>
          </a:xfrm>
          <a:custGeom>
            <a:avLst/>
            <a:gdLst>
              <a:gd name="T0" fmla="*/ 126 w 466"/>
              <a:gd name="T1" fmla="*/ 153 h 491"/>
              <a:gd name="T2" fmla="*/ 233 w 466"/>
              <a:gd name="T3" fmla="*/ 61 h 491"/>
              <a:gd name="T4" fmla="*/ 258 w 466"/>
              <a:gd name="T5" fmla="*/ 122 h 491"/>
              <a:gd name="T6" fmla="*/ 233 w 466"/>
              <a:gd name="T7" fmla="*/ 101 h 491"/>
              <a:gd name="T8" fmla="*/ 402 w 466"/>
              <a:gd name="T9" fmla="*/ 399 h 491"/>
              <a:gd name="T10" fmla="*/ 433 w 466"/>
              <a:gd name="T11" fmla="*/ 215 h 491"/>
              <a:gd name="T12" fmla="*/ 452 w 466"/>
              <a:gd name="T13" fmla="*/ 160 h 491"/>
              <a:gd name="T14" fmla="*/ 233 w 466"/>
              <a:gd name="T15" fmla="*/ 0 h 491"/>
              <a:gd name="T16" fmla="*/ 15 w 466"/>
              <a:gd name="T17" fmla="*/ 160 h 491"/>
              <a:gd name="T18" fmla="*/ 34 w 466"/>
              <a:gd name="T19" fmla="*/ 215 h 491"/>
              <a:gd name="T20" fmla="*/ 64 w 466"/>
              <a:gd name="T21" fmla="*/ 399 h 491"/>
              <a:gd name="T22" fmla="*/ 3 w 466"/>
              <a:gd name="T23" fmla="*/ 445 h 491"/>
              <a:gd name="T24" fmla="*/ 418 w 466"/>
              <a:gd name="T25" fmla="*/ 491 h 491"/>
              <a:gd name="T26" fmla="*/ 418 w 466"/>
              <a:gd name="T27" fmla="*/ 399 h 491"/>
              <a:gd name="T28" fmla="*/ 221 w 466"/>
              <a:gd name="T29" fmla="*/ 33 h 491"/>
              <a:gd name="T30" fmla="*/ 246 w 466"/>
              <a:gd name="T31" fmla="*/ 33 h 491"/>
              <a:gd name="T32" fmla="*/ 34 w 466"/>
              <a:gd name="T33" fmla="*/ 183 h 491"/>
              <a:gd name="T34" fmla="*/ 371 w 466"/>
              <a:gd name="T35" fmla="*/ 399 h 491"/>
              <a:gd name="T36" fmla="*/ 341 w 466"/>
              <a:gd name="T37" fmla="*/ 215 h 491"/>
              <a:gd name="T38" fmla="*/ 310 w 466"/>
              <a:gd name="T39" fmla="*/ 215 h 491"/>
              <a:gd name="T40" fmla="*/ 279 w 466"/>
              <a:gd name="T41" fmla="*/ 399 h 491"/>
              <a:gd name="T42" fmla="*/ 310 w 466"/>
              <a:gd name="T43" fmla="*/ 215 h 491"/>
              <a:gd name="T44" fmla="*/ 249 w 466"/>
              <a:gd name="T45" fmla="*/ 399 h 491"/>
              <a:gd name="T46" fmla="*/ 218 w 466"/>
              <a:gd name="T47" fmla="*/ 215 h 491"/>
              <a:gd name="T48" fmla="*/ 187 w 466"/>
              <a:gd name="T49" fmla="*/ 215 h 491"/>
              <a:gd name="T50" fmla="*/ 156 w 466"/>
              <a:gd name="T51" fmla="*/ 399 h 491"/>
              <a:gd name="T52" fmla="*/ 187 w 466"/>
              <a:gd name="T53" fmla="*/ 215 h 491"/>
              <a:gd name="T54" fmla="*/ 126 w 466"/>
              <a:gd name="T55" fmla="*/ 399 h 491"/>
              <a:gd name="T56" fmla="*/ 95 w 466"/>
              <a:gd name="T57" fmla="*/ 215 h 491"/>
              <a:gd name="T58" fmla="*/ 418 w 466"/>
              <a:gd name="T59" fmla="*/ 460 h 491"/>
              <a:gd name="T60" fmla="*/ 34 w 466"/>
              <a:gd name="T61" fmla="*/ 445 h 491"/>
              <a:gd name="T62" fmla="*/ 418 w 466"/>
              <a:gd name="T63" fmla="*/ 430 h 491"/>
              <a:gd name="T64" fmla="*/ 418 w 466"/>
              <a:gd name="T65" fmla="*/ 4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66" h="491">
                <a:moveTo>
                  <a:pt x="233" y="61"/>
                </a:moveTo>
                <a:cubicBezTo>
                  <a:pt x="126" y="153"/>
                  <a:pt x="126" y="153"/>
                  <a:pt x="126" y="153"/>
                </a:cubicBezTo>
                <a:cubicBezTo>
                  <a:pt x="341" y="153"/>
                  <a:pt x="341" y="153"/>
                  <a:pt x="341" y="153"/>
                </a:cubicBezTo>
                <a:cubicBezTo>
                  <a:pt x="233" y="61"/>
                  <a:pt x="233" y="61"/>
                  <a:pt x="233" y="61"/>
                </a:cubicBezTo>
                <a:close/>
                <a:moveTo>
                  <a:pt x="233" y="101"/>
                </a:moveTo>
                <a:cubicBezTo>
                  <a:pt x="258" y="122"/>
                  <a:pt x="258" y="122"/>
                  <a:pt x="258" y="122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33" y="101"/>
                  <a:pt x="233" y="101"/>
                  <a:pt x="233" y="101"/>
                </a:cubicBezTo>
                <a:close/>
                <a:moveTo>
                  <a:pt x="418" y="399"/>
                </a:moveTo>
                <a:cubicBezTo>
                  <a:pt x="402" y="399"/>
                  <a:pt x="402" y="399"/>
                  <a:pt x="402" y="399"/>
                </a:cubicBezTo>
                <a:cubicBezTo>
                  <a:pt x="402" y="215"/>
                  <a:pt x="402" y="215"/>
                  <a:pt x="402" y="215"/>
                </a:cubicBezTo>
                <a:cubicBezTo>
                  <a:pt x="433" y="215"/>
                  <a:pt x="433" y="215"/>
                  <a:pt x="433" y="215"/>
                </a:cubicBezTo>
                <a:cubicBezTo>
                  <a:pt x="446" y="215"/>
                  <a:pt x="458" y="206"/>
                  <a:pt x="462" y="194"/>
                </a:cubicBezTo>
                <a:cubicBezTo>
                  <a:pt x="466" y="181"/>
                  <a:pt x="462" y="168"/>
                  <a:pt x="452" y="160"/>
                </a:cubicBezTo>
                <a:cubicBezTo>
                  <a:pt x="263" y="7"/>
                  <a:pt x="263" y="7"/>
                  <a:pt x="263" y="7"/>
                </a:cubicBezTo>
                <a:cubicBezTo>
                  <a:pt x="253" y="2"/>
                  <a:pt x="243" y="0"/>
                  <a:pt x="233" y="0"/>
                </a:cubicBezTo>
                <a:cubicBezTo>
                  <a:pt x="223" y="0"/>
                  <a:pt x="213" y="2"/>
                  <a:pt x="204" y="7"/>
                </a:cubicBezTo>
                <a:cubicBezTo>
                  <a:pt x="15" y="160"/>
                  <a:pt x="15" y="160"/>
                  <a:pt x="15" y="160"/>
                </a:cubicBezTo>
                <a:cubicBezTo>
                  <a:pt x="4" y="168"/>
                  <a:pt x="0" y="181"/>
                  <a:pt x="4" y="194"/>
                </a:cubicBezTo>
                <a:cubicBezTo>
                  <a:pt x="9" y="206"/>
                  <a:pt x="20" y="215"/>
                  <a:pt x="34" y="215"/>
                </a:cubicBezTo>
                <a:cubicBezTo>
                  <a:pt x="64" y="215"/>
                  <a:pt x="64" y="215"/>
                  <a:pt x="64" y="215"/>
                </a:cubicBezTo>
                <a:cubicBezTo>
                  <a:pt x="64" y="399"/>
                  <a:pt x="64" y="399"/>
                  <a:pt x="64" y="399"/>
                </a:cubicBezTo>
                <a:cubicBezTo>
                  <a:pt x="49" y="399"/>
                  <a:pt x="49" y="399"/>
                  <a:pt x="49" y="399"/>
                </a:cubicBezTo>
                <a:cubicBezTo>
                  <a:pt x="23" y="399"/>
                  <a:pt x="3" y="420"/>
                  <a:pt x="3" y="445"/>
                </a:cubicBezTo>
                <a:cubicBezTo>
                  <a:pt x="3" y="470"/>
                  <a:pt x="23" y="491"/>
                  <a:pt x="49" y="491"/>
                </a:cubicBezTo>
                <a:cubicBezTo>
                  <a:pt x="418" y="491"/>
                  <a:pt x="418" y="491"/>
                  <a:pt x="418" y="491"/>
                </a:cubicBezTo>
                <a:cubicBezTo>
                  <a:pt x="443" y="491"/>
                  <a:pt x="464" y="470"/>
                  <a:pt x="464" y="445"/>
                </a:cubicBezTo>
                <a:cubicBezTo>
                  <a:pt x="464" y="420"/>
                  <a:pt x="443" y="399"/>
                  <a:pt x="418" y="399"/>
                </a:cubicBezTo>
                <a:close/>
                <a:moveTo>
                  <a:pt x="34" y="183"/>
                </a:moveTo>
                <a:cubicBezTo>
                  <a:pt x="221" y="33"/>
                  <a:pt x="221" y="33"/>
                  <a:pt x="221" y="33"/>
                </a:cubicBezTo>
                <a:cubicBezTo>
                  <a:pt x="224" y="31"/>
                  <a:pt x="229" y="30"/>
                  <a:pt x="233" y="30"/>
                </a:cubicBezTo>
                <a:cubicBezTo>
                  <a:pt x="238" y="30"/>
                  <a:pt x="242" y="31"/>
                  <a:pt x="246" y="33"/>
                </a:cubicBezTo>
                <a:cubicBezTo>
                  <a:pt x="433" y="184"/>
                  <a:pt x="433" y="184"/>
                  <a:pt x="433" y="184"/>
                </a:cubicBezTo>
                <a:cubicBezTo>
                  <a:pt x="34" y="183"/>
                  <a:pt x="34" y="183"/>
                  <a:pt x="34" y="183"/>
                </a:cubicBezTo>
                <a:close/>
                <a:moveTo>
                  <a:pt x="371" y="215"/>
                </a:moveTo>
                <a:cubicBezTo>
                  <a:pt x="371" y="399"/>
                  <a:pt x="371" y="399"/>
                  <a:pt x="371" y="399"/>
                </a:cubicBezTo>
                <a:cubicBezTo>
                  <a:pt x="341" y="399"/>
                  <a:pt x="341" y="399"/>
                  <a:pt x="341" y="399"/>
                </a:cubicBezTo>
                <a:cubicBezTo>
                  <a:pt x="341" y="215"/>
                  <a:pt x="341" y="215"/>
                  <a:pt x="341" y="215"/>
                </a:cubicBezTo>
                <a:cubicBezTo>
                  <a:pt x="371" y="215"/>
                  <a:pt x="371" y="215"/>
                  <a:pt x="371" y="215"/>
                </a:cubicBezTo>
                <a:close/>
                <a:moveTo>
                  <a:pt x="310" y="215"/>
                </a:moveTo>
                <a:cubicBezTo>
                  <a:pt x="310" y="399"/>
                  <a:pt x="310" y="399"/>
                  <a:pt x="310" y="399"/>
                </a:cubicBezTo>
                <a:cubicBezTo>
                  <a:pt x="279" y="399"/>
                  <a:pt x="279" y="399"/>
                  <a:pt x="279" y="399"/>
                </a:cubicBezTo>
                <a:cubicBezTo>
                  <a:pt x="279" y="215"/>
                  <a:pt x="279" y="215"/>
                  <a:pt x="279" y="215"/>
                </a:cubicBezTo>
                <a:cubicBezTo>
                  <a:pt x="310" y="215"/>
                  <a:pt x="310" y="215"/>
                  <a:pt x="310" y="215"/>
                </a:cubicBezTo>
                <a:close/>
                <a:moveTo>
                  <a:pt x="249" y="215"/>
                </a:moveTo>
                <a:cubicBezTo>
                  <a:pt x="249" y="399"/>
                  <a:pt x="249" y="399"/>
                  <a:pt x="249" y="399"/>
                </a:cubicBezTo>
                <a:cubicBezTo>
                  <a:pt x="218" y="399"/>
                  <a:pt x="218" y="399"/>
                  <a:pt x="218" y="399"/>
                </a:cubicBezTo>
                <a:cubicBezTo>
                  <a:pt x="218" y="215"/>
                  <a:pt x="218" y="215"/>
                  <a:pt x="218" y="215"/>
                </a:cubicBezTo>
                <a:cubicBezTo>
                  <a:pt x="249" y="215"/>
                  <a:pt x="249" y="215"/>
                  <a:pt x="249" y="215"/>
                </a:cubicBezTo>
                <a:close/>
                <a:moveTo>
                  <a:pt x="187" y="215"/>
                </a:moveTo>
                <a:cubicBezTo>
                  <a:pt x="187" y="399"/>
                  <a:pt x="187" y="399"/>
                  <a:pt x="187" y="399"/>
                </a:cubicBezTo>
                <a:cubicBezTo>
                  <a:pt x="156" y="399"/>
                  <a:pt x="156" y="399"/>
                  <a:pt x="156" y="399"/>
                </a:cubicBezTo>
                <a:cubicBezTo>
                  <a:pt x="156" y="215"/>
                  <a:pt x="156" y="215"/>
                  <a:pt x="156" y="215"/>
                </a:cubicBezTo>
                <a:cubicBezTo>
                  <a:pt x="187" y="215"/>
                  <a:pt x="187" y="215"/>
                  <a:pt x="187" y="215"/>
                </a:cubicBezTo>
                <a:close/>
                <a:moveTo>
                  <a:pt x="126" y="215"/>
                </a:moveTo>
                <a:cubicBezTo>
                  <a:pt x="126" y="399"/>
                  <a:pt x="126" y="399"/>
                  <a:pt x="126" y="399"/>
                </a:cubicBezTo>
                <a:cubicBezTo>
                  <a:pt x="95" y="399"/>
                  <a:pt x="95" y="399"/>
                  <a:pt x="95" y="399"/>
                </a:cubicBezTo>
                <a:cubicBezTo>
                  <a:pt x="95" y="215"/>
                  <a:pt x="95" y="215"/>
                  <a:pt x="95" y="215"/>
                </a:cubicBezTo>
                <a:cubicBezTo>
                  <a:pt x="126" y="215"/>
                  <a:pt x="126" y="215"/>
                  <a:pt x="126" y="215"/>
                </a:cubicBezTo>
                <a:close/>
                <a:moveTo>
                  <a:pt x="418" y="460"/>
                </a:moveTo>
                <a:cubicBezTo>
                  <a:pt x="49" y="460"/>
                  <a:pt x="49" y="460"/>
                  <a:pt x="49" y="460"/>
                </a:cubicBezTo>
                <a:cubicBezTo>
                  <a:pt x="40" y="460"/>
                  <a:pt x="34" y="453"/>
                  <a:pt x="34" y="445"/>
                </a:cubicBezTo>
                <a:cubicBezTo>
                  <a:pt x="34" y="437"/>
                  <a:pt x="40" y="430"/>
                  <a:pt x="49" y="430"/>
                </a:cubicBezTo>
                <a:cubicBezTo>
                  <a:pt x="418" y="430"/>
                  <a:pt x="418" y="430"/>
                  <a:pt x="418" y="430"/>
                </a:cubicBezTo>
                <a:cubicBezTo>
                  <a:pt x="426" y="430"/>
                  <a:pt x="433" y="437"/>
                  <a:pt x="433" y="445"/>
                </a:cubicBezTo>
                <a:cubicBezTo>
                  <a:pt x="433" y="453"/>
                  <a:pt x="426" y="460"/>
                  <a:pt x="418" y="4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65E5C89C-FF1F-40C5-888F-913C9BE33321}"/>
              </a:ext>
            </a:extLst>
          </p:cNvPr>
          <p:cNvSpPr/>
          <p:nvPr/>
        </p:nvSpPr>
        <p:spPr bwMode="auto">
          <a:xfrm>
            <a:off x="4734366" y="4095628"/>
            <a:ext cx="370293" cy="390105"/>
          </a:xfrm>
          <a:custGeom>
            <a:avLst/>
            <a:gdLst>
              <a:gd name="T0" fmla="*/ 126 w 466"/>
              <a:gd name="T1" fmla="*/ 153 h 491"/>
              <a:gd name="T2" fmla="*/ 233 w 466"/>
              <a:gd name="T3" fmla="*/ 61 h 491"/>
              <a:gd name="T4" fmla="*/ 258 w 466"/>
              <a:gd name="T5" fmla="*/ 122 h 491"/>
              <a:gd name="T6" fmla="*/ 233 w 466"/>
              <a:gd name="T7" fmla="*/ 101 h 491"/>
              <a:gd name="T8" fmla="*/ 402 w 466"/>
              <a:gd name="T9" fmla="*/ 399 h 491"/>
              <a:gd name="T10" fmla="*/ 433 w 466"/>
              <a:gd name="T11" fmla="*/ 215 h 491"/>
              <a:gd name="T12" fmla="*/ 452 w 466"/>
              <a:gd name="T13" fmla="*/ 160 h 491"/>
              <a:gd name="T14" fmla="*/ 233 w 466"/>
              <a:gd name="T15" fmla="*/ 0 h 491"/>
              <a:gd name="T16" fmla="*/ 15 w 466"/>
              <a:gd name="T17" fmla="*/ 160 h 491"/>
              <a:gd name="T18" fmla="*/ 34 w 466"/>
              <a:gd name="T19" fmla="*/ 215 h 491"/>
              <a:gd name="T20" fmla="*/ 64 w 466"/>
              <a:gd name="T21" fmla="*/ 399 h 491"/>
              <a:gd name="T22" fmla="*/ 3 w 466"/>
              <a:gd name="T23" fmla="*/ 445 h 491"/>
              <a:gd name="T24" fmla="*/ 418 w 466"/>
              <a:gd name="T25" fmla="*/ 491 h 491"/>
              <a:gd name="T26" fmla="*/ 418 w 466"/>
              <a:gd name="T27" fmla="*/ 399 h 491"/>
              <a:gd name="T28" fmla="*/ 221 w 466"/>
              <a:gd name="T29" fmla="*/ 33 h 491"/>
              <a:gd name="T30" fmla="*/ 246 w 466"/>
              <a:gd name="T31" fmla="*/ 33 h 491"/>
              <a:gd name="T32" fmla="*/ 34 w 466"/>
              <a:gd name="T33" fmla="*/ 183 h 491"/>
              <a:gd name="T34" fmla="*/ 371 w 466"/>
              <a:gd name="T35" fmla="*/ 399 h 491"/>
              <a:gd name="T36" fmla="*/ 341 w 466"/>
              <a:gd name="T37" fmla="*/ 215 h 491"/>
              <a:gd name="T38" fmla="*/ 310 w 466"/>
              <a:gd name="T39" fmla="*/ 215 h 491"/>
              <a:gd name="T40" fmla="*/ 279 w 466"/>
              <a:gd name="T41" fmla="*/ 399 h 491"/>
              <a:gd name="T42" fmla="*/ 310 w 466"/>
              <a:gd name="T43" fmla="*/ 215 h 491"/>
              <a:gd name="T44" fmla="*/ 249 w 466"/>
              <a:gd name="T45" fmla="*/ 399 h 491"/>
              <a:gd name="T46" fmla="*/ 218 w 466"/>
              <a:gd name="T47" fmla="*/ 215 h 491"/>
              <a:gd name="T48" fmla="*/ 187 w 466"/>
              <a:gd name="T49" fmla="*/ 215 h 491"/>
              <a:gd name="T50" fmla="*/ 156 w 466"/>
              <a:gd name="T51" fmla="*/ 399 h 491"/>
              <a:gd name="T52" fmla="*/ 187 w 466"/>
              <a:gd name="T53" fmla="*/ 215 h 491"/>
              <a:gd name="T54" fmla="*/ 126 w 466"/>
              <a:gd name="T55" fmla="*/ 399 h 491"/>
              <a:gd name="T56" fmla="*/ 95 w 466"/>
              <a:gd name="T57" fmla="*/ 215 h 491"/>
              <a:gd name="T58" fmla="*/ 418 w 466"/>
              <a:gd name="T59" fmla="*/ 460 h 491"/>
              <a:gd name="T60" fmla="*/ 34 w 466"/>
              <a:gd name="T61" fmla="*/ 445 h 491"/>
              <a:gd name="T62" fmla="*/ 418 w 466"/>
              <a:gd name="T63" fmla="*/ 430 h 491"/>
              <a:gd name="T64" fmla="*/ 418 w 466"/>
              <a:gd name="T65" fmla="*/ 4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66" h="491">
                <a:moveTo>
                  <a:pt x="233" y="61"/>
                </a:moveTo>
                <a:cubicBezTo>
                  <a:pt x="126" y="153"/>
                  <a:pt x="126" y="153"/>
                  <a:pt x="126" y="153"/>
                </a:cubicBezTo>
                <a:cubicBezTo>
                  <a:pt x="341" y="153"/>
                  <a:pt x="341" y="153"/>
                  <a:pt x="341" y="153"/>
                </a:cubicBezTo>
                <a:cubicBezTo>
                  <a:pt x="233" y="61"/>
                  <a:pt x="233" y="61"/>
                  <a:pt x="233" y="61"/>
                </a:cubicBezTo>
                <a:close/>
                <a:moveTo>
                  <a:pt x="233" y="101"/>
                </a:moveTo>
                <a:cubicBezTo>
                  <a:pt x="258" y="122"/>
                  <a:pt x="258" y="122"/>
                  <a:pt x="258" y="122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33" y="101"/>
                  <a:pt x="233" y="101"/>
                  <a:pt x="233" y="101"/>
                </a:cubicBezTo>
                <a:close/>
                <a:moveTo>
                  <a:pt x="418" y="399"/>
                </a:moveTo>
                <a:cubicBezTo>
                  <a:pt x="402" y="399"/>
                  <a:pt x="402" y="399"/>
                  <a:pt x="402" y="399"/>
                </a:cubicBezTo>
                <a:cubicBezTo>
                  <a:pt x="402" y="215"/>
                  <a:pt x="402" y="215"/>
                  <a:pt x="402" y="215"/>
                </a:cubicBezTo>
                <a:cubicBezTo>
                  <a:pt x="433" y="215"/>
                  <a:pt x="433" y="215"/>
                  <a:pt x="433" y="215"/>
                </a:cubicBezTo>
                <a:cubicBezTo>
                  <a:pt x="446" y="215"/>
                  <a:pt x="458" y="206"/>
                  <a:pt x="462" y="194"/>
                </a:cubicBezTo>
                <a:cubicBezTo>
                  <a:pt x="466" y="181"/>
                  <a:pt x="462" y="168"/>
                  <a:pt x="452" y="160"/>
                </a:cubicBezTo>
                <a:cubicBezTo>
                  <a:pt x="263" y="7"/>
                  <a:pt x="263" y="7"/>
                  <a:pt x="263" y="7"/>
                </a:cubicBezTo>
                <a:cubicBezTo>
                  <a:pt x="253" y="2"/>
                  <a:pt x="243" y="0"/>
                  <a:pt x="233" y="0"/>
                </a:cubicBezTo>
                <a:cubicBezTo>
                  <a:pt x="223" y="0"/>
                  <a:pt x="213" y="2"/>
                  <a:pt x="204" y="7"/>
                </a:cubicBezTo>
                <a:cubicBezTo>
                  <a:pt x="15" y="160"/>
                  <a:pt x="15" y="160"/>
                  <a:pt x="15" y="160"/>
                </a:cubicBezTo>
                <a:cubicBezTo>
                  <a:pt x="4" y="168"/>
                  <a:pt x="0" y="181"/>
                  <a:pt x="4" y="194"/>
                </a:cubicBezTo>
                <a:cubicBezTo>
                  <a:pt x="9" y="206"/>
                  <a:pt x="20" y="215"/>
                  <a:pt x="34" y="215"/>
                </a:cubicBezTo>
                <a:cubicBezTo>
                  <a:pt x="64" y="215"/>
                  <a:pt x="64" y="215"/>
                  <a:pt x="64" y="215"/>
                </a:cubicBezTo>
                <a:cubicBezTo>
                  <a:pt x="64" y="399"/>
                  <a:pt x="64" y="399"/>
                  <a:pt x="64" y="399"/>
                </a:cubicBezTo>
                <a:cubicBezTo>
                  <a:pt x="49" y="399"/>
                  <a:pt x="49" y="399"/>
                  <a:pt x="49" y="399"/>
                </a:cubicBezTo>
                <a:cubicBezTo>
                  <a:pt x="23" y="399"/>
                  <a:pt x="3" y="420"/>
                  <a:pt x="3" y="445"/>
                </a:cubicBezTo>
                <a:cubicBezTo>
                  <a:pt x="3" y="470"/>
                  <a:pt x="23" y="491"/>
                  <a:pt x="49" y="491"/>
                </a:cubicBezTo>
                <a:cubicBezTo>
                  <a:pt x="418" y="491"/>
                  <a:pt x="418" y="491"/>
                  <a:pt x="418" y="491"/>
                </a:cubicBezTo>
                <a:cubicBezTo>
                  <a:pt x="443" y="491"/>
                  <a:pt x="464" y="470"/>
                  <a:pt x="464" y="445"/>
                </a:cubicBezTo>
                <a:cubicBezTo>
                  <a:pt x="464" y="420"/>
                  <a:pt x="443" y="399"/>
                  <a:pt x="418" y="399"/>
                </a:cubicBezTo>
                <a:close/>
                <a:moveTo>
                  <a:pt x="34" y="183"/>
                </a:moveTo>
                <a:cubicBezTo>
                  <a:pt x="221" y="33"/>
                  <a:pt x="221" y="33"/>
                  <a:pt x="221" y="33"/>
                </a:cubicBezTo>
                <a:cubicBezTo>
                  <a:pt x="224" y="31"/>
                  <a:pt x="229" y="30"/>
                  <a:pt x="233" y="30"/>
                </a:cubicBezTo>
                <a:cubicBezTo>
                  <a:pt x="238" y="30"/>
                  <a:pt x="242" y="31"/>
                  <a:pt x="246" y="33"/>
                </a:cubicBezTo>
                <a:cubicBezTo>
                  <a:pt x="433" y="184"/>
                  <a:pt x="433" y="184"/>
                  <a:pt x="433" y="184"/>
                </a:cubicBezTo>
                <a:cubicBezTo>
                  <a:pt x="34" y="183"/>
                  <a:pt x="34" y="183"/>
                  <a:pt x="34" y="183"/>
                </a:cubicBezTo>
                <a:close/>
                <a:moveTo>
                  <a:pt x="371" y="215"/>
                </a:moveTo>
                <a:cubicBezTo>
                  <a:pt x="371" y="399"/>
                  <a:pt x="371" y="399"/>
                  <a:pt x="371" y="399"/>
                </a:cubicBezTo>
                <a:cubicBezTo>
                  <a:pt x="341" y="399"/>
                  <a:pt x="341" y="399"/>
                  <a:pt x="341" y="399"/>
                </a:cubicBezTo>
                <a:cubicBezTo>
                  <a:pt x="341" y="215"/>
                  <a:pt x="341" y="215"/>
                  <a:pt x="341" y="215"/>
                </a:cubicBezTo>
                <a:cubicBezTo>
                  <a:pt x="371" y="215"/>
                  <a:pt x="371" y="215"/>
                  <a:pt x="371" y="215"/>
                </a:cubicBezTo>
                <a:close/>
                <a:moveTo>
                  <a:pt x="310" y="215"/>
                </a:moveTo>
                <a:cubicBezTo>
                  <a:pt x="310" y="399"/>
                  <a:pt x="310" y="399"/>
                  <a:pt x="310" y="399"/>
                </a:cubicBezTo>
                <a:cubicBezTo>
                  <a:pt x="279" y="399"/>
                  <a:pt x="279" y="399"/>
                  <a:pt x="279" y="399"/>
                </a:cubicBezTo>
                <a:cubicBezTo>
                  <a:pt x="279" y="215"/>
                  <a:pt x="279" y="215"/>
                  <a:pt x="279" y="215"/>
                </a:cubicBezTo>
                <a:cubicBezTo>
                  <a:pt x="310" y="215"/>
                  <a:pt x="310" y="215"/>
                  <a:pt x="310" y="215"/>
                </a:cubicBezTo>
                <a:close/>
                <a:moveTo>
                  <a:pt x="249" y="215"/>
                </a:moveTo>
                <a:cubicBezTo>
                  <a:pt x="249" y="399"/>
                  <a:pt x="249" y="399"/>
                  <a:pt x="249" y="399"/>
                </a:cubicBezTo>
                <a:cubicBezTo>
                  <a:pt x="218" y="399"/>
                  <a:pt x="218" y="399"/>
                  <a:pt x="218" y="399"/>
                </a:cubicBezTo>
                <a:cubicBezTo>
                  <a:pt x="218" y="215"/>
                  <a:pt x="218" y="215"/>
                  <a:pt x="218" y="215"/>
                </a:cubicBezTo>
                <a:cubicBezTo>
                  <a:pt x="249" y="215"/>
                  <a:pt x="249" y="215"/>
                  <a:pt x="249" y="215"/>
                </a:cubicBezTo>
                <a:close/>
                <a:moveTo>
                  <a:pt x="187" y="215"/>
                </a:moveTo>
                <a:cubicBezTo>
                  <a:pt x="187" y="399"/>
                  <a:pt x="187" y="399"/>
                  <a:pt x="187" y="399"/>
                </a:cubicBezTo>
                <a:cubicBezTo>
                  <a:pt x="156" y="399"/>
                  <a:pt x="156" y="399"/>
                  <a:pt x="156" y="399"/>
                </a:cubicBezTo>
                <a:cubicBezTo>
                  <a:pt x="156" y="215"/>
                  <a:pt x="156" y="215"/>
                  <a:pt x="156" y="215"/>
                </a:cubicBezTo>
                <a:cubicBezTo>
                  <a:pt x="187" y="215"/>
                  <a:pt x="187" y="215"/>
                  <a:pt x="187" y="215"/>
                </a:cubicBezTo>
                <a:close/>
                <a:moveTo>
                  <a:pt x="126" y="215"/>
                </a:moveTo>
                <a:cubicBezTo>
                  <a:pt x="126" y="399"/>
                  <a:pt x="126" y="399"/>
                  <a:pt x="126" y="399"/>
                </a:cubicBezTo>
                <a:cubicBezTo>
                  <a:pt x="95" y="399"/>
                  <a:pt x="95" y="399"/>
                  <a:pt x="95" y="399"/>
                </a:cubicBezTo>
                <a:cubicBezTo>
                  <a:pt x="95" y="215"/>
                  <a:pt x="95" y="215"/>
                  <a:pt x="95" y="215"/>
                </a:cubicBezTo>
                <a:cubicBezTo>
                  <a:pt x="126" y="215"/>
                  <a:pt x="126" y="215"/>
                  <a:pt x="126" y="215"/>
                </a:cubicBezTo>
                <a:close/>
                <a:moveTo>
                  <a:pt x="418" y="460"/>
                </a:moveTo>
                <a:cubicBezTo>
                  <a:pt x="49" y="460"/>
                  <a:pt x="49" y="460"/>
                  <a:pt x="49" y="460"/>
                </a:cubicBezTo>
                <a:cubicBezTo>
                  <a:pt x="40" y="460"/>
                  <a:pt x="34" y="453"/>
                  <a:pt x="34" y="445"/>
                </a:cubicBezTo>
                <a:cubicBezTo>
                  <a:pt x="34" y="437"/>
                  <a:pt x="40" y="430"/>
                  <a:pt x="49" y="430"/>
                </a:cubicBezTo>
                <a:cubicBezTo>
                  <a:pt x="418" y="430"/>
                  <a:pt x="418" y="430"/>
                  <a:pt x="418" y="430"/>
                </a:cubicBezTo>
                <a:cubicBezTo>
                  <a:pt x="426" y="430"/>
                  <a:pt x="433" y="437"/>
                  <a:pt x="433" y="445"/>
                </a:cubicBezTo>
                <a:cubicBezTo>
                  <a:pt x="433" y="453"/>
                  <a:pt x="426" y="460"/>
                  <a:pt x="418" y="4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316FB357-AF32-492D-9930-12DB4093729F}"/>
              </a:ext>
            </a:extLst>
          </p:cNvPr>
          <p:cNvSpPr/>
          <p:nvPr/>
        </p:nvSpPr>
        <p:spPr bwMode="auto">
          <a:xfrm>
            <a:off x="7097235" y="4095628"/>
            <a:ext cx="370293" cy="390105"/>
          </a:xfrm>
          <a:custGeom>
            <a:avLst/>
            <a:gdLst>
              <a:gd name="T0" fmla="*/ 126 w 466"/>
              <a:gd name="T1" fmla="*/ 153 h 491"/>
              <a:gd name="T2" fmla="*/ 233 w 466"/>
              <a:gd name="T3" fmla="*/ 61 h 491"/>
              <a:gd name="T4" fmla="*/ 258 w 466"/>
              <a:gd name="T5" fmla="*/ 122 h 491"/>
              <a:gd name="T6" fmla="*/ 233 w 466"/>
              <a:gd name="T7" fmla="*/ 101 h 491"/>
              <a:gd name="T8" fmla="*/ 402 w 466"/>
              <a:gd name="T9" fmla="*/ 399 h 491"/>
              <a:gd name="T10" fmla="*/ 433 w 466"/>
              <a:gd name="T11" fmla="*/ 215 h 491"/>
              <a:gd name="T12" fmla="*/ 452 w 466"/>
              <a:gd name="T13" fmla="*/ 160 h 491"/>
              <a:gd name="T14" fmla="*/ 233 w 466"/>
              <a:gd name="T15" fmla="*/ 0 h 491"/>
              <a:gd name="T16" fmla="*/ 15 w 466"/>
              <a:gd name="T17" fmla="*/ 160 h 491"/>
              <a:gd name="T18" fmla="*/ 34 w 466"/>
              <a:gd name="T19" fmla="*/ 215 h 491"/>
              <a:gd name="T20" fmla="*/ 64 w 466"/>
              <a:gd name="T21" fmla="*/ 399 h 491"/>
              <a:gd name="T22" fmla="*/ 3 w 466"/>
              <a:gd name="T23" fmla="*/ 445 h 491"/>
              <a:gd name="T24" fmla="*/ 418 w 466"/>
              <a:gd name="T25" fmla="*/ 491 h 491"/>
              <a:gd name="T26" fmla="*/ 418 w 466"/>
              <a:gd name="T27" fmla="*/ 399 h 491"/>
              <a:gd name="T28" fmla="*/ 221 w 466"/>
              <a:gd name="T29" fmla="*/ 33 h 491"/>
              <a:gd name="T30" fmla="*/ 246 w 466"/>
              <a:gd name="T31" fmla="*/ 33 h 491"/>
              <a:gd name="T32" fmla="*/ 34 w 466"/>
              <a:gd name="T33" fmla="*/ 183 h 491"/>
              <a:gd name="T34" fmla="*/ 371 w 466"/>
              <a:gd name="T35" fmla="*/ 399 h 491"/>
              <a:gd name="T36" fmla="*/ 341 w 466"/>
              <a:gd name="T37" fmla="*/ 215 h 491"/>
              <a:gd name="T38" fmla="*/ 310 w 466"/>
              <a:gd name="T39" fmla="*/ 215 h 491"/>
              <a:gd name="T40" fmla="*/ 279 w 466"/>
              <a:gd name="T41" fmla="*/ 399 h 491"/>
              <a:gd name="T42" fmla="*/ 310 w 466"/>
              <a:gd name="T43" fmla="*/ 215 h 491"/>
              <a:gd name="T44" fmla="*/ 249 w 466"/>
              <a:gd name="T45" fmla="*/ 399 h 491"/>
              <a:gd name="T46" fmla="*/ 218 w 466"/>
              <a:gd name="T47" fmla="*/ 215 h 491"/>
              <a:gd name="T48" fmla="*/ 187 w 466"/>
              <a:gd name="T49" fmla="*/ 215 h 491"/>
              <a:gd name="T50" fmla="*/ 156 w 466"/>
              <a:gd name="T51" fmla="*/ 399 h 491"/>
              <a:gd name="T52" fmla="*/ 187 w 466"/>
              <a:gd name="T53" fmla="*/ 215 h 491"/>
              <a:gd name="T54" fmla="*/ 126 w 466"/>
              <a:gd name="T55" fmla="*/ 399 h 491"/>
              <a:gd name="T56" fmla="*/ 95 w 466"/>
              <a:gd name="T57" fmla="*/ 215 h 491"/>
              <a:gd name="T58" fmla="*/ 418 w 466"/>
              <a:gd name="T59" fmla="*/ 460 h 491"/>
              <a:gd name="T60" fmla="*/ 34 w 466"/>
              <a:gd name="T61" fmla="*/ 445 h 491"/>
              <a:gd name="T62" fmla="*/ 418 w 466"/>
              <a:gd name="T63" fmla="*/ 430 h 491"/>
              <a:gd name="T64" fmla="*/ 418 w 466"/>
              <a:gd name="T65" fmla="*/ 4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66" h="491">
                <a:moveTo>
                  <a:pt x="233" y="61"/>
                </a:moveTo>
                <a:cubicBezTo>
                  <a:pt x="126" y="153"/>
                  <a:pt x="126" y="153"/>
                  <a:pt x="126" y="153"/>
                </a:cubicBezTo>
                <a:cubicBezTo>
                  <a:pt x="341" y="153"/>
                  <a:pt x="341" y="153"/>
                  <a:pt x="341" y="153"/>
                </a:cubicBezTo>
                <a:cubicBezTo>
                  <a:pt x="233" y="61"/>
                  <a:pt x="233" y="61"/>
                  <a:pt x="233" y="61"/>
                </a:cubicBezTo>
                <a:close/>
                <a:moveTo>
                  <a:pt x="233" y="101"/>
                </a:moveTo>
                <a:cubicBezTo>
                  <a:pt x="258" y="122"/>
                  <a:pt x="258" y="122"/>
                  <a:pt x="258" y="122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33" y="101"/>
                  <a:pt x="233" y="101"/>
                  <a:pt x="233" y="101"/>
                </a:cubicBezTo>
                <a:close/>
                <a:moveTo>
                  <a:pt x="418" y="399"/>
                </a:moveTo>
                <a:cubicBezTo>
                  <a:pt x="402" y="399"/>
                  <a:pt x="402" y="399"/>
                  <a:pt x="402" y="399"/>
                </a:cubicBezTo>
                <a:cubicBezTo>
                  <a:pt x="402" y="215"/>
                  <a:pt x="402" y="215"/>
                  <a:pt x="402" y="215"/>
                </a:cubicBezTo>
                <a:cubicBezTo>
                  <a:pt x="433" y="215"/>
                  <a:pt x="433" y="215"/>
                  <a:pt x="433" y="215"/>
                </a:cubicBezTo>
                <a:cubicBezTo>
                  <a:pt x="446" y="215"/>
                  <a:pt x="458" y="206"/>
                  <a:pt x="462" y="194"/>
                </a:cubicBezTo>
                <a:cubicBezTo>
                  <a:pt x="466" y="181"/>
                  <a:pt x="462" y="168"/>
                  <a:pt x="452" y="160"/>
                </a:cubicBezTo>
                <a:cubicBezTo>
                  <a:pt x="263" y="7"/>
                  <a:pt x="263" y="7"/>
                  <a:pt x="263" y="7"/>
                </a:cubicBezTo>
                <a:cubicBezTo>
                  <a:pt x="253" y="2"/>
                  <a:pt x="243" y="0"/>
                  <a:pt x="233" y="0"/>
                </a:cubicBezTo>
                <a:cubicBezTo>
                  <a:pt x="223" y="0"/>
                  <a:pt x="213" y="2"/>
                  <a:pt x="204" y="7"/>
                </a:cubicBezTo>
                <a:cubicBezTo>
                  <a:pt x="15" y="160"/>
                  <a:pt x="15" y="160"/>
                  <a:pt x="15" y="160"/>
                </a:cubicBezTo>
                <a:cubicBezTo>
                  <a:pt x="4" y="168"/>
                  <a:pt x="0" y="181"/>
                  <a:pt x="4" y="194"/>
                </a:cubicBezTo>
                <a:cubicBezTo>
                  <a:pt x="9" y="206"/>
                  <a:pt x="20" y="215"/>
                  <a:pt x="34" y="215"/>
                </a:cubicBezTo>
                <a:cubicBezTo>
                  <a:pt x="64" y="215"/>
                  <a:pt x="64" y="215"/>
                  <a:pt x="64" y="215"/>
                </a:cubicBezTo>
                <a:cubicBezTo>
                  <a:pt x="64" y="399"/>
                  <a:pt x="64" y="399"/>
                  <a:pt x="64" y="399"/>
                </a:cubicBezTo>
                <a:cubicBezTo>
                  <a:pt x="49" y="399"/>
                  <a:pt x="49" y="399"/>
                  <a:pt x="49" y="399"/>
                </a:cubicBezTo>
                <a:cubicBezTo>
                  <a:pt x="23" y="399"/>
                  <a:pt x="3" y="420"/>
                  <a:pt x="3" y="445"/>
                </a:cubicBezTo>
                <a:cubicBezTo>
                  <a:pt x="3" y="470"/>
                  <a:pt x="23" y="491"/>
                  <a:pt x="49" y="491"/>
                </a:cubicBezTo>
                <a:cubicBezTo>
                  <a:pt x="418" y="491"/>
                  <a:pt x="418" y="491"/>
                  <a:pt x="418" y="491"/>
                </a:cubicBezTo>
                <a:cubicBezTo>
                  <a:pt x="443" y="491"/>
                  <a:pt x="464" y="470"/>
                  <a:pt x="464" y="445"/>
                </a:cubicBezTo>
                <a:cubicBezTo>
                  <a:pt x="464" y="420"/>
                  <a:pt x="443" y="399"/>
                  <a:pt x="418" y="399"/>
                </a:cubicBezTo>
                <a:close/>
                <a:moveTo>
                  <a:pt x="34" y="183"/>
                </a:moveTo>
                <a:cubicBezTo>
                  <a:pt x="221" y="33"/>
                  <a:pt x="221" y="33"/>
                  <a:pt x="221" y="33"/>
                </a:cubicBezTo>
                <a:cubicBezTo>
                  <a:pt x="224" y="31"/>
                  <a:pt x="229" y="30"/>
                  <a:pt x="233" y="30"/>
                </a:cubicBezTo>
                <a:cubicBezTo>
                  <a:pt x="238" y="30"/>
                  <a:pt x="242" y="31"/>
                  <a:pt x="246" y="33"/>
                </a:cubicBezTo>
                <a:cubicBezTo>
                  <a:pt x="433" y="184"/>
                  <a:pt x="433" y="184"/>
                  <a:pt x="433" y="184"/>
                </a:cubicBezTo>
                <a:cubicBezTo>
                  <a:pt x="34" y="183"/>
                  <a:pt x="34" y="183"/>
                  <a:pt x="34" y="183"/>
                </a:cubicBezTo>
                <a:close/>
                <a:moveTo>
                  <a:pt x="371" y="215"/>
                </a:moveTo>
                <a:cubicBezTo>
                  <a:pt x="371" y="399"/>
                  <a:pt x="371" y="399"/>
                  <a:pt x="371" y="399"/>
                </a:cubicBezTo>
                <a:cubicBezTo>
                  <a:pt x="341" y="399"/>
                  <a:pt x="341" y="399"/>
                  <a:pt x="341" y="399"/>
                </a:cubicBezTo>
                <a:cubicBezTo>
                  <a:pt x="341" y="215"/>
                  <a:pt x="341" y="215"/>
                  <a:pt x="341" y="215"/>
                </a:cubicBezTo>
                <a:cubicBezTo>
                  <a:pt x="371" y="215"/>
                  <a:pt x="371" y="215"/>
                  <a:pt x="371" y="215"/>
                </a:cubicBezTo>
                <a:close/>
                <a:moveTo>
                  <a:pt x="310" y="215"/>
                </a:moveTo>
                <a:cubicBezTo>
                  <a:pt x="310" y="399"/>
                  <a:pt x="310" y="399"/>
                  <a:pt x="310" y="399"/>
                </a:cubicBezTo>
                <a:cubicBezTo>
                  <a:pt x="279" y="399"/>
                  <a:pt x="279" y="399"/>
                  <a:pt x="279" y="399"/>
                </a:cubicBezTo>
                <a:cubicBezTo>
                  <a:pt x="279" y="215"/>
                  <a:pt x="279" y="215"/>
                  <a:pt x="279" y="215"/>
                </a:cubicBezTo>
                <a:cubicBezTo>
                  <a:pt x="310" y="215"/>
                  <a:pt x="310" y="215"/>
                  <a:pt x="310" y="215"/>
                </a:cubicBezTo>
                <a:close/>
                <a:moveTo>
                  <a:pt x="249" y="215"/>
                </a:moveTo>
                <a:cubicBezTo>
                  <a:pt x="249" y="399"/>
                  <a:pt x="249" y="399"/>
                  <a:pt x="249" y="399"/>
                </a:cubicBezTo>
                <a:cubicBezTo>
                  <a:pt x="218" y="399"/>
                  <a:pt x="218" y="399"/>
                  <a:pt x="218" y="399"/>
                </a:cubicBezTo>
                <a:cubicBezTo>
                  <a:pt x="218" y="215"/>
                  <a:pt x="218" y="215"/>
                  <a:pt x="218" y="215"/>
                </a:cubicBezTo>
                <a:cubicBezTo>
                  <a:pt x="249" y="215"/>
                  <a:pt x="249" y="215"/>
                  <a:pt x="249" y="215"/>
                </a:cubicBezTo>
                <a:close/>
                <a:moveTo>
                  <a:pt x="187" y="215"/>
                </a:moveTo>
                <a:cubicBezTo>
                  <a:pt x="187" y="399"/>
                  <a:pt x="187" y="399"/>
                  <a:pt x="187" y="399"/>
                </a:cubicBezTo>
                <a:cubicBezTo>
                  <a:pt x="156" y="399"/>
                  <a:pt x="156" y="399"/>
                  <a:pt x="156" y="399"/>
                </a:cubicBezTo>
                <a:cubicBezTo>
                  <a:pt x="156" y="215"/>
                  <a:pt x="156" y="215"/>
                  <a:pt x="156" y="215"/>
                </a:cubicBezTo>
                <a:cubicBezTo>
                  <a:pt x="187" y="215"/>
                  <a:pt x="187" y="215"/>
                  <a:pt x="187" y="215"/>
                </a:cubicBezTo>
                <a:close/>
                <a:moveTo>
                  <a:pt x="126" y="215"/>
                </a:moveTo>
                <a:cubicBezTo>
                  <a:pt x="126" y="399"/>
                  <a:pt x="126" y="399"/>
                  <a:pt x="126" y="399"/>
                </a:cubicBezTo>
                <a:cubicBezTo>
                  <a:pt x="95" y="399"/>
                  <a:pt x="95" y="399"/>
                  <a:pt x="95" y="399"/>
                </a:cubicBezTo>
                <a:cubicBezTo>
                  <a:pt x="95" y="215"/>
                  <a:pt x="95" y="215"/>
                  <a:pt x="95" y="215"/>
                </a:cubicBezTo>
                <a:cubicBezTo>
                  <a:pt x="126" y="215"/>
                  <a:pt x="126" y="215"/>
                  <a:pt x="126" y="215"/>
                </a:cubicBezTo>
                <a:close/>
                <a:moveTo>
                  <a:pt x="418" y="460"/>
                </a:moveTo>
                <a:cubicBezTo>
                  <a:pt x="49" y="460"/>
                  <a:pt x="49" y="460"/>
                  <a:pt x="49" y="460"/>
                </a:cubicBezTo>
                <a:cubicBezTo>
                  <a:pt x="40" y="460"/>
                  <a:pt x="34" y="453"/>
                  <a:pt x="34" y="445"/>
                </a:cubicBezTo>
                <a:cubicBezTo>
                  <a:pt x="34" y="437"/>
                  <a:pt x="40" y="430"/>
                  <a:pt x="49" y="430"/>
                </a:cubicBezTo>
                <a:cubicBezTo>
                  <a:pt x="418" y="430"/>
                  <a:pt x="418" y="430"/>
                  <a:pt x="418" y="430"/>
                </a:cubicBezTo>
                <a:cubicBezTo>
                  <a:pt x="426" y="430"/>
                  <a:pt x="433" y="437"/>
                  <a:pt x="433" y="445"/>
                </a:cubicBezTo>
                <a:cubicBezTo>
                  <a:pt x="433" y="453"/>
                  <a:pt x="426" y="460"/>
                  <a:pt x="418" y="4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09F1999F-8340-46F8-BD0A-533FFE11B4A9}"/>
              </a:ext>
            </a:extLst>
          </p:cNvPr>
          <p:cNvSpPr/>
          <p:nvPr/>
        </p:nvSpPr>
        <p:spPr bwMode="auto">
          <a:xfrm>
            <a:off x="5917267" y="4802401"/>
            <a:ext cx="370293" cy="390105"/>
          </a:xfrm>
          <a:custGeom>
            <a:avLst/>
            <a:gdLst>
              <a:gd name="T0" fmla="*/ 126 w 466"/>
              <a:gd name="T1" fmla="*/ 153 h 491"/>
              <a:gd name="T2" fmla="*/ 233 w 466"/>
              <a:gd name="T3" fmla="*/ 61 h 491"/>
              <a:gd name="T4" fmla="*/ 258 w 466"/>
              <a:gd name="T5" fmla="*/ 122 h 491"/>
              <a:gd name="T6" fmla="*/ 233 w 466"/>
              <a:gd name="T7" fmla="*/ 101 h 491"/>
              <a:gd name="T8" fmla="*/ 402 w 466"/>
              <a:gd name="T9" fmla="*/ 399 h 491"/>
              <a:gd name="T10" fmla="*/ 433 w 466"/>
              <a:gd name="T11" fmla="*/ 215 h 491"/>
              <a:gd name="T12" fmla="*/ 452 w 466"/>
              <a:gd name="T13" fmla="*/ 160 h 491"/>
              <a:gd name="T14" fmla="*/ 233 w 466"/>
              <a:gd name="T15" fmla="*/ 0 h 491"/>
              <a:gd name="T16" fmla="*/ 15 w 466"/>
              <a:gd name="T17" fmla="*/ 160 h 491"/>
              <a:gd name="T18" fmla="*/ 34 w 466"/>
              <a:gd name="T19" fmla="*/ 215 h 491"/>
              <a:gd name="T20" fmla="*/ 64 w 466"/>
              <a:gd name="T21" fmla="*/ 399 h 491"/>
              <a:gd name="T22" fmla="*/ 3 w 466"/>
              <a:gd name="T23" fmla="*/ 445 h 491"/>
              <a:gd name="T24" fmla="*/ 418 w 466"/>
              <a:gd name="T25" fmla="*/ 491 h 491"/>
              <a:gd name="T26" fmla="*/ 418 w 466"/>
              <a:gd name="T27" fmla="*/ 399 h 491"/>
              <a:gd name="T28" fmla="*/ 221 w 466"/>
              <a:gd name="T29" fmla="*/ 33 h 491"/>
              <a:gd name="T30" fmla="*/ 246 w 466"/>
              <a:gd name="T31" fmla="*/ 33 h 491"/>
              <a:gd name="T32" fmla="*/ 34 w 466"/>
              <a:gd name="T33" fmla="*/ 183 h 491"/>
              <a:gd name="T34" fmla="*/ 371 w 466"/>
              <a:gd name="T35" fmla="*/ 399 h 491"/>
              <a:gd name="T36" fmla="*/ 341 w 466"/>
              <a:gd name="T37" fmla="*/ 215 h 491"/>
              <a:gd name="T38" fmla="*/ 310 w 466"/>
              <a:gd name="T39" fmla="*/ 215 h 491"/>
              <a:gd name="T40" fmla="*/ 279 w 466"/>
              <a:gd name="T41" fmla="*/ 399 h 491"/>
              <a:gd name="T42" fmla="*/ 310 w 466"/>
              <a:gd name="T43" fmla="*/ 215 h 491"/>
              <a:gd name="T44" fmla="*/ 249 w 466"/>
              <a:gd name="T45" fmla="*/ 399 h 491"/>
              <a:gd name="T46" fmla="*/ 218 w 466"/>
              <a:gd name="T47" fmla="*/ 215 h 491"/>
              <a:gd name="T48" fmla="*/ 187 w 466"/>
              <a:gd name="T49" fmla="*/ 215 h 491"/>
              <a:gd name="T50" fmla="*/ 156 w 466"/>
              <a:gd name="T51" fmla="*/ 399 h 491"/>
              <a:gd name="T52" fmla="*/ 187 w 466"/>
              <a:gd name="T53" fmla="*/ 215 h 491"/>
              <a:gd name="T54" fmla="*/ 126 w 466"/>
              <a:gd name="T55" fmla="*/ 399 h 491"/>
              <a:gd name="T56" fmla="*/ 95 w 466"/>
              <a:gd name="T57" fmla="*/ 215 h 491"/>
              <a:gd name="T58" fmla="*/ 418 w 466"/>
              <a:gd name="T59" fmla="*/ 460 h 491"/>
              <a:gd name="T60" fmla="*/ 34 w 466"/>
              <a:gd name="T61" fmla="*/ 445 h 491"/>
              <a:gd name="T62" fmla="*/ 418 w 466"/>
              <a:gd name="T63" fmla="*/ 430 h 491"/>
              <a:gd name="T64" fmla="*/ 418 w 466"/>
              <a:gd name="T65" fmla="*/ 460 h 4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66" h="491">
                <a:moveTo>
                  <a:pt x="233" y="61"/>
                </a:moveTo>
                <a:cubicBezTo>
                  <a:pt x="126" y="153"/>
                  <a:pt x="126" y="153"/>
                  <a:pt x="126" y="153"/>
                </a:cubicBezTo>
                <a:cubicBezTo>
                  <a:pt x="341" y="153"/>
                  <a:pt x="341" y="153"/>
                  <a:pt x="341" y="153"/>
                </a:cubicBezTo>
                <a:cubicBezTo>
                  <a:pt x="233" y="61"/>
                  <a:pt x="233" y="61"/>
                  <a:pt x="233" y="61"/>
                </a:cubicBezTo>
                <a:close/>
                <a:moveTo>
                  <a:pt x="233" y="101"/>
                </a:moveTo>
                <a:cubicBezTo>
                  <a:pt x="258" y="122"/>
                  <a:pt x="258" y="122"/>
                  <a:pt x="258" y="122"/>
                </a:cubicBezTo>
                <a:cubicBezTo>
                  <a:pt x="209" y="122"/>
                  <a:pt x="209" y="122"/>
                  <a:pt x="209" y="122"/>
                </a:cubicBezTo>
                <a:cubicBezTo>
                  <a:pt x="233" y="101"/>
                  <a:pt x="233" y="101"/>
                  <a:pt x="233" y="101"/>
                </a:cubicBezTo>
                <a:close/>
                <a:moveTo>
                  <a:pt x="418" y="399"/>
                </a:moveTo>
                <a:cubicBezTo>
                  <a:pt x="402" y="399"/>
                  <a:pt x="402" y="399"/>
                  <a:pt x="402" y="399"/>
                </a:cubicBezTo>
                <a:cubicBezTo>
                  <a:pt x="402" y="215"/>
                  <a:pt x="402" y="215"/>
                  <a:pt x="402" y="215"/>
                </a:cubicBezTo>
                <a:cubicBezTo>
                  <a:pt x="433" y="215"/>
                  <a:pt x="433" y="215"/>
                  <a:pt x="433" y="215"/>
                </a:cubicBezTo>
                <a:cubicBezTo>
                  <a:pt x="446" y="215"/>
                  <a:pt x="458" y="206"/>
                  <a:pt x="462" y="194"/>
                </a:cubicBezTo>
                <a:cubicBezTo>
                  <a:pt x="466" y="181"/>
                  <a:pt x="462" y="168"/>
                  <a:pt x="452" y="160"/>
                </a:cubicBezTo>
                <a:cubicBezTo>
                  <a:pt x="263" y="7"/>
                  <a:pt x="263" y="7"/>
                  <a:pt x="263" y="7"/>
                </a:cubicBezTo>
                <a:cubicBezTo>
                  <a:pt x="253" y="2"/>
                  <a:pt x="243" y="0"/>
                  <a:pt x="233" y="0"/>
                </a:cubicBezTo>
                <a:cubicBezTo>
                  <a:pt x="223" y="0"/>
                  <a:pt x="213" y="2"/>
                  <a:pt x="204" y="7"/>
                </a:cubicBezTo>
                <a:cubicBezTo>
                  <a:pt x="15" y="160"/>
                  <a:pt x="15" y="160"/>
                  <a:pt x="15" y="160"/>
                </a:cubicBezTo>
                <a:cubicBezTo>
                  <a:pt x="4" y="168"/>
                  <a:pt x="0" y="181"/>
                  <a:pt x="4" y="194"/>
                </a:cubicBezTo>
                <a:cubicBezTo>
                  <a:pt x="9" y="206"/>
                  <a:pt x="20" y="215"/>
                  <a:pt x="34" y="215"/>
                </a:cubicBezTo>
                <a:cubicBezTo>
                  <a:pt x="64" y="215"/>
                  <a:pt x="64" y="215"/>
                  <a:pt x="64" y="215"/>
                </a:cubicBezTo>
                <a:cubicBezTo>
                  <a:pt x="64" y="399"/>
                  <a:pt x="64" y="399"/>
                  <a:pt x="64" y="399"/>
                </a:cubicBezTo>
                <a:cubicBezTo>
                  <a:pt x="49" y="399"/>
                  <a:pt x="49" y="399"/>
                  <a:pt x="49" y="399"/>
                </a:cubicBezTo>
                <a:cubicBezTo>
                  <a:pt x="23" y="399"/>
                  <a:pt x="3" y="420"/>
                  <a:pt x="3" y="445"/>
                </a:cubicBezTo>
                <a:cubicBezTo>
                  <a:pt x="3" y="470"/>
                  <a:pt x="23" y="491"/>
                  <a:pt x="49" y="491"/>
                </a:cubicBezTo>
                <a:cubicBezTo>
                  <a:pt x="418" y="491"/>
                  <a:pt x="418" y="491"/>
                  <a:pt x="418" y="491"/>
                </a:cubicBezTo>
                <a:cubicBezTo>
                  <a:pt x="443" y="491"/>
                  <a:pt x="464" y="470"/>
                  <a:pt x="464" y="445"/>
                </a:cubicBezTo>
                <a:cubicBezTo>
                  <a:pt x="464" y="420"/>
                  <a:pt x="443" y="399"/>
                  <a:pt x="418" y="399"/>
                </a:cubicBezTo>
                <a:close/>
                <a:moveTo>
                  <a:pt x="34" y="183"/>
                </a:moveTo>
                <a:cubicBezTo>
                  <a:pt x="221" y="33"/>
                  <a:pt x="221" y="33"/>
                  <a:pt x="221" y="33"/>
                </a:cubicBezTo>
                <a:cubicBezTo>
                  <a:pt x="224" y="31"/>
                  <a:pt x="229" y="30"/>
                  <a:pt x="233" y="30"/>
                </a:cubicBezTo>
                <a:cubicBezTo>
                  <a:pt x="238" y="30"/>
                  <a:pt x="242" y="31"/>
                  <a:pt x="246" y="33"/>
                </a:cubicBezTo>
                <a:cubicBezTo>
                  <a:pt x="433" y="184"/>
                  <a:pt x="433" y="184"/>
                  <a:pt x="433" y="184"/>
                </a:cubicBezTo>
                <a:cubicBezTo>
                  <a:pt x="34" y="183"/>
                  <a:pt x="34" y="183"/>
                  <a:pt x="34" y="183"/>
                </a:cubicBezTo>
                <a:close/>
                <a:moveTo>
                  <a:pt x="371" y="215"/>
                </a:moveTo>
                <a:cubicBezTo>
                  <a:pt x="371" y="399"/>
                  <a:pt x="371" y="399"/>
                  <a:pt x="371" y="399"/>
                </a:cubicBezTo>
                <a:cubicBezTo>
                  <a:pt x="341" y="399"/>
                  <a:pt x="341" y="399"/>
                  <a:pt x="341" y="399"/>
                </a:cubicBezTo>
                <a:cubicBezTo>
                  <a:pt x="341" y="215"/>
                  <a:pt x="341" y="215"/>
                  <a:pt x="341" y="215"/>
                </a:cubicBezTo>
                <a:cubicBezTo>
                  <a:pt x="371" y="215"/>
                  <a:pt x="371" y="215"/>
                  <a:pt x="371" y="215"/>
                </a:cubicBezTo>
                <a:close/>
                <a:moveTo>
                  <a:pt x="310" y="215"/>
                </a:moveTo>
                <a:cubicBezTo>
                  <a:pt x="310" y="399"/>
                  <a:pt x="310" y="399"/>
                  <a:pt x="310" y="399"/>
                </a:cubicBezTo>
                <a:cubicBezTo>
                  <a:pt x="279" y="399"/>
                  <a:pt x="279" y="399"/>
                  <a:pt x="279" y="399"/>
                </a:cubicBezTo>
                <a:cubicBezTo>
                  <a:pt x="279" y="215"/>
                  <a:pt x="279" y="215"/>
                  <a:pt x="279" y="215"/>
                </a:cubicBezTo>
                <a:cubicBezTo>
                  <a:pt x="310" y="215"/>
                  <a:pt x="310" y="215"/>
                  <a:pt x="310" y="215"/>
                </a:cubicBezTo>
                <a:close/>
                <a:moveTo>
                  <a:pt x="249" y="215"/>
                </a:moveTo>
                <a:cubicBezTo>
                  <a:pt x="249" y="399"/>
                  <a:pt x="249" y="399"/>
                  <a:pt x="249" y="399"/>
                </a:cubicBezTo>
                <a:cubicBezTo>
                  <a:pt x="218" y="399"/>
                  <a:pt x="218" y="399"/>
                  <a:pt x="218" y="399"/>
                </a:cubicBezTo>
                <a:cubicBezTo>
                  <a:pt x="218" y="215"/>
                  <a:pt x="218" y="215"/>
                  <a:pt x="218" y="215"/>
                </a:cubicBezTo>
                <a:cubicBezTo>
                  <a:pt x="249" y="215"/>
                  <a:pt x="249" y="215"/>
                  <a:pt x="249" y="215"/>
                </a:cubicBezTo>
                <a:close/>
                <a:moveTo>
                  <a:pt x="187" y="215"/>
                </a:moveTo>
                <a:cubicBezTo>
                  <a:pt x="187" y="399"/>
                  <a:pt x="187" y="399"/>
                  <a:pt x="187" y="399"/>
                </a:cubicBezTo>
                <a:cubicBezTo>
                  <a:pt x="156" y="399"/>
                  <a:pt x="156" y="399"/>
                  <a:pt x="156" y="399"/>
                </a:cubicBezTo>
                <a:cubicBezTo>
                  <a:pt x="156" y="215"/>
                  <a:pt x="156" y="215"/>
                  <a:pt x="156" y="215"/>
                </a:cubicBezTo>
                <a:cubicBezTo>
                  <a:pt x="187" y="215"/>
                  <a:pt x="187" y="215"/>
                  <a:pt x="187" y="215"/>
                </a:cubicBezTo>
                <a:close/>
                <a:moveTo>
                  <a:pt x="126" y="215"/>
                </a:moveTo>
                <a:cubicBezTo>
                  <a:pt x="126" y="399"/>
                  <a:pt x="126" y="399"/>
                  <a:pt x="126" y="399"/>
                </a:cubicBezTo>
                <a:cubicBezTo>
                  <a:pt x="95" y="399"/>
                  <a:pt x="95" y="399"/>
                  <a:pt x="95" y="399"/>
                </a:cubicBezTo>
                <a:cubicBezTo>
                  <a:pt x="95" y="215"/>
                  <a:pt x="95" y="215"/>
                  <a:pt x="95" y="215"/>
                </a:cubicBezTo>
                <a:cubicBezTo>
                  <a:pt x="126" y="215"/>
                  <a:pt x="126" y="215"/>
                  <a:pt x="126" y="215"/>
                </a:cubicBezTo>
                <a:close/>
                <a:moveTo>
                  <a:pt x="418" y="460"/>
                </a:moveTo>
                <a:cubicBezTo>
                  <a:pt x="49" y="460"/>
                  <a:pt x="49" y="460"/>
                  <a:pt x="49" y="460"/>
                </a:cubicBezTo>
                <a:cubicBezTo>
                  <a:pt x="40" y="460"/>
                  <a:pt x="34" y="453"/>
                  <a:pt x="34" y="445"/>
                </a:cubicBezTo>
                <a:cubicBezTo>
                  <a:pt x="34" y="437"/>
                  <a:pt x="40" y="430"/>
                  <a:pt x="49" y="430"/>
                </a:cubicBezTo>
                <a:cubicBezTo>
                  <a:pt x="418" y="430"/>
                  <a:pt x="418" y="430"/>
                  <a:pt x="418" y="430"/>
                </a:cubicBezTo>
                <a:cubicBezTo>
                  <a:pt x="426" y="430"/>
                  <a:pt x="433" y="437"/>
                  <a:pt x="433" y="445"/>
                </a:cubicBezTo>
                <a:cubicBezTo>
                  <a:pt x="433" y="453"/>
                  <a:pt x="426" y="460"/>
                  <a:pt x="418" y="46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CBDF0B1-8CE5-4A2E-B957-D1646A23ED49}"/>
              </a:ext>
            </a:extLst>
          </p:cNvPr>
          <p:cNvSpPr/>
          <p:nvPr/>
        </p:nvSpPr>
        <p:spPr bwMode="auto">
          <a:xfrm>
            <a:off x="773532" y="2120735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4857C6A1-0E42-4ECC-AF5A-528512EE0BC6}"/>
              </a:ext>
            </a:extLst>
          </p:cNvPr>
          <p:cNvSpPr txBox="1"/>
          <p:nvPr/>
        </p:nvSpPr>
        <p:spPr bwMode="auto">
          <a:xfrm>
            <a:off x="773532" y="1707855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1CBAC79A-BD92-4517-80C7-7E44FF23B245}"/>
              </a:ext>
            </a:extLst>
          </p:cNvPr>
          <p:cNvSpPr/>
          <p:nvPr/>
        </p:nvSpPr>
        <p:spPr bwMode="auto">
          <a:xfrm>
            <a:off x="773532" y="362995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7934992-5652-449D-A753-A4F744D743CD}"/>
              </a:ext>
            </a:extLst>
          </p:cNvPr>
          <p:cNvSpPr txBox="1"/>
          <p:nvPr/>
        </p:nvSpPr>
        <p:spPr bwMode="auto">
          <a:xfrm>
            <a:off x="773532" y="3217079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45DD26B4-0331-4FD4-B380-228065C1F1F2}"/>
              </a:ext>
            </a:extLst>
          </p:cNvPr>
          <p:cNvSpPr/>
          <p:nvPr/>
        </p:nvSpPr>
        <p:spPr bwMode="auto">
          <a:xfrm>
            <a:off x="773532" y="5138360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61E33B57-DDBA-43CB-A2AC-34A5E432881F}"/>
              </a:ext>
            </a:extLst>
          </p:cNvPr>
          <p:cNvSpPr txBox="1"/>
          <p:nvPr/>
        </p:nvSpPr>
        <p:spPr bwMode="auto">
          <a:xfrm>
            <a:off x="773532" y="4725480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32" name="直接连接符 31">
            <a:extLst>
              <a:ext uri="{FF2B5EF4-FFF2-40B4-BE49-F238E27FC236}">
                <a16:creationId xmlns:a16="http://schemas.microsoft.com/office/drawing/2014/main" id="{E935BC04-B404-416E-A17A-230C39756C56}"/>
              </a:ext>
            </a:extLst>
          </p:cNvPr>
          <p:cNvCxnSpPr/>
          <p:nvPr/>
        </p:nvCxnSpPr>
        <p:spPr>
          <a:xfrm>
            <a:off x="876001" y="2829974"/>
            <a:ext cx="180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直接连接符 32">
            <a:extLst>
              <a:ext uri="{FF2B5EF4-FFF2-40B4-BE49-F238E27FC236}">
                <a16:creationId xmlns:a16="http://schemas.microsoft.com/office/drawing/2014/main" id="{DF69EC78-469B-40A9-BBA4-83AC0304D3A8}"/>
              </a:ext>
            </a:extLst>
          </p:cNvPr>
          <p:cNvCxnSpPr/>
          <p:nvPr/>
        </p:nvCxnSpPr>
        <p:spPr>
          <a:xfrm>
            <a:off x="876001" y="4349082"/>
            <a:ext cx="180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矩形 33">
            <a:extLst>
              <a:ext uri="{FF2B5EF4-FFF2-40B4-BE49-F238E27FC236}">
                <a16:creationId xmlns:a16="http://schemas.microsoft.com/office/drawing/2014/main" id="{6A7A37BD-003C-4176-A2AA-A356E0C2F7A2}"/>
              </a:ext>
            </a:extLst>
          </p:cNvPr>
          <p:cNvSpPr/>
          <p:nvPr/>
        </p:nvSpPr>
        <p:spPr bwMode="auto">
          <a:xfrm>
            <a:off x="9317375" y="2120735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B2B225D-F31B-4BD5-8BD1-4ECF133469D2}"/>
              </a:ext>
            </a:extLst>
          </p:cNvPr>
          <p:cNvSpPr txBox="1"/>
          <p:nvPr/>
        </p:nvSpPr>
        <p:spPr bwMode="auto">
          <a:xfrm>
            <a:off x="9317375" y="1707855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6726B13E-DD24-4E80-BD6E-A63149DDD9B4}"/>
              </a:ext>
            </a:extLst>
          </p:cNvPr>
          <p:cNvSpPr/>
          <p:nvPr/>
        </p:nvSpPr>
        <p:spPr bwMode="auto">
          <a:xfrm>
            <a:off x="9317375" y="3629958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968D2140-AB5D-470D-B820-BF7984123D7B}"/>
              </a:ext>
            </a:extLst>
          </p:cNvPr>
          <p:cNvSpPr txBox="1"/>
          <p:nvPr/>
        </p:nvSpPr>
        <p:spPr bwMode="auto">
          <a:xfrm>
            <a:off x="9317375" y="3217079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42E50C77-CDF8-4D03-A4A0-480B308E6846}"/>
              </a:ext>
            </a:extLst>
          </p:cNvPr>
          <p:cNvSpPr/>
          <p:nvPr/>
        </p:nvSpPr>
        <p:spPr bwMode="auto">
          <a:xfrm>
            <a:off x="9317375" y="5138360"/>
            <a:ext cx="210806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7A547665-5798-4B3B-92E2-B99E2BAC0291}"/>
              </a:ext>
            </a:extLst>
          </p:cNvPr>
          <p:cNvSpPr txBox="1"/>
          <p:nvPr/>
        </p:nvSpPr>
        <p:spPr bwMode="auto">
          <a:xfrm>
            <a:off x="9317375" y="4725480"/>
            <a:ext cx="2108063" cy="412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C05D9FA1-3B66-427C-9684-C939ADAB8283}"/>
              </a:ext>
            </a:extLst>
          </p:cNvPr>
          <p:cNvCxnSpPr/>
          <p:nvPr/>
        </p:nvCxnSpPr>
        <p:spPr>
          <a:xfrm>
            <a:off x="9419844" y="2829974"/>
            <a:ext cx="180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ABDAE291-E3EC-4E5D-974D-A2563BACC8EB}"/>
              </a:ext>
            </a:extLst>
          </p:cNvPr>
          <p:cNvCxnSpPr/>
          <p:nvPr/>
        </p:nvCxnSpPr>
        <p:spPr>
          <a:xfrm>
            <a:off x="9419844" y="4349082"/>
            <a:ext cx="18000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9826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 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49" name="矩形: 圆角 48">
            <a:extLst>
              <a:ext uri="{FF2B5EF4-FFF2-40B4-BE49-F238E27FC236}">
                <a16:creationId xmlns:a16="http://schemas.microsoft.com/office/drawing/2014/main" id="{FF09180F-294B-496D-94D5-173425C213F4}"/>
              </a:ext>
            </a:extLst>
          </p:cNvPr>
          <p:cNvSpPr/>
          <p:nvPr/>
        </p:nvSpPr>
        <p:spPr>
          <a:xfrm>
            <a:off x="673101" y="3599192"/>
            <a:ext cx="1264342" cy="42551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67" name="矩形: 圆角 66">
            <a:extLst>
              <a:ext uri="{FF2B5EF4-FFF2-40B4-BE49-F238E27FC236}">
                <a16:creationId xmlns:a16="http://schemas.microsoft.com/office/drawing/2014/main" id="{BC5730D6-BD85-4C56-A398-3BFEC6FCFD77}"/>
              </a:ext>
            </a:extLst>
          </p:cNvPr>
          <p:cNvSpPr/>
          <p:nvPr/>
        </p:nvSpPr>
        <p:spPr>
          <a:xfrm>
            <a:off x="1666063" y="4427994"/>
            <a:ext cx="3722484" cy="425512"/>
          </a:xfrm>
          <a:prstGeom prst="round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68" name="矩形: 圆角 67">
            <a:extLst>
              <a:ext uri="{FF2B5EF4-FFF2-40B4-BE49-F238E27FC236}">
                <a16:creationId xmlns:a16="http://schemas.microsoft.com/office/drawing/2014/main" id="{25A9AD22-4688-48C3-B84B-BB48B9B5B0A7}"/>
              </a:ext>
            </a:extLst>
          </p:cNvPr>
          <p:cNvSpPr/>
          <p:nvPr/>
        </p:nvSpPr>
        <p:spPr>
          <a:xfrm>
            <a:off x="1666063" y="5073054"/>
            <a:ext cx="3722484" cy="425512"/>
          </a:xfrm>
          <a:prstGeom prst="round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69" name="矩形: 圆角 68">
            <a:extLst>
              <a:ext uri="{FF2B5EF4-FFF2-40B4-BE49-F238E27FC236}">
                <a16:creationId xmlns:a16="http://schemas.microsoft.com/office/drawing/2014/main" id="{CC42751F-BA0F-4D5A-950C-50A1E2175318}"/>
              </a:ext>
            </a:extLst>
          </p:cNvPr>
          <p:cNvSpPr/>
          <p:nvPr/>
        </p:nvSpPr>
        <p:spPr>
          <a:xfrm>
            <a:off x="1666063" y="5718113"/>
            <a:ext cx="3722484" cy="425512"/>
          </a:xfrm>
          <a:prstGeom prst="round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/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51" name="矩形: 圆角 50">
            <a:extLst>
              <a:ext uri="{FF2B5EF4-FFF2-40B4-BE49-F238E27FC236}">
                <a16:creationId xmlns:a16="http://schemas.microsoft.com/office/drawing/2014/main" id="{7E196BFB-7DFD-4AD6-9E38-A59F453DBEF7}"/>
              </a:ext>
            </a:extLst>
          </p:cNvPr>
          <p:cNvSpPr/>
          <p:nvPr/>
        </p:nvSpPr>
        <p:spPr>
          <a:xfrm flipH="1">
            <a:off x="10254558" y="3599192"/>
            <a:ext cx="1264342" cy="425512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64" name="矩形: 圆角 63">
            <a:extLst>
              <a:ext uri="{FF2B5EF4-FFF2-40B4-BE49-F238E27FC236}">
                <a16:creationId xmlns:a16="http://schemas.microsoft.com/office/drawing/2014/main" id="{5E239D12-62DB-4A1F-99BA-A20A01D60348}"/>
              </a:ext>
            </a:extLst>
          </p:cNvPr>
          <p:cNvSpPr/>
          <p:nvPr/>
        </p:nvSpPr>
        <p:spPr>
          <a:xfrm flipH="1">
            <a:off x="6803453" y="4427994"/>
            <a:ext cx="3722484" cy="425512"/>
          </a:xfrm>
          <a:prstGeom prst="round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/>
          <a:p>
            <a:pPr algn="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65" name="矩形: 圆角 64">
            <a:extLst>
              <a:ext uri="{FF2B5EF4-FFF2-40B4-BE49-F238E27FC236}">
                <a16:creationId xmlns:a16="http://schemas.microsoft.com/office/drawing/2014/main" id="{EFC4FF36-0FF9-4689-BBB7-96FAF1A6C13F}"/>
              </a:ext>
            </a:extLst>
          </p:cNvPr>
          <p:cNvSpPr/>
          <p:nvPr/>
        </p:nvSpPr>
        <p:spPr>
          <a:xfrm flipH="1">
            <a:off x="6803453" y="5073054"/>
            <a:ext cx="3722484" cy="425512"/>
          </a:xfrm>
          <a:prstGeom prst="round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/>
          <a:p>
            <a:pPr algn="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66" name="矩形: 圆角 65">
            <a:extLst>
              <a:ext uri="{FF2B5EF4-FFF2-40B4-BE49-F238E27FC236}">
                <a16:creationId xmlns:a16="http://schemas.microsoft.com/office/drawing/2014/main" id="{E4B6815F-4338-4D10-8213-6BA4CA3CFA19}"/>
              </a:ext>
            </a:extLst>
          </p:cNvPr>
          <p:cNvSpPr/>
          <p:nvPr/>
        </p:nvSpPr>
        <p:spPr>
          <a:xfrm flipH="1">
            <a:off x="6803453" y="5718113"/>
            <a:ext cx="3722484" cy="425512"/>
          </a:xfrm>
          <a:prstGeom prst="roundRect">
            <a:avLst/>
          </a:prstGeom>
          <a:noFill/>
          <a:ln w="31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/>
          </a:bodyPr>
          <a:lstStyle/>
          <a:p>
            <a:pPr algn="r">
              <a:lnSpc>
                <a:spcPct val="120000"/>
              </a:lnSpc>
              <a:spcBef>
                <a:spcPct val="0"/>
              </a:spcBef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62" name="矩形 61">
            <a:extLst>
              <a:ext uri="{FF2B5EF4-FFF2-40B4-BE49-F238E27FC236}">
                <a16:creationId xmlns:a16="http://schemas.microsoft.com/office/drawing/2014/main" id="{09C7B5E1-B7E3-44E1-831F-E18767F10530}"/>
              </a:ext>
            </a:extLst>
          </p:cNvPr>
          <p:cNvSpPr/>
          <p:nvPr/>
        </p:nvSpPr>
        <p:spPr bwMode="auto">
          <a:xfrm>
            <a:off x="4681093" y="1544701"/>
            <a:ext cx="2829813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CFA0385B-C0EC-4B87-9229-DB3B2FEF85D0}"/>
              </a:ext>
            </a:extLst>
          </p:cNvPr>
          <p:cNvSpPr txBox="1"/>
          <p:nvPr/>
        </p:nvSpPr>
        <p:spPr bwMode="auto">
          <a:xfrm>
            <a:off x="4681093" y="1130300"/>
            <a:ext cx="2829813" cy="414401"/>
          </a:xfrm>
          <a:prstGeom prst="roundRect">
            <a:avLst>
              <a:gd name="adj" fmla="val 18852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  <a:endParaRPr lang="zh-CN" altLang="en-US" sz="1800" b="1" dirty="0">
              <a:cs typeface="+mn-ea"/>
              <a:sym typeface="+mn-lt"/>
            </a:endParaRPr>
          </a:p>
        </p:txBody>
      </p:sp>
      <p:cxnSp>
        <p:nvCxnSpPr>
          <p:cNvPr id="54" name="连接符: 肘形 53">
            <a:extLst>
              <a:ext uri="{FF2B5EF4-FFF2-40B4-BE49-F238E27FC236}">
                <a16:creationId xmlns:a16="http://schemas.microsoft.com/office/drawing/2014/main" id="{D68831D2-97F2-45C5-9081-DBE2C237F1EE}"/>
              </a:ext>
            </a:extLst>
          </p:cNvPr>
          <p:cNvCxnSpPr>
            <a:cxnSpLocks/>
            <a:stCxn id="62" idx="2"/>
            <a:endCxn id="49" idx="0"/>
          </p:cNvCxnSpPr>
          <p:nvPr/>
        </p:nvCxnSpPr>
        <p:spPr>
          <a:xfrm rot="5400000">
            <a:off x="2952090" y="455282"/>
            <a:ext cx="1497092" cy="4790728"/>
          </a:xfrm>
          <a:prstGeom prst="bentConnector3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连接符: 肘形 54">
            <a:extLst>
              <a:ext uri="{FF2B5EF4-FFF2-40B4-BE49-F238E27FC236}">
                <a16:creationId xmlns:a16="http://schemas.microsoft.com/office/drawing/2014/main" id="{3CA272C5-B2D5-4F23-A621-975E588B93E6}"/>
              </a:ext>
            </a:extLst>
          </p:cNvPr>
          <p:cNvCxnSpPr>
            <a:cxnSpLocks/>
            <a:stCxn id="62" idx="2"/>
            <a:endCxn id="51" idx="0"/>
          </p:cNvCxnSpPr>
          <p:nvPr/>
        </p:nvCxnSpPr>
        <p:spPr>
          <a:xfrm rot="16200000" flipH="1">
            <a:off x="7742818" y="455281"/>
            <a:ext cx="1497092" cy="4790729"/>
          </a:xfrm>
          <a:prstGeom prst="bentConnector3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连接符: 肘形 55">
            <a:extLst>
              <a:ext uri="{FF2B5EF4-FFF2-40B4-BE49-F238E27FC236}">
                <a16:creationId xmlns:a16="http://schemas.microsoft.com/office/drawing/2014/main" id="{7C054FED-0EB3-4E0C-9FB5-771B8D79DFF6}"/>
              </a:ext>
            </a:extLst>
          </p:cNvPr>
          <p:cNvCxnSpPr>
            <a:stCxn id="49" idx="2"/>
            <a:endCxn id="67" idx="1"/>
          </p:cNvCxnSpPr>
          <p:nvPr/>
        </p:nvCxnSpPr>
        <p:spPr>
          <a:xfrm rot="16200000" flipH="1">
            <a:off x="1177644" y="4152331"/>
            <a:ext cx="616046" cy="360791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连接符: 肘形 56">
            <a:extLst>
              <a:ext uri="{FF2B5EF4-FFF2-40B4-BE49-F238E27FC236}">
                <a16:creationId xmlns:a16="http://schemas.microsoft.com/office/drawing/2014/main" id="{90B31FED-25E8-49E9-9727-6A4406FC4EBA}"/>
              </a:ext>
            </a:extLst>
          </p:cNvPr>
          <p:cNvCxnSpPr>
            <a:stCxn id="49" idx="2"/>
            <a:endCxn id="68" idx="1"/>
          </p:cNvCxnSpPr>
          <p:nvPr/>
        </p:nvCxnSpPr>
        <p:spPr>
          <a:xfrm rot="16200000" flipH="1">
            <a:off x="855114" y="4474861"/>
            <a:ext cx="1261106" cy="360791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连接符: 肘形 57">
            <a:extLst>
              <a:ext uri="{FF2B5EF4-FFF2-40B4-BE49-F238E27FC236}">
                <a16:creationId xmlns:a16="http://schemas.microsoft.com/office/drawing/2014/main" id="{438F69AF-36AA-4F2D-9B0D-98603C1AAD93}"/>
              </a:ext>
            </a:extLst>
          </p:cNvPr>
          <p:cNvCxnSpPr>
            <a:stCxn id="49" idx="2"/>
            <a:endCxn id="69" idx="1"/>
          </p:cNvCxnSpPr>
          <p:nvPr/>
        </p:nvCxnSpPr>
        <p:spPr>
          <a:xfrm rot="16200000" flipH="1">
            <a:off x="532585" y="4797390"/>
            <a:ext cx="1906165" cy="360791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连接符: 肘形 58">
            <a:extLst>
              <a:ext uri="{FF2B5EF4-FFF2-40B4-BE49-F238E27FC236}">
                <a16:creationId xmlns:a16="http://schemas.microsoft.com/office/drawing/2014/main" id="{BAAC2FC7-431E-4931-B75B-73FED49C8847}"/>
              </a:ext>
            </a:extLst>
          </p:cNvPr>
          <p:cNvCxnSpPr>
            <a:stCxn id="51" idx="2"/>
            <a:endCxn id="64" idx="1"/>
          </p:cNvCxnSpPr>
          <p:nvPr/>
        </p:nvCxnSpPr>
        <p:spPr>
          <a:xfrm rot="5400000">
            <a:off x="10398310" y="4152331"/>
            <a:ext cx="616046" cy="360792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连接符: 肘形 59">
            <a:extLst>
              <a:ext uri="{FF2B5EF4-FFF2-40B4-BE49-F238E27FC236}">
                <a16:creationId xmlns:a16="http://schemas.microsoft.com/office/drawing/2014/main" id="{58445D9E-8E63-4023-860F-F9169FB70219}"/>
              </a:ext>
            </a:extLst>
          </p:cNvPr>
          <p:cNvCxnSpPr>
            <a:stCxn id="51" idx="2"/>
            <a:endCxn id="65" idx="1"/>
          </p:cNvCxnSpPr>
          <p:nvPr/>
        </p:nvCxnSpPr>
        <p:spPr>
          <a:xfrm rot="5400000">
            <a:off x="10075780" y="4474861"/>
            <a:ext cx="1261106" cy="360792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连接符: 肘形 60">
            <a:extLst>
              <a:ext uri="{FF2B5EF4-FFF2-40B4-BE49-F238E27FC236}">
                <a16:creationId xmlns:a16="http://schemas.microsoft.com/office/drawing/2014/main" id="{0E385614-9974-4013-AF00-A7095A1D1F5E}"/>
              </a:ext>
            </a:extLst>
          </p:cNvPr>
          <p:cNvCxnSpPr>
            <a:stCxn id="51" idx="2"/>
            <a:endCxn id="66" idx="1"/>
          </p:cNvCxnSpPr>
          <p:nvPr/>
        </p:nvCxnSpPr>
        <p:spPr>
          <a:xfrm rot="5400000">
            <a:off x="9753251" y="4797390"/>
            <a:ext cx="1906165" cy="360792"/>
          </a:xfrm>
          <a:prstGeom prst="bentConnector2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27649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6182962-00E3-407A-B37B-A007346FA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E3DDD15-4C74-49EA-97FC-3D4DED3862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6A4DF9C-D0DC-43EC-B0E8-4ACBD9976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C8DCF430-55BD-4819-9A2D-E435CCE90B22}"/>
              </a:ext>
            </a:extLst>
          </p:cNvPr>
          <p:cNvSpPr/>
          <p:nvPr/>
        </p:nvSpPr>
        <p:spPr>
          <a:xfrm>
            <a:off x="660400" y="1130300"/>
            <a:ext cx="10858500" cy="1996699"/>
          </a:xfrm>
          <a:prstGeom prst="rect">
            <a:avLst/>
          </a:prstGeom>
          <a:blipFill>
            <a:blip r:embed="rId2"/>
            <a:stretch>
              <a:fillRect t="-126707" b="-125102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DBCDFDD7-1FDD-4813-9D52-E58167D3340F}"/>
              </a:ext>
            </a:extLst>
          </p:cNvPr>
          <p:cNvSpPr/>
          <p:nvPr/>
        </p:nvSpPr>
        <p:spPr>
          <a:xfrm>
            <a:off x="660400" y="2709000"/>
            <a:ext cx="10858500" cy="417999"/>
          </a:xfrm>
          <a:prstGeom prst="rect">
            <a:avLst/>
          </a:prstGeom>
          <a:solidFill>
            <a:schemeClr val="accent1">
              <a:lumMod val="10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lvl="0" algn="ctr" defTabSz="914378">
              <a:defRPr/>
            </a:pPr>
            <a:r>
              <a:rPr lang="en-US" altLang="zh-CN" b="1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D818F77F-7A69-4806-A680-BFA3D888974B}"/>
              </a:ext>
            </a:extLst>
          </p:cNvPr>
          <p:cNvSpPr>
            <a:spLocks noChangeAspect="1"/>
          </p:cNvSpPr>
          <p:nvPr/>
        </p:nvSpPr>
        <p:spPr bwMode="auto">
          <a:xfrm>
            <a:off x="4595684" y="3653562"/>
            <a:ext cx="532526" cy="533106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lIns="91440" tIns="45720" rIns="91440" bIns="4572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7B6D97EA-982B-40BF-9FD2-9AE85B5DA88F}"/>
              </a:ext>
            </a:extLst>
          </p:cNvPr>
          <p:cNvSpPr>
            <a:spLocks noChangeAspect="1"/>
          </p:cNvSpPr>
          <p:nvPr/>
        </p:nvSpPr>
        <p:spPr bwMode="auto">
          <a:xfrm>
            <a:off x="7143329" y="3653562"/>
            <a:ext cx="532526" cy="533106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91440" tIns="45720" rIns="91440" bIns="4572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A17A0901-BD2D-418B-87AD-5981E562D249}"/>
              </a:ext>
            </a:extLst>
          </p:cNvPr>
          <p:cNvSpPr>
            <a:spLocks noChangeAspect="1"/>
          </p:cNvSpPr>
          <p:nvPr/>
        </p:nvSpPr>
        <p:spPr bwMode="auto">
          <a:xfrm>
            <a:off x="9690975" y="3653562"/>
            <a:ext cx="532526" cy="533106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91440" tIns="45720" rIns="91440" bIns="4572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6991FF0-7984-49F9-A115-060BE3728537}"/>
              </a:ext>
            </a:extLst>
          </p:cNvPr>
          <p:cNvSpPr>
            <a:spLocks noChangeAspect="1"/>
          </p:cNvSpPr>
          <p:nvPr/>
        </p:nvSpPr>
        <p:spPr bwMode="auto">
          <a:xfrm>
            <a:off x="2048039" y="3653562"/>
            <a:ext cx="532526" cy="533106"/>
          </a:xfrm>
          <a:custGeom>
            <a:avLst/>
            <a:gdLst>
              <a:gd name="T0" fmla="*/ 35 w 38"/>
              <a:gd name="T1" fmla="*/ 6 h 51"/>
              <a:gd name="T2" fmla="*/ 29 w 38"/>
              <a:gd name="T3" fmla="*/ 6 h 51"/>
              <a:gd name="T4" fmla="*/ 21 w 38"/>
              <a:gd name="T5" fmla="*/ 0 h 51"/>
              <a:gd name="T6" fmla="*/ 18 w 38"/>
              <a:gd name="T7" fmla="*/ 0 h 51"/>
              <a:gd name="T8" fmla="*/ 10 w 38"/>
              <a:gd name="T9" fmla="*/ 6 h 51"/>
              <a:gd name="T10" fmla="*/ 3 w 38"/>
              <a:gd name="T11" fmla="*/ 6 h 51"/>
              <a:gd name="T12" fmla="*/ 0 w 38"/>
              <a:gd name="T13" fmla="*/ 10 h 51"/>
              <a:gd name="T14" fmla="*/ 0 w 38"/>
              <a:gd name="T15" fmla="*/ 48 h 51"/>
              <a:gd name="T16" fmla="*/ 3 w 38"/>
              <a:gd name="T17" fmla="*/ 51 h 51"/>
              <a:gd name="T18" fmla="*/ 35 w 38"/>
              <a:gd name="T19" fmla="*/ 51 h 51"/>
              <a:gd name="T20" fmla="*/ 38 w 38"/>
              <a:gd name="T21" fmla="*/ 48 h 51"/>
              <a:gd name="T22" fmla="*/ 38 w 38"/>
              <a:gd name="T23" fmla="*/ 10 h 51"/>
              <a:gd name="T24" fmla="*/ 35 w 38"/>
              <a:gd name="T25" fmla="*/ 6 h 51"/>
              <a:gd name="T26" fmla="*/ 18 w 38"/>
              <a:gd name="T27" fmla="*/ 3 h 51"/>
              <a:gd name="T28" fmla="*/ 21 w 38"/>
              <a:gd name="T29" fmla="*/ 3 h 51"/>
              <a:gd name="T30" fmla="*/ 25 w 38"/>
              <a:gd name="T31" fmla="*/ 6 h 51"/>
              <a:gd name="T32" fmla="*/ 13 w 38"/>
              <a:gd name="T33" fmla="*/ 6 h 51"/>
              <a:gd name="T34" fmla="*/ 18 w 38"/>
              <a:gd name="T35" fmla="*/ 3 h 51"/>
              <a:gd name="T36" fmla="*/ 35 w 38"/>
              <a:gd name="T37" fmla="*/ 46 h 51"/>
              <a:gd name="T38" fmla="*/ 34 w 38"/>
              <a:gd name="T39" fmla="*/ 48 h 51"/>
              <a:gd name="T40" fmla="*/ 5 w 38"/>
              <a:gd name="T41" fmla="*/ 48 h 51"/>
              <a:gd name="T42" fmla="*/ 3 w 38"/>
              <a:gd name="T43" fmla="*/ 46 h 51"/>
              <a:gd name="T44" fmla="*/ 3 w 38"/>
              <a:gd name="T45" fmla="*/ 42 h 51"/>
              <a:gd name="T46" fmla="*/ 35 w 38"/>
              <a:gd name="T47" fmla="*/ 42 h 51"/>
              <a:gd name="T48" fmla="*/ 35 w 38"/>
              <a:gd name="T49" fmla="*/ 46 h 51"/>
              <a:gd name="T50" fmla="*/ 35 w 38"/>
              <a:gd name="T51" fmla="*/ 38 h 51"/>
              <a:gd name="T52" fmla="*/ 3 w 38"/>
              <a:gd name="T53" fmla="*/ 38 h 51"/>
              <a:gd name="T54" fmla="*/ 3 w 38"/>
              <a:gd name="T55" fmla="*/ 11 h 51"/>
              <a:gd name="T56" fmla="*/ 5 w 38"/>
              <a:gd name="T57" fmla="*/ 10 h 51"/>
              <a:gd name="T58" fmla="*/ 10 w 38"/>
              <a:gd name="T59" fmla="*/ 10 h 51"/>
              <a:gd name="T60" fmla="*/ 10 w 38"/>
              <a:gd name="T61" fmla="*/ 19 h 51"/>
              <a:gd name="T62" fmla="*/ 13 w 38"/>
              <a:gd name="T63" fmla="*/ 19 h 51"/>
              <a:gd name="T64" fmla="*/ 13 w 38"/>
              <a:gd name="T65" fmla="*/ 10 h 51"/>
              <a:gd name="T66" fmla="*/ 26 w 38"/>
              <a:gd name="T67" fmla="*/ 10 h 51"/>
              <a:gd name="T68" fmla="*/ 26 w 38"/>
              <a:gd name="T69" fmla="*/ 19 h 51"/>
              <a:gd name="T70" fmla="*/ 29 w 38"/>
              <a:gd name="T71" fmla="*/ 19 h 51"/>
              <a:gd name="T72" fmla="*/ 29 w 38"/>
              <a:gd name="T73" fmla="*/ 10 h 51"/>
              <a:gd name="T74" fmla="*/ 34 w 38"/>
              <a:gd name="T75" fmla="*/ 10 h 51"/>
              <a:gd name="T76" fmla="*/ 35 w 38"/>
              <a:gd name="T77" fmla="*/ 11 h 51"/>
              <a:gd name="T78" fmla="*/ 35 w 38"/>
              <a:gd name="T79" fmla="*/ 38 h 51"/>
              <a:gd name="T80" fmla="*/ 35 w 38"/>
              <a:gd name="T81" fmla="*/ 38 h 51"/>
              <a:gd name="T82" fmla="*/ 35 w 38"/>
              <a:gd name="T83" fmla="*/ 3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8" h="51">
                <a:moveTo>
                  <a:pt x="35" y="6"/>
                </a:moveTo>
                <a:cubicBezTo>
                  <a:pt x="29" y="6"/>
                  <a:pt x="29" y="6"/>
                  <a:pt x="29" y="6"/>
                </a:cubicBezTo>
                <a:cubicBezTo>
                  <a:pt x="28" y="3"/>
                  <a:pt x="25" y="0"/>
                  <a:pt x="21" y="0"/>
                </a:cubicBezTo>
                <a:cubicBezTo>
                  <a:pt x="18" y="0"/>
                  <a:pt x="18" y="0"/>
                  <a:pt x="18" y="0"/>
                </a:cubicBezTo>
                <a:cubicBezTo>
                  <a:pt x="14" y="0"/>
                  <a:pt x="11" y="3"/>
                  <a:pt x="10" y="6"/>
                </a:cubicBezTo>
                <a:cubicBezTo>
                  <a:pt x="3" y="6"/>
                  <a:pt x="3" y="6"/>
                  <a:pt x="3" y="6"/>
                </a:cubicBezTo>
                <a:cubicBezTo>
                  <a:pt x="1" y="6"/>
                  <a:pt x="0" y="8"/>
                  <a:pt x="0" y="10"/>
                </a:cubicBezTo>
                <a:cubicBezTo>
                  <a:pt x="0" y="48"/>
                  <a:pt x="0" y="48"/>
                  <a:pt x="0" y="48"/>
                </a:cubicBezTo>
                <a:cubicBezTo>
                  <a:pt x="0" y="50"/>
                  <a:pt x="1" y="51"/>
                  <a:pt x="3" y="51"/>
                </a:cubicBezTo>
                <a:cubicBezTo>
                  <a:pt x="35" y="51"/>
                  <a:pt x="35" y="51"/>
                  <a:pt x="35" y="51"/>
                </a:cubicBezTo>
                <a:cubicBezTo>
                  <a:pt x="37" y="51"/>
                  <a:pt x="38" y="50"/>
                  <a:pt x="38" y="48"/>
                </a:cubicBezTo>
                <a:cubicBezTo>
                  <a:pt x="38" y="10"/>
                  <a:pt x="38" y="10"/>
                  <a:pt x="38" y="10"/>
                </a:cubicBezTo>
                <a:cubicBezTo>
                  <a:pt x="38" y="8"/>
                  <a:pt x="37" y="6"/>
                  <a:pt x="35" y="6"/>
                </a:cubicBezTo>
                <a:close/>
                <a:moveTo>
                  <a:pt x="18" y="3"/>
                </a:moveTo>
                <a:cubicBezTo>
                  <a:pt x="21" y="3"/>
                  <a:pt x="21" y="3"/>
                  <a:pt x="21" y="3"/>
                </a:cubicBezTo>
                <a:cubicBezTo>
                  <a:pt x="23" y="3"/>
                  <a:pt x="25" y="5"/>
                  <a:pt x="25" y="6"/>
                </a:cubicBezTo>
                <a:cubicBezTo>
                  <a:pt x="13" y="6"/>
                  <a:pt x="13" y="6"/>
                  <a:pt x="13" y="6"/>
                </a:cubicBezTo>
                <a:cubicBezTo>
                  <a:pt x="14" y="5"/>
                  <a:pt x="16" y="3"/>
                  <a:pt x="18" y="3"/>
                </a:cubicBezTo>
                <a:close/>
                <a:moveTo>
                  <a:pt x="35" y="46"/>
                </a:moveTo>
                <a:cubicBezTo>
                  <a:pt x="35" y="47"/>
                  <a:pt x="34" y="48"/>
                  <a:pt x="34" y="48"/>
                </a:cubicBezTo>
                <a:cubicBezTo>
                  <a:pt x="5" y="48"/>
                  <a:pt x="5" y="48"/>
                  <a:pt x="5" y="48"/>
                </a:cubicBezTo>
                <a:cubicBezTo>
                  <a:pt x="4" y="48"/>
                  <a:pt x="3" y="47"/>
                  <a:pt x="3" y="46"/>
                </a:cubicBezTo>
                <a:cubicBezTo>
                  <a:pt x="3" y="42"/>
                  <a:pt x="3" y="42"/>
                  <a:pt x="3" y="42"/>
                </a:cubicBezTo>
                <a:cubicBezTo>
                  <a:pt x="35" y="42"/>
                  <a:pt x="35" y="42"/>
                  <a:pt x="35" y="42"/>
                </a:cubicBezTo>
                <a:lnTo>
                  <a:pt x="35" y="46"/>
                </a:lnTo>
                <a:close/>
                <a:moveTo>
                  <a:pt x="35" y="38"/>
                </a:moveTo>
                <a:cubicBezTo>
                  <a:pt x="3" y="38"/>
                  <a:pt x="3" y="38"/>
                  <a:pt x="3" y="38"/>
                </a:cubicBezTo>
                <a:cubicBezTo>
                  <a:pt x="3" y="11"/>
                  <a:pt x="3" y="11"/>
                  <a:pt x="3" y="11"/>
                </a:cubicBezTo>
                <a:cubicBezTo>
                  <a:pt x="3" y="10"/>
                  <a:pt x="4" y="10"/>
                  <a:pt x="5" y="10"/>
                </a:cubicBezTo>
                <a:cubicBezTo>
                  <a:pt x="10" y="10"/>
                  <a:pt x="10" y="10"/>
                  <a:pt x="10" y="10"/>
                </a:cubicBezTo>
                <a:cubicBezTo>
                  <a:pt x="10" y="19"/>
                  <a:pt x="10" y="19"/>
                  <a:pt x="10" y="19"/>
                </a:cubicBezTo>
                <a:cubicBezTo>
                  <a:pt x="13" y="19"/>
                  <a:pt x="13" y="19"/>
                  <a:pt x="13" y="19"/>
                </a:cubicBezTo>
                <a:cubicBezTo>
                  <a:pt x="13" y="10"/>
                  <a:pt x="13" y="10"/>
                  <a:pt x="13" y="10"/>
                </a:cubicBezTo>
                <a:cubicBezTo>
                  <a:pt x="26" y="10"/>
                  <a:pt x="26" y="10"/>
                  <a:pt x="26" y="10"/>
                </a:cubicBezTo>
                <a:cubicBezTo>
                  <a:pt x="26" y="19"/>
                  <a:pt x="26" y="19"/>
                  <a:pt x="26" y="19"/>
                </a:cubicBezTo>
                <a:cubicBezTo>
                  <a:pt x="29" y="19"/>
                  <a:pt x="29" y="19"/>
                  <a:pt x="29" y="19"/>
                </a:cubicBezTo>
                <a:cubicBezTo>
                  <a:pt x="29" y="10"/>
                  <a:pt x="29" y="10"/>
                  <a:pt x="29" y="10"/>
                </a:cubicBezTo>
                <a:cubicBezTo>
                  <a:pt x="34" y="10"/>
                  <a:pt x="34" y="10"/>
                  <a:pt x="34" y="10"/>
                </a:cubicBezTo>
                <a:cubicBezTo>
                  <a:pt x="34" y="10"/>
                  <a:pt x="35" y="10"/>
                  <a:pt x="35" y="11"/>
                </a:cubicBezTo>
                <a:lnTo>
                  <a:pt x="35" y="38"/>
                </a:lnTo>
                <a:close/>
                <a:moveTo>
                  <a:pt x="35" y="38"/>
                </a:moveTo>
                <a:cubicBezTo>
                  <a:pt x="35" y="38"/>
                  <a:pt x="35" y="38"/>
                  <a:pt x="35" y="38"/>
                </a:cubicBezTo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lIns="91440" tIns="45720" rIns="91440" bIns="4572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574A8CF1-F5AB-4F38-B4FA-894F641B72F2}"/>
              </a:ext>
            </a:extLst>
          </p:cNvPr>
          <p:cNvSpPr txBox="1"/>
          <p:nvPr/>
        </p:nvSpPr>
        <p:spPr>
          <a:xfrm>
            <a:off x="941953" y="4575853"/>
            <a:ext cx="2376013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t" anchorCtr="0">
            <a:normAutofit lnSpcReduction="10000"/>
          </a:bodyPr>
          <a:lstStyle/>
          <a:p>
            <a:pPr algn="ctr">
              <a:buSzPct val="25000"/>
            </a:pPr>
            <a:r>
              <a:rPr lang="de-DE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5AD880AB-8F3D-420A-A946-6E27616F9140}"/>
              </a:ext>
            </a:extLst>
          </p:cNvPr>
          <p:cNvSpPr txBox="1"/>
          <p:nvPr/>
        </p:nvSpPr>
        <p:spPr>
          <a:xfrm>
            <a:off x="1049829" y="4968365"/>
            <a:ext cx="2160261" cy="575635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buSzPct val="25000"/>
            </a:pPr>
            <a:r>
              <a:rPr lang="en-US" sz="1000" dirty="0">
                <a:cs typeface="+mn-ea"/>
                <a:sym typeface="+mn-lt"/>
              </a:rPr>
              <a:t>Copy paste fonts. Choose the only option to retain text.…</a:t>
            </a:r>
            <a:r>
              <a:rPr lang="de-DE" sz="1000" dirty="0">
                <a:cs typeface="+mn-ea"/>
                <a:sym typeface="+mn-lt"/>
              </a:rPr>
              <a:t>.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7797547F-4EC7-4DA6-9129-E9D2335DD84A}"/>
              </a:ext>
            </a:extLst>
          </p:cNvPr>
          <p:cNvSpPr txBox="1"/>
          <p:nvPr/>
        </p:nvSpPr>
        <p:spPr>
          <a:xfrm>
            <a:off x="3547965" y="4575853"/>
            <a:ext cx="2376013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t" anchorCtr="0">
            <a:normAutofit lnSpcReduction="10000"/>
          </a:bodyPr>
          <a:lstStyle/>
          <a:p>
            <a:pPr algn="ctr">
              <a:buSzPct val="25000"/>
            </a:pPr>
            <a:r>
              <a:rPr lang="de-DE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BE900D23-F670-45B4-9EE4-461D85CF0329}"/>
              </a:ext>
            </a:extLst>
          </p:cNvPr>
          <p:cNvSpPr txBox="1"/>
          <p:nvPr/>
        </p:nvSpPr>
        <p:spPr>
          <a:xfrm>
            <a:off x="3655841" y="4968365"/>
            <a:ext cx="2160261" cy="575635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buSzPct val="25000"/>
            </a:pPr>
            <a:r>
              <a:rPr lang="en-US" sz="1000" dirty="0">
                <a:cs typeface="+mn-ea"/>
                <a:sym typeface="+mn-lt"/>
              </a:rPr>
              <a:t>Copy paste fonts. Choose the only option to retain text.…</a:t>
            </a:r>
            <a:r>
              <a:rPr lang="de-DE" sz="1000" dirty="0">
                <a:cs typeface="+mn-ea"/>
                <a:sym typeface="+mn-lt"/>
              </a:rPr>
              <a:t>.</a:t>
            </a: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A94A826-9F83-479C-9716-4BA5FCB9E36D}"/>
              </a:ext>
            </a:extLst>
          </p:cNvPr>
          <p:cNvSpPr txBox="1"/>
          <p:nvPr/>
        </p:nvSpPr>
        <p:spPr>
          <a:xfrm>
            <a:off x="6153976" y="4575853"/>
            <a:ext cx="2376013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t" anchorCtr="0">
            <a:normAutofit lnSpcReduction="10000"/>
          </a:bodyPr>
          <a:lstStyle/>
          <a:p>
            <a:pPr algn="ctr">
              <a:buSzPct val="25000"/>
            </a:pPr>
            <a:r>
              <a:rPr lang="de-DE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FA8D94C-31D4-4A8F-B0D9-1E9F868B5E22}"/>
              </a:ext>
            </a:extLst>
          </p:cNvPr>
          <p:cNvSpPr txBox="1"/>
          <p:nvPr/>
        </p:nvSpPr>
        <p:spPr>
          <a:xfrm>
            <a:off x="6261852" y="4968365"/>
            <a:ext cx="2160261" cy="575635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buSzPct val="25000"/>
            </a:pPr>
            <a:r>
              <a:rPr lang="en-US" sz="1000" dirty="0">
                <a:cs typeface="+mn-ea"/>
                <a:sym typeface="+mn-lt"/>
              </a:rPr>
              <a:t>Copy paste fonts. Choose the only option to retain text.…</a:t>
            </a:r>
            <a:r>
              <a:rPr lang="de-DE" sz="1000" dirty="0">
                <a:cs typeface="+mn-ea"/>
                <a:sym typeface="+mn-lt"/>
              </a:rPr>
              <a:t>.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A4F45F40-9C4E-4FE2-BC16-E0AA60139AEB}"/>
              </a:ext>
            </a:extLst>
          </p:cNvPr>
          <p:cNvSpPr txBox="1"/>
          <p:nvPr/>
        </p:nvSpPr>
        <p:spPr>
          <a:xfrm>
            <a:off x="8759988" y="4575853"/>
            <a:ext cx="2376013" cy="392512"/>
          </a:xfrm>
          <a:prstGeom prst="rect">
            <a:avLst/>
          </a:prstGeom>
          <a:noFill/>
          <a:ln>
            <a:noFill/>
          </a:ln>
        </p:spPr>
        <p:txBody>
          <a:bodyPr wrap="none" lIns="91440" tIns="45720" rIns="91440" bIns="45720" anchor="t" anchorCtr="0">
            <a:normAutofit lnSpcReduction="10000"/>
          </a:bodyPr>
          <a:lstStyle/>
          <a:p>
            <a:pPr algn="ctr">
              <a:buSzPct val="25000"/>
            </a:pPr>
            <a:r>
              <a:rPr lang="de-DE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4964344-9181-490C-A5B8-BA29A6226C98}"/>
              </a:ext>
            </a:extLst>
          </p:cNvPr>
          <p:cNvSpPr txBox="1"/>
          <p:nvPr/>
        </p:nvSpPr>
        <p:spPr>
          <a:xfrm>
            <a:off x="8867864" y="4968365"/>
            <a:ext cx="2160261" cy="575635"/>
          </a:xfrm>
          <a:prstGeom prst="rect">
            <a:avLst/>
          </a:prstGeom>
          <a:noFill/>
          <a:ln>
            <a:noFill/>
          </a:ln>
        </p:spPr>
        <p:txBody>
          <a:bodyPr lIns="91440" tIns="45720" rIns="91440" bIns="45720" anchor="t" anchorCtr="0">
            <a:normAutofit/>
          </a:bodyPr>
          <a:lstStyle/>
          <a:p>
            <a:pPr algn="ctr">
              <a:lnSpc>
                <a:spcPct val="150000"/>
              </a:lnSpc>
              <a:buSzPct val="25000"/>
            </a:pPr>
            <a:r>
              <a:rPr lang="en-US" sz="1000" dirty="0">
                <a:cs typeface="+mn-ea"/>
                <a:sym typeface="+mn-lt"/>
              </a:rPr>
              <a:t>Copy paste fonts. Choose the only option to retain text.…</a:t>
            </a:r>
            <a:r>
              <a:rPr lang="de-DE" sz="1000" dirty="0">
                <a:cs typeface="+mn-ea"/>
                <a:sym typeface="+mn-lt"/>
              </a:rPr>
              <a:t>.</a:t>
            </a:r>
          </a:p>
        </p:txBody>
      </p:sp>
      <p:cxnSp>
        <p:nvCxnSpPr>
          <p:cNvPr id="16" name="直接箭头连接符 15">
            <a:extLst>
              <a:ext uri="{FF2B5EF4-FFF2-40B4-BE49-F238E27FC236}">
                <a16:creationId xmlns:a16="http://schemas.microsoft.com/office/drawing/2014/main" id="{45C4B189-17D9-4EF9-BB21-32C51E9C695A}"/>
              </a:ext>
            </a:extLst>
          </p:cNvPr>
          <p:cNvCxnSpPr>
            <a:cxnSpLocks/>
          </p:cNvCxnSpPr>
          <p:nvPr/>
        </p:nvCxnSpPr>
        <p:spPr>
          <a:xfrm>
            <a:off x="3471050" y="4359953"/>
            <a:ext cx="0" cy="1372347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箭头连接符 16">
            <a:extLst>
              <a:ext uri="{FF2B5EF4-FFF2-40B4-BE49-F238E27FC236}">
                <a16:creationId xmlns:a16="http://schemas.microsoft.com/office/drawing/2014/main" id="{305B09C1-6AE7-472F-8DAC-544C7EC29422}"/>
              </a:ext>
            </a:extLst>
          </p:cNvPr>
          <p:cNvCxnSpPr>
            <a:cxnSpLocks/>
          </p:cNvCxnSpPr>
          <p:nvPr/>
        </p:nvCxnSpPr>
        <p:spPr>
          <a:xfrm>
            <a:off x="6082002" y="4359953"/>
            <a:ext cx="0" cy="1372347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直接箭头连接符 17">
            <a:extLst>
              <a:ext uri="{FF2B5EF4-FFF2-40B4-BE49-F238E27FC236}">
                <a16:creationId xmlns:a16="http://schemas.microsoft.com/office/drawing/2014/main" id="{0F4960BD-4BED-4DBE-9E95-0C2FFDE18F53}"/>
              </a:ext>
            </a:extLst>
          </p:cNvPr>
          <p:cNvCxnSpPr>
            <a:cxnSpLocks/>
          </p:cNvCxnSpPr>
          <p:nvPr/>
        </p:nvCxnSpPr>
        <p:spPr>
          <a:xfrm>
            <a:off x="8692955" y="4359953"/>
            <a:ext cx="0" cy="1372347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4975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70" name="矩形: 圆角 169"/>
          <p:cNvSpPr/>
          <p:nvPr/>
        </p:nvSpPr>
        <p:spPr>
          <a:xfrm>
            <a:off x="669925" y="2078469"/>
            <a:ext cx="5078569" cy="122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1" name="六边形 170"/>
          <p:cNvSpPr/>
          <p:nvPr/>
        </p:nvSpPr>
        <p:spPr>
          <a:xfrm>
            <a:off x="4815596" y="2118626"/>
            <a:ext cx="1357770" cy="1143686"/>
          </a:xfrm>
          <a:prstGeom prst="hexagon">
            <a:avLst/>
          </a:prstGeom>
          <a:solidFill>
            <a:schemeClr val="bg1"/>
          </a:solidFill>
          <a:ln w="984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2" name="矩形: 圆角 171"/>
          <p:cNvSpPr/>
          <p:nvPr/>
        </p:nvSpPr>
        <p:spPr>
          <a:xfrm>
            <a:off x="1452719" y="3331044"/>
            <a:ext cx="4295775" cy="122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3" name="六边形 172"/>
          <p:cNvSpPr/>
          <p:nvPr/>
        </p:nvSpPr>
        <p:spPr>
          <a:xfrm>
            <a:off x="4815596" y="3371201"/>
            <a:ext cx="1357770" cy="1143686"/>
          </a:xfrm>
          <a:prstGeom prst="hexagon">
            <a:avLst/>
          </a:prstGeom>
          <a:solidFill>
            <a:schemeClr val="bg1"/>
          </a:solidFill>
          <a:ln w="984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4" name="矩形: 圆角 173"/>
          <p:cNvSpPr/>
          <p:nvPr/>
        </p:nvSpPr>
        <p:spPr>
          <a:xfrm flipH="1">
            <a:off x="6443506" y="2722056"/>
            <a:ext cx="4295775" cy="1224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5" name="六边形 174"/>
          <p:cNvSpPr/>
          <p:nvPr/>
        </p:nvSpPr>
        <p:spPr>
          <a:xfrm flipH="1">
            <a:off x="6018633" y="2762213"/>
            <a:ext cx="1357770" cy="1143686"/>
          </a:xfrm>
          <a:prstGeom prst="hexagon">
            <a:avLst/>
          </a:prstGeom>
          <a:solidFill>
            <a:schemeClr val="bg1"/>
          </a:solidFill>
          <a:ln w="984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6" name="矩形: 圆角 175"/>
          <p:cNvSpPr/>
          <p:nvPr/>
        </p:nvSpPr>
        <p:spPr>
          <a:xfrm flipH="1">
            <a:off x="6443505" y="3974631"/>
            <a:ext cx="5076982" cy="12240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7" name="六边形 176"/>
          <p:cNvSpPr/>
          <p:nvPr/>
        </p:nvSpPr>
        <p:spPr>
          <a:xfrm flipH="1">
            <a:off x="6018633" y="4014788"/>
            <a:ext cx="1357770" cy="1143686"/>
          </a:xfrm>
          <a:prstGeom prst="hexagon">
            <a:avLst/>
          </a:prstGeom>
          <a:solidFill>
            <a:schemeClr val="bg1"/>
          </a:solidFill>
          <a:ln w="9842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92" name="文本框 191">
            <a:extLst>
              <a:ext uri="{FF2B5EF4-FFF2-40B4-BE49-F238E27FC236}">
                <a16:creationId xmlns:a16="http://schemas.microsoft.com/office/drawing/2014/main" id="{6B7C3B94-656E-4279-BF02-2C73261E0CC6}"/>
              </a:ext>
            </a:extLst>
          </p:cNvPr>
          <p:cNvSpPr txBox="1"/>
          <p:nvPr/>
        </p:nvSpPr>
        <p:spPr>
          <a:xfrm flipH="1">
            <a:off x="7530663" y="3323916"/>
            <a:ext cx="2951442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93" name="矩形 192">
            <a:extLst>
              <a:ext uri="{FF2B5EF4-FFF2-40B4-BE49-F238E27FC236}">
                <a16:creationId xmlns:a16="http://schemas.microsoft.com/office/drawing/2014/main" id="{CC10FB2F-1CBF-4A29-B89B-364D697EC6FE}"/>
              </a:ext>
            </a:extLst>
          </p:cNvPr>
          <p:cNvSpPr/>
          <p:nvPr/>
        </p:nvSpPr>
        <p:spPr>
          <a:xfrm flipH="1">
            <a:off x="7530664" y="2816085"/>
            <a:ext cx="2951442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2000" b="1" dirty="0">
                <a:cs typeface="+mn-ea"/>
                <a:sym typeface="+mn-lt"/>
              </a:rPr>
              <a:t>Text 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190" name="文本框 189">
            <a:extLst>
              <a:ext uri="{FF2B5EF4-FFF2-40B4-BE49-F238E27FC236}">
                <a16:creationId xmlns:a16="http://schemas.microsoft.com/office/drawing/2014/main" id="{6B7C3B94-656E-4279-BF02-2C73261E0CC6}"/>
              </a:ext>
            </a:extLst>
          </p:cNvPr>
          <p:cNvSpPr txBox="1"/>
          <p:nvPr/>
        </p:nvSpPr>
        <p:spPr>
          <a:xfrm flipH="1">
            <a:off x="7530663" y="4576491"/>
            <a:ext cx="3630822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91" name="矩形 190">
            <a:extLst>
              <a:ext uri="{FF2B5EF4-FFF2-40B4-BE49-F238E27FC236}">
                <a16:creationId xmlns:a16="http://schemas.microsoft.com/office/drawing/2014/main" id="{CC10FB2F-1CBF-4A29-B89B-364D697EC6FE}"/>
              </a:ext>
            </a:extLst>
          </p:cNvPr>
          <p:cNvSpPr/>
          <p:nvPr/>
        </p:nvSpPr>
        <p:spPr>
          <a:xfrm flipH="1">
            <a:off x="7530664" y="4068660"/>
            <a:ext cx="3630822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8" name="文本框 187">
            <a:extLst>
              <a:ext uri="{FF2B5EF4-FFF2-40B4-BE49-F238E27FC236}">
                <a16:creationId xmlns:a16="http://schemas.microsoft.com/office/drawing/2014/main" id="{6B7C3B94-656E-4279-BF02-2C73261E0CC6}"/>
              </a:ext>
            </a:extLst>
          </p:cNvPr>
          <p:cNvSpPr txBox="1"/>
          <p:nvPr/>
        </p:nvSpPr>
        <p:spPr>
          <a:xfrm flipH="1">
            <a:off x="1016001" y="2680329"/>
            <a:ext cx="3635811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89" name="矩形 188">
            <a:extLst>
              <a:ext uri="{FF2B5EF4-FFF2-40B4-BE49-F238E27FC236}">
                <a16:creationId xmlns:a16="http://schemas.microsoft.com/office/drawing/2014/main" id="{CC10FB2F-1CBF-4A29-B89B-364D697EC6FE}"/>
              </a:ext>
            </a:extLst>
          </p:cNvPr>
          <p:cNvSpPr/>
          <p:nvPr/>
        </p:nvSpPr>
        <p:spPr>
          <a:xfrm flipH="1">
            <a:off x="1016002" y="2172498"/>
            <a:ext cx="3635811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6" name="文本框 185">
            <a:extLst>
              <a:ext uri="{FF2B5EF4-FFF2-40B4-BE49-F238E27FC236}">
                <a16:creationId xmlns:a16="http://schemas.microsoft.com/office/drawing/2014/main" id="{6B7C3B94-656E-4279-BF02-2C73261E0CC6}"/>
              </a:ext>
            </a:extLst>
          </p:cNvPr>
          <p:cNvSpPr txBox="1"/>
          <p:nvPr/>
        </p:nvSpPr>
        <p:spPr>
          <a:xfrm flipH="1">
            <a:off x="1700369" y="3932904"/>
            <a:ext cx="2951442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87" name="矩形 186">
            <a:extLst>
              <a:ext uri="{FF2B5EF4-FFF2-40B4-BE49-F238E27FC236}">
                <a16:creationId xmlns:a16="http://schemas.microsoft.com/office/drawing/2014/main" id="{CC10FB2F-1CBF-4A29-B89B-364D697EC6FE}"/>
              </a:ext>
            </a:extLst>
          </p:cNvPr>
          <p:cNvSpPr/>
          <p:nvPr/>
        </p:nvSpPr>
        <p:spPr>
          <a:xfrm flipH="1">
            <a:off x="1700370" y="3425073"/>
            <a:ext cx="2951442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2000" b="1" dirty="0">
                <a:cs typeface="+mn-ea"/>
                <a:sym typeface="+mn-lt"/>
              </a:rPr>
              <a:t>Text 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182" name="任意多边形: 形状 181">
            <a:extLst>
              <a:ext uri="{FF2B5EF4-FFF2-40B4-BE49-F238E27FC236}">
                <a16:creationId xmlns:a16="http://schemas.microsoft.com/office/drawing/2014/main" id="{5F447947-5BF4-45BD-9D05-82C941031E09}"/>
              </a:ext>
            </a:extLst>
          </p:cNvPr>
          <p:cNvSpPr/>
          <p:nvPr/>
        </p:nvSpPr>
        <p:spPr bwMode="auto">
          <a:xfrm>
            <a:off x="5227886" y="3694641"/>
            <a:ext cx="533190" cy="496807"/>
          </a:xfrm>
          <a:custGeom>
            <a:avLst/>
            <a:gdLst>
              <a:gd name="connsiteX0" fmla="*/ 484855 w 606016"/>
              <a:gd name="connsiteY0" fmla="*/ 473988 h 564664"/>
              <a:gd name="connsiteX1" fmla="*/ 505037 w 606016"/>
              <a:gd name="connsiteY1" fmla="*/ 494170 h 564664"/>
              <a:gd name="connsiteX2" fmla="*/ 484855 w 606016"/>
              <a:gd name="connsiteY2" fmla="*/ 514352 h 564664"/>
              <a:gd name="connsiteX3" fmla="*/ 464673 w 606016"/>
              <a:gd name="connsiteY3" fmla="*/ 494170 h 564664"/>
              <a:gd name="connsiteX4" fmla="*/ 484855 w 606016"/>
              <a:gd name="connsiteY4" fmla="*/ 473988 h 564664"/>
              <a:gd name="connsiteX5" fmla="*/ 121232 w 606016"/>
              <a:gd name="connsiteY5" fmla="*/ 473988 h 564664"/>
              <a:gd name="connsiteX6" fmla="*/ 141414 w 606016"/>
              <a:gd name="connsiteY6" fmla="*/ 494170 h 564664"/>
              <a:gd name="connsiteX7" fmla="*/ 121232 w 606016"/>
              <a:gd name="connsiteY7" fmla="*/ 514352 h 564664"/>
              <a:gd name="connsiteX8" fmla="*/ 101050 w 606016"/>
              <a:gd name="connsiteY8" fmla="*/ 494170 h 564664"/>
              <a:gd name="connsiteX9" fmla="*/ 121232 w 606016"/>
              <a:gd name="connsiteY9" fmla="*/ 473988 h 564664"/>
              <a:gd name="connsiteX10" fmla="*/ 484813 w 606016"/>
              <a:gd name="connsiteY10" fmla="*/ 443658 h 564664"/>
              <a:gd name="connsiteX11" fmla="*/ 434364 w 606016"/>
              <a:gd name="connsiteY11" fmla="*/ 494115 h 564664"/>
              <a:gd name="connsiteX12" fmla="*/ 484813 w 606016"/>
              <a:gd name="connsiteY12" fmla="*/ 544482 h 564664"/>
              <a:gd name="connsiteX13" fmla="*/ 535352 w 606016"/>
              <a:gd name="connsiteY13" fmla="*/ 494115 h 564664"/>
              <a:gd name="connsiteX14" fmla="*/ 484813 w 606016"/>
              <a:gd name="connsiteY14" fmla="*/ 443658 h 564664"/>
              <a:gd name="connsiteX15" fmla="*/ 121293 w 606016"/>
              <a:gd name="connsiteY15" fmla="*/ 443658 h 564664"/>
              <a:gd name="connsiteX16" fmla="*/ 70755 w 606016"/>
              <a:gd name="connsiteY16" fmla="*/ 494115 h 564664"/>
              <a:gd name="connsiteX17" fmla="*/ 121293 w 606016"/>
              <a:gd name="connsiteY17" fmla="*/ 544482 h 564664"/>
              <a:gd name="connsiteX18" fmla="*/ 171742 w 606016"/>
              <a:gd name="connsiteY18" fmla="*/ 494115 h 564664"/>
              <a:gd name="connsiteX19" fmla="*/ 121293 w 606016"/>
              <a:gd name="connsiteY19" fmla="*/ 443658 h 564664"/>
              <a:gd name="connsiteX20" fmla="*/ 303053 w 606016"/>
              <a:gd name="connsiteY20" fmla="*/ 373109 h 564664"/>
              <a:gd name="connsiteX21" fmla="*/ 292945 w 606016"/>
              <a:gd name="connsiteY21" fmla="*/ 383200 h 564664"/>
              <a:gd name="connsiteX22" fmla="*/ 303053 w 606016"/>
              <a:gd name="connsiteY22" fmla="*/ 393292 h 564664"/>
              <a:gd name="connsiteX23" fmla="*/ 343484 w 606016"/>
              <a:gd name="connsiteY23" fmla="*/ 393292 h 564664"/>
              <a:gd name="connsiteX24" fmla="*/ 343484 w 606016"/>
              <a:gd name="connsiteY24" fmla="*/ 403383 h 564664"/>
              <a:gd name="connsiteX25" fmla="*/ 353592 w 606016"/>
              <a:gd name="connsiteY25" fmla="*/ 413474 h 564664"/>
              <a:gd name="connsiteX26" fmla="*/ 363610 w 606016"/>
              <a:gd name="connsiteY26" fmla="*/ 403383 h 564664"/>
              <a:gd name="connsiteX27" fmla="*/ 363610 w 606016"/>
              <a:gd name="connsiteY27" fmla="*/ 383200 h 564664"/>
              <a:gd name="connsiteX28" fmla="*/ 353592 w 606016"/>
              <a:gd name="connsiteY28" fmla="*/ 373109 h 564664"/>
              <a:gd name="connsiteX29" fmla="*/ 313169 w 606016"/>
              <a:gd name="connsiteY29" fmla="*/ 282403 h 564664"/>
              <a:gd name="connsiteX30" fmla="*/ 447018 w 606016"/>
              <a:gd name="connsiteY30" fmla="*/ 282403 h 564664"/>
              <a:gd name="connsiteX31" fmla="*/ 465069 w 606016"/>
              <a:gd name="connsiteY31" fmla="*/ 311699 h 564664"/>
              <a:gd name="connsiteX32" fmla="*/ 473282 w 606016"/>
              <a:gd name="connsiteY32" fmla="*/ 322696 h 564664"/>
              <a:gd name="connsiteX33" fmla="*/ 313169 w 606016"/>
              <a:gd name="connsiteY33" fmla="*/ 322696 h 564664"/>
              <a:gd name="connsiteX34" fmla="*/ 161665 w 606016"/>
              <a:gd name="connsiteY34" fmla="*/ 282403 h 564664"/>
              <a:gd name="connsiteX35" fmla="*/ 292917 w 606016"/>
              <a:gd name="connsiteY35" fmla="*/ 282403 h 564664"/>
              <a:gd name="connsiteX36" fmla="*/ 292917 w 606016"/>
              <a:gd name="connsiteY36" fmla="*/ 322696 h 564664"/>
              <a:gd name="connsiteX37" fmla="*/ 161665 w 606016"/>
              <a:gd name="connsiteY37" fmla="*/ 322696 h 564664"/>
              <a:gd name="connsiteX38" fmla="*/ 191958 w 606016"/>
              <a:gd name="connsiteY38" fmla="*/ 0 h 564664"/>
              <a:gd name="connsiteX39" fmla="*/ 202066 w 606016"/>
              <a:gd name="connsiteY39" fmla="*/ 10092 h 564664"/>
              <a:gd name="connsiteX40" fmla="*/ 202066 w 606016"/>
              <a:gd name="connsiteY40" fmla="*/ 40366 h 564664"/>
              <a:gd name="connsiteX41" fmla="*/ 222281 w 606016"/>
              <a:gd name="connsiteY41" fmla="*/ 40366 h 564664"/>
              <a:gd name="connsiteX42" fmla="*/ 222281 w 606016"/>
              <a:gd name="connsiteY42" fmla="*/ 10092 h 564664"/>
              <a:gd name="connsiteX43" fmla="*/ 232389 w 606016"/>
              <a:gd name="connsiteY43" fmla="*/ 0 h 564664"/>
              <a:gd name="connsiteX44" fmla="*/ 242406 w 606016"/>
              <a:gd name="connsiteY44" fmla="*/ 10092 h 564664"/>
              <a:gd name="connsiteX45" fmla="*/ 242406 w 606016"/>
              <a:gd name="connsiteY45" fmla="*/ 40366 h 564664"/>
              <a:gd name="connsiteX46" fmla="*/ 252514 w 606016"/>
              <a:gd name="connsiteY46" fmla="*/ 50457 h 564664"/>
              <a:gd name="connsiteX47" fmla="*/ 252514 w 606016"/>
              <a:gd name="connsiteY47" fmla="*/ 100823 h 564664"/>
              <a:gd name="connsiteX48" fmla="*/ 242406 w 606016"/>
              <a:gd name="connsiteY48" fmla="*/ 110915 h 564664"/>
              <a:gd name="connsiteX49" fmla="*/ 221379 w 606016"/>
              <a:gd name="connsiteY49" fmla="*/ 110915 h 564664"/>
              <a:gd name="connsiteX50" fmla="*/ 161634 w 606016"/>
              <a:gd name="connsiteY50" fmla="*/ 161371 h 564664"/>
              <a:gd name="connsiteX51" fmla="*/ 101078 w 606016"/>
              <a:gd name="connsiteY51" fmla="*/ 100823 h 564664"/>
              <a:gd name="connsiteX52" fmla="*/ 60647 w 606016"/>
              <a:gd name="connsiteY52" fmla="*/ 60548 h 564664"/>
              <a:gd name="connsiteX53" fmla="*/ 20216 w 606016"/>
              <a:gd name="connsiteY53" fmla="*/ 100823 h 564664"/>
              <a:gd name="connsiteX54" fmla="*/ 20216 w 606016"/>
              <a:gd name="connsiteY54" fmla="*/ 231921 h 564664"/>
              <a:gd name="connsiteX55" fmla="*/ 80862 w 606016"/>
              <a:gd name="connsiteY55" fmla="*/ 292469 h 564664"/>
              <a:gd name="connsiteX56" fmla="*/ 82126 w 606016"/>
              <a:gd name="connsiteY56" fmla="*/ 292649 h 564664"/>
              <a:gd name="connsiteX57" fmla="*/ 105229 w 606016"/>
              <a:gd name="connsiteY57" fmla="*/ 255167 h 564664"/>
              <a:gd name="connsiteX58" fmla="*/ 164883 w 606016"/>
              <a:gd name="connsiteY58" fmla="*/ 221829 h 564664"/>
              <a:gd name="connsiteX59" fmla="*/ 370559 w 606016"/>
              <a:gd name="connsiteY59" fmla="*/ 221829 h 564664"/>
              <a:gd name="connsiteX60" fmla="*/ 430213 w 606016"/>
              <a:gd name="connsiteY60" fmla="*/ 255077 h 564664"/>
              <a:gd name="connsiteX61" fmla="*/ 434545 w 606016"/>
              <a:gd name="connsiteY61" fmla="*/ 262195 h 564664"/>
              <a:gd name="connsiteX62" fmla="*/ 159920 w 606016"/>
              <a:gd name="connsiteY62" fmla="*/ 262195 h 564664"/>
              <a:gd name="connsiteX63" fmla="*/ 141419 w 606016"/>
              <a:gd name="connsiteY63" fmla="*/ 280575 h 564664"/>
              <a:gd name="connsiteX64" fmla="*/ 141419 w 606016"/>
              <a:gd name="connsiteY64" fmla="*/ 324455 h 564664"/>
              <a:gd name="connsiteX65" fmla="*/ 159920 w 606016"/>
              <a:gd name="connsiteY65" fmla="*/ 342835 h 564664"/>
              <a:gd name="connsiteX66" fmla="*/ 498801 w 606016"/>
              <a:gd name="connsiteY66" fmla="*/ 342835 h 564664"/>
              <a:gd name="connsiteX67" fmla="*/ 538962 w 606016"/>
              <a:gd name="connsiteY67" fmla="*/ 352926 h 564664"/>
              <a:gd name="connsiteX68" fmla="*/ 580566 w 606016"/>
              <a:gd name="connsiteY68" fmla="*/ 352926 h 564664"/>
              <a:gd name="connsiteX69" fmla="*/ 606016 w 606016"/>
              <a:gd name="connsiteY69" fmla="*/ 378335 h 564664"/>
              <a:gd name="connsiteX70" fmla="*/ 606016 w 606016"/>
              <a:gd name="connsiteY70" fmla="*/ 403383 h 564664"/>
              <a:gd name="connsiteX71" fmla="*/ 555567 w 606016"/>
              <a:gd name="connsiteY71" fmla="*/ 403383 h 564664"/>
              <a:gd name="connsiteX72" fmla="*/ 545460 w 606016"/>
              <a:gd name="connsiteY72" fmla="*/ 413474 h 564664"/>
              <a:gd name="connsiteX73" fmla="*/ 555567 w 606016"/>
              <a:gd name="connsiteY73" fmla="*/ 423476 h 564664"/>
              <a:gd name="connsiteX74" fmla="*/ 606016 w 606016"/>
              <a:gd name="connsiteY74" fmla="*/ 423476 h 564664"/>
              <a:gd name="connsiteX75" fmla="*/ 606016 w 606016"/>
              <a:gd name="connsiteY75" fmla="*/ 463391 h 564664"/>
              <a:gd name="connsiteX76" fmla="*/ 565224 w 606016"/>
              <a:gd name="connsiteY76" fmla="*/ 504206 h 564664"/>
              <a:gd name="connsiteX77" fmla="*/ 554755 w 606016"/>
              <a:gd name="connsiteY77" fmla="*/ 504206 h 564664"/>
              <a:gd name="connsiteX78" fmla="*/ 484813 w 606016"/>
              <a:gd name="connsiteY78" fmla="*/ 564664 h 564664"/>
              <a:gd name="connsiteX79" fmla="*/ 414961 w 606016"/>
              <a:gd name="connsiteY79" fmla="*/ 504206 h 564664"/>
              <a:gd name="connsiteX80" fmla="*/ 191145 w 606016"/>
              <a:gd name="connsiteY80" fmla="*/ 504206 h 564664"/>
              <a:gd name="connsiteX81" fmla="*/ 121293 w 606016"/>
              <a:gd name="connsiteY81" fmla="*/ 564664 h 564664"/>
              <a:gd name="connsiteX82" fmla="*/ 51351 w 606016"/>
              <a:gd name="connsiteY82" fmla="*/ 504206 h 564664"/>
              <a:gd name="connsiteX83" fmla="*/ 35377 w 606016"/>
              <a:gd name="connsiteY83" fmla="*/ 504206 h 564664"/>
              <a:gd name="connsiteX84" fmla="*/ 90 w 606016"/>
              <a:gd name="connsiteY84" fmla="*/ 468977 h 564664"/>
              <a:gd name="connsiteX85" fmla="*/ 0 w 606016"/>
              <a:gd name="connsiteY85" fmla="*/ 423476 h 564664"/>
              <a:gd name="connsiteX86" fmla="*/ 50539 w 606016"/>
              <a:gd name="connsiteY86" fmla="*/ 423476 h 564664"/>
              <a:gd name="connsiteX87" fmla="*/ 60647 w 606016"/>
              <a:gd name="connsiteY87" fmla="*/ 413474 h 564664"/>
              <a:gd name="connsiteX88" fmla="*/ 50539 w 606016"/>
              <a:gd name="connsiteY88" fmla="*/ 403383 h 564664"/>
              <a:gd name="connsiteX89" fmla="*/ 0 w 606016"/>
              <a:gd name="connsiteY89" fmla="*/ 403383 h 564664"/>
              <a:gd name="connsiteX90" fmla="*/ 0 w 606016"/>
              <a:gd name="connsiteY90" fmla="*/ 378335 h 564664"/>
              <a:gd name="connsiteX91" fmla="*/ 7400 w 606016"/>
              <a:gd name="connsiteY91" fmla="*/ 360405 h 564664"/>
              <a:gd name="connsiteX92" fmla="*/ 25540 w 606016"/>
              <a:gd name="connsiteY92" fmla="*/ 352926 h 564664"/>
              <a:gd name="connsiteX93" fmla="*/ 54961 w 606016"/>
              <a:gd name="connsiteY93" fmla="*/ 336798 h 564664"/>
              <a:gd name="connsiteX94" fmla="*/ 70303 w 606016"/>
              <a:gd name="connsiteY94" fmla="*/ 311840 h 564664"/>
              <a:gd name="connsiteX95" fmla="*/ 90 w 606016"/>
              <a:gd name="connsiteY95" fmla="*/ 231921 h 564664"/>
              <a:gd name="connsiteX96" fmla="*/ 90 w 606016"/>
              <a:gd name="connsiteY96" fmla="*/ 100823 h 564664"/>
              <a:gd name="connsiteX97" fmla="*/ 60647 w 606016"/>
              <a:gd name="connsiteY97" fmla="*/ 40366 h 564664"/>
              <a:gd name="connsiteX98" fmla="*/ 121293 w 606016"/>
              <a:gd name="connsiteY98" fmla="*/ 100823 h 564664"/>
              <a:gd name="connsiteX99" fmla="*/ 161634 w 606016"/>
              <a:gd name="connsiteY99" fmla="*/ 141189 h 564664"/>
              <a:gd name="connsiteX100" fmla="*/ 200622 w 606016"/>
              <a:gd name="connsiteY100" fmla="*/ 110915 h 564664"/>
              <a:gd name="connsiteX101" fmla="*/ 181850 w 606016"/>
              <a:gd name="connsiteY101" fmla="*/ 110915 h 564664"/>
              <a:gd name="connsiteX102" fmla="*/ 171742 w 606016"/>
              <a:gd name="connsiteY102" fmla="*/ 100823 h 564664"/>
              <a:gd name="connsiteX103" fmla="*/ 171742 w 606016"/>
              <a:gd name="connsiteY103" fmla="*/ 50457 h 564664"/>
              <a:gd name="connsiteX104" fmla="*/ 181850 w 606016"/>
              <a:gd name="connsiteY104" fmla="*/ 40366 h 564664"/>
              <a:gd name="connsiteX105" fmla="*/ 181850 w 606016"/>
              <a:gd name="connsiteY105" fmla="*/ 10092 h 564664"/>
              <a:gd name="connsiteX106" fmla="*/ 191958 w 606016"/>
              <a:gd name="connsiteY106" fmla="*/ 0 h 5646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6016" h="564664">
                <a:moveTo>
                  <a:pt x="484855" y="473988"/>
                </a:moveTo>
                <a:cubicBezTo>
                  <a:pt x="496001" y="473988"/>
                  <a:pt x="505037" y="483024"/>
                  <a:pt x="505037" y="494170"/>
                </a:cubicBezTo>
                <a:cubicBezTo>
                  <a:pt x="505037" y="505316"/>
                  <a:pt x="496001" y="514352"/>
                  <a:pt x="484855" y="514352"/>
                </a:cubicBezTo>
                <a:cubicBezTo>
                  <a:pt x="473709" y="514352"/>
                  <a:pt x="464673" y="505316"/>
                  <a:pt x="464673" y="494170"/>
                </a:cubicBezTo>
                <a:cubicBezTo>
                  <a:pt x="464673" y="483024"/>
                  <a:pt x="473709" y="473988"/>
                  <a:pt x="484855" y="473988"/>
                </a:cubicBezTo>
                <a:close/>
                <a:moveTo>
                  <a:pt x="121232" y="473988"/>
                </a:moveTo>
                <a:cubicBezTo>
                  <a:pt x="132378" y="473988"/>
                  <a:pt x="141414" y="483024"/>
                  <a:pt x="141414" y="494170"/>
                </a:cubicBezTo>
                <a:cubicBezTo>
                  <a:pt x="141414" y="505316"/>
                  <a:pt x="132378" y="514352"/>
                  <a:pt x="121232" y="514352"/>
                </a:cubicBezTo>
                <a:cubicBezTo>
                  <a:pt x="110086" y="514352"/>
                  <a:pt x="101050" y="505316"/>
                  <a:pt x="101050" y="494170"/>
                </a:cubicBezTo>
                <a:cubicBezTo>
                  <a:pt x="101050" y="483024"/>
                  <a:pt x="110086" y="473988"/>
                  <a:pt x="121232" y="473988"/>
                </a:cubicBezTo>
                <a:close/>
                <a:moveTo>
                  <a:pt x="484813" y="443658"/>
                </a:moveTo>
                <a:cubicBezTo>
                  <a:pt x="457016" y="443658"/>
                  <a:pt x="434364" y="466274"/>
                  <a:pt x="434364" y="494115"/>
                </a:cubicBezTo>
                <a:cubicBezTo>
                  <a:pt x="434364" y="521866"/>
                  <a:pt x="457016" y="544482"/>
                  <a:pt x="484813" y="544482"/>
                </a:cubicBezTo>
                <a:cubicBezTo>
                  <a:pt x="512699" y="544482"/>
                  <a:pt x="535352" y="521866"/>
                  <a:pt x="535352" y="494115"/>
                </a:cubicBezTo>
                <a:cubicBezTo>
                  <a:pt x="535352" y="466274"/>
                  <a:pt x="512699" y="443658"/>
                  <a:pt x="484813" y="443658"/>
                </a:cubicBezTo>
                <a:close/>
                <a:moveTo>
                  <a:pt x="121293" y="443658"/>
                </a:moveTo>
                <a:cubicBezTo>
                  <a:pt x="93407" y="443658"/>
                  <a:pt x="70755" y="466274"/>
                  <a:pt x="70755" y="494115"/>
                </a:cubicBezTo>
                <a:cubicBezTo>
                  <a:pt x="70755" y="521866"/>
                  <a:pt x="93407" y="544482"/>
                  <a:pt x="121293" y="544482"/>
                </a:cubicBezTo>
                <a:cubicBezTo>
                  <a:pt x="149090" y="544482"/>
                  <a:pt x="171742" y="521866"/>
                  <a:pt x="171742" y="494115"/>
                </a:cubicBezTo>
                <a:cubicBezTo>
                  <a:pt x="171742" y="466274"/>
                  <a:pt x="149090" y="443658"/>
                  <a:pt x="121293" y="443658"/>
                </a:cubicBezTo>
                <a:close/>
                <a:moveTo>
                  <a:pt x="303053" y="373109"/>
                </a:moveTo>
                <a:cubicBezTo>
                  <a:pt x="297458" y="373109"/>
                  <a:pt x="292945" y="377614"/>
                  <a:pt x="292945" y="383200"/>
                </a:cubicBezTo>
                <a:cubicBezTo>
                  <a:pt x="292945" y="388787"/>
                  <a:pt x="297458" y="393292"/>
                  <a:pt x="303053" y="393292"/>
                </a:cubicBezTo>
                <a:lnTo>
                  <a:pt x="343484" y="393292"/>
                </a:lnTo>
                <a:lnTo>
                  <a:pt x="343484" y="403383"/>
                </a:lnTo>
                <a:cubicBezTo>
                  <a:pt x="343484" y="408879"/>
                  <a:pt x="347997" y="413474"/>
                  <a:pt x="353592" y="413474"/>
                </a:cubicBezTo>
                <a:cubicBezTo>
                  <a:pt x="359097" y="413474"/>
                  <a:pt x="363610" y="408969"/>
                  <a:pt x="363610" y="403383"/>
                </a:cubicBezTo>
                <a:lnTo>
                  <a:pt x="363610" y="383200"/>
                </a:lnTo>
                <a:cubicBezTo>
                  <a:pt x="363610" y="377614"/>
                  <a:pt x="359097" y="373109"/>
                  <a:pt x="353592" y="373109"/>
                </a:cubicBezTo>
                <a:close/>
                <a:moveTo>
                  <a:pt x="313169" y="282403"/>
                </a:moveTo>
                <a:lnTo>
                  <a:pt x="447018" y="282403"/>
                </a:lnTo>
                <a:lnTo>
                  <a:pt x="465069" y="311699"/>
                </a:lnTo>
                <a:cubicBezTo>
                  <a:pt x="467506" y="315665"/>
                  <a:pt x="470304" y="319271"/>
                  <a:pt x="473282" y="322696"/>
                </a:cubicBezTo>
                <a:lnTo>
                  <a:pt x="313169" y="322696"/>
                </a:lnTo>
                <a:close/>
                <a:moveTo>
                  <a:pt x="161665" y="282403"/>
                </a:moveTo>
                <a:lnTo>
                  <a:pt x="292917" y="282403"/>
                </a:lnTo>
                <a:lnTo>
                  <a:pt x="292917" y="322696"/>
                </a:lnTo>
                <a:lnTo>
                  <a:pt x="161665" y="322696"/>
                </a:lnTo>
                <a:close/>
                <a:moveTo>
                  <a:pt x="191958" y="0"/>
                </a:moveTo>
                <a:cubicBezTo>
                  <a:pt x="197553" y="0"/>
                  <a:pt x="202066" y="4505"/>
                  <a:pt x="202066" y="10092"/>
                </a:cubicBezTo>
                <a:lnTo>
                  <a:pt x="202066" y="40366"/>
                </a:lnTo>
                <a:lnTo>
                  <a:pt x="222281" y="40366"/>
                </a:lnTo>
                <a:lnTo>
                  <a:pt x="222281" y="10092"/>
                </a:lnTo>
                <a:cubicBezTo>
                  <a:pt x="222281" y="4505"/>
                  <a:pt x="226793" y="0"/>
                  <a:pt x="232389" y="0"/>
                </a:cubicBezTo>
                <a:cubicBezTo>
                  <a:pt x="237894" y="0"/>
                  <a:pt x="242406" y="4505"/>
                  <a:pt x="242406" y="10092"/>
                </a:cubicBezTo>
                <a:lnTo>
                  <a:pt x="242406" y="40366"/>
                </a:lnTo>
                <a:cubicBezTo>
                  <a:pt x="248002" y="40366"/>
                  <a:pt x="252514" y="44871"/>
                  <a:pt x="252514" y="50457"/>
                </a:cubicBezTo>
                <a:lnTo>
                  <a:pt x="252514" y="100823"/>
                </a:lnTo>
                <a:cubicBezTo>
                  <a:pt x="252514" y="106410"/>
                  <a:pt x="248002" y="110915"/>
                  <a:pt x="242406" y="110915"/>
                </a:cubicBezTo>
                <a:lnTo>
                  <a:pt x="221379" y="110915"/>
                </a:lnTo>
                <a:cubicBezTo>
                  <a:pt x="216505" y="139477"/>
                  <a:pt x="191597" y="161371"/>
                  <a:pt x="161634" y="161371"/>
                </a:cubicBezTo>
                <a:cubicBezTo>
                  <a:pt x="128243" y="161371"/>
                  <a:pt x="101078" y="134251"/>
                  <a:pt x="101078" y="100823"/>
                </a:cubicBezTo>
                <a:cubicBezTo>
                  <a:pt x="101078" y="78568"/>
                  <a:pt x="82938" y="60548"/>
                  <a:pt x="60647" y="60548"/>
                </a:cubicBezTo>
                <a:cubicBezTo>
                  <a:pt x="38355" y="60548"/>
                  <a:pt x="20216" y="78568"/>
                  <a:pt x="20216" y="100823"/>
                </a:cubicBezTo>
                <a:lnTo>
                  <a:pt x="20216" y="231921"/>
                </a:lnTo>
                <a:cubicBezTo>
                  <a:pt x="20216" y="265258"/>
                  <a:pt x="47470" y="292469"/>
                  <a:pt x="80862" y="292469"/>
                </a:cubicBezTo>
                <a:cubicBezTo>
                  <a:pt x="81314" y="292469"/>
                  <a:pt x="81675" y="292649"/>
                  <a:pt x="82126" y="292649"/>
                </a:cubicBezTo>
                <a:lnTo>
                  <a:pt x="105229" y="255167"/>
                </a:lnTo>
                <a:cubicBezTo>
                  <a:pt x="117864" y="234624"/>
                  <a:pt x="140697" y="221829"/>
                  <a:pt x="164883" y="221829"/>
                </a:cubicBezTo>
                <a:lnTo>
                  <a:pt x="370559" y="221829"/>
                </a:lnTo>
                <a:cubicBezTo>
                  <a:pt x="394655" y="221829"/>
                  <a:pt x="417578" y="234624"/>
                  <a:pt x="430213" y="255077"/>
                </a:cubicBezTo>
                <a:lnTo>
                  <a:pt x="434545" y="262195"/>
                </a:lnTo>
                <a:lnTo>
                  <a:pt x="159920" y="262195"/>
                </a:lnTo>
                <a:cubicBezTo>
                  <a:pt x="149722" y="262195"/>
                  <a:pt x="141419" y="270484"/>
                  <a:pt x="141419" y="280575"/>
                </a:cubicBezTo>
                <a:lnTo>
                  <a:pt x="141419" y="324455"/>
                </a:lnTo>
                <a:cubicBezTo>
                  <a:pt x="141419" y="334546"/>
                  <a:pt x="149722" y="342835"/>
                  <a:pt x="159920" y="342835"/>
                </a:cubicBezTo>
                <a:lnTo>
                  <a:pt x="498801" y="342835"/>
                </a:lnTo>
                <a:cubicBezTo>
                  <a:pt x="511075" y="349322"/>
                  <a:pt x="524793" y="352926"/>
                  <a:pt x="538962" y="352926"/>
                </a:cubicBezTo>
                <a:lnTo>
                  <a:pt x="580566" y="352926"/>
                </a:lnTo>
                <a:cubicBezTo>
                  <a:pt x="594645" y="352926"/>
                  <a:pt x="606016" y="364369"/>
                  <a:pt x="606016" y="378335"/>
                </a:cubicBezTo>
                <a:lnTo>
                  <a:pt x="606016" y="403383"/>
                </a:lnTo>
                <a:lnTo>
                  <a:pt x="555567" y="403383"/>
                </a:lnTo>
                <a:cubicBezTo>
                  <a:pt x="549972" y="403383"/>
                  <a:pt x="545460" y="407888"/>
                  <a:pt x="545460" y="413474"/>
                </a:cubicBezTo>
                <a:cubicBezTo>
                  <a:pt x="545460" y="418971"/>
                  <a:pt x="549972" y="423476"/>
                  <a:pt x="555567" y="423476"/>
                </a:cubicBezTo>
                <a:lnTo>
                  <a:pt x="606016" y="423476"/>
                </a:lnTo>
                <a:lnTo>
                  <a:pt x="606016" y="463391"/>
                </a:lnTo>
                <a:cubicBezTo>
                  <a:pt x="606016" y="485916"/>
                  <a:pt x="587696" y="504206"/>
                  <a:pt x="565224" y="504206"/>
                </a:cubicBezTo>
                <a:lnTo>
                  <a:pt x="554755" y="504206"/>
                </a:lnTo>
                <a:cubicBezTo>
                  <a:pt x="549791" y="538355"/>
                  <a:pt x="520371" y="564664"/>
                  <a:pt x="484813" y="564664"/>
                </a:cubicBezTo>
                <a:cubicBezTo>
                  <a:pt x="449345" y="564664"/>
                  <a:pt x="419924" y="538355"/>
                  <a:pt x="414961" y="504206"/>
                </a:cubicBezTo>
                <a:lnTo>
                  <a:pt x="191145" y="504206"/>
                </a:lnTo>
                <a:cubicBezTo>
                  <a:pt x="186182" y="538355"/>
                  <a:pt x="156761" y="564664"/>
                  <a:pt x="121293" y="564664"/>
                </a:cubicBezTo>
                <a:cubicBezTo>
                  <a:pt x="85736" y="564664"/>
                  <a:pt x="56315" y="538355"/>
                  <a:pt x="51351" y="504206"/>
                </a:cubicBezTo>
                <a:lnTo>
                  <a:pt x="35377" y="504206"/>
                </a:lnTo>
                <a:cubicBezTo>
                  <a:pt x="15884" y="504206"/>
                  <a:pt x="90" y="488349"/>
                  <a:pt x="90" y="468977"/>
                </a:cubicBezTo>
                <a:lnTo>
                  <a:pt x="0" y="423476"/>
                </a:lnTo>
                <a:lnTo>
                  <a:pt x="50539" y="423476"/>
                </a:lnTo>
                <a:cubicBezTo>
                  <a:pt x="56134" y="423476"/>
                  <a:pt x="60647" y="418971"/>
                  <a:pt x="60647" y="413474"/>
                </a:cubicBezTo>
                <a:cubicBezTo>
                  <a:pt x="60647" y="407888"/>
                  <a:pt x="56134" y="403383"/>
                  <a:pt x="50539" y="403383"/>
                </a:cubicBezTo>
                <a:lnTo>
                  <a:pt x="0" y="403383"/>
                </a:lnTo>
                <a:lnTo>
                  <a:pt x="0" y="378335"/>
                </a:lnTo>
                <a:cubicBezTo>
                  <a:pt x="0" y="371577"/>
                  <a:pt x="2617" y="365180"/>
                  <a:pt x="7400" y="360405"/>
                </a:cubicBezTo>
                <a:cubicBezTo>
                  <a:pt x="12274" y="355630"/>
                  <a:pt x="18681" y="352926"/>
                  <a:pt x="25540" y="352926"/>
                </a:cubicBezTo>
                <a:cubicBezTo>
                  <a:pt x="37814" y="352926"/>
                  <a:pt x="48824" y="346710"/>
                  <a:pt x="54961" y="336798"/>
                </a:cubicBezTo>
                <a:lnTo>
                  <a:pt x="70303" y="311840"/>
                </a:lnTo>
                <a:cubicBezTo>
                  <a:pt x="30775" y="306614"/>
                  <a:pt x="90" y="272827"/>
                  <a:pt x="90" y="231921"/>
                </a:cubicBezTo>
                <a:lnTo>
                  <a:pt x="90" y="100823"/>
                </a:lnTo>
                <a:cubicBezTo>
                  <a:pt x="90" y="67486"/>
                  <a:pt x="27255" y="40366"/>
                  <a:pt x="60647" y="40366"/>
                </a:cubicBezTo>
                <a:cubicBezTo>
                  <a:pt x="94039" y="40366"/>
                  <a:pt x="121293" y="67486"/>
                  <a:pt x="121293" y="100823"/>
                </a:cubicBezTo>
                <a:cubicBezTo>
                  <a:pt x="121293" y="123078"/>
                  <a:pt x="139343" y="141189"/>
                  <a:pt x="161634" y="141189"/>
                </a:cubicBezTo>
                <a:cubicBezTo>
                  <a:pt x="180406" y="141189"/>
                  <a:pt x="196109" y="128304"/>
                  <a:pt x="200622" y="110915"/>
                </a:cubicBezTo>
                <a:lnTo>
                  <a:pt x="181850" y="110915"/>
                </a:lnTo>
                <a:cubicBezTo>
                  <a:pt x="176255" y="110915"/>
                  <a:pt x="171742" y="106410"/>
                  <a:pt x="171742" y="100823"/>
                </a:cubicBezTo>
                <a:lnTo>
                  <a:pt x="171742" y="50457"/>
                </a:lnTo>
                <a:cubicBezTo>
                  <a:pt x="171742" y="44871"/>
                  <a:pt x="176255" y="40366"/>
                  <a:pt x="181850" y="40366"/>
                </a:cubicBezTo>
                <a:lnTo>
                  <a:pt x="181850" y="10092"/>
                </a:lnTo>
                <a:cubicBezTo>
                  <a:pt x="181850" y="4505"/>
                  <a:pt x="186362" y="0"/>
                  <a:pt x="191958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3" name="任意多边形: 形状 182">
            <a:extLst>
              <a:ext uri="{FF2B5EF4-FFF2-40B4-BE49-F238E27FC236}">
                <a16:creationId xmlns:a16="http://schemas.microsoft.com/office/drawing/2014/main" id="{65D28CF5-7A50-461B-8998-DCA1A0E754F4}"/>
              </a:ext>
            </a:extLst>
          </p:cNvPr>
          <p:cNvSpPr/>
          <p:nvPr/>
        </p:nvSpPr>
        <p:spPr bwMode="auto">
          <a:xfrm>
            <a:off x="5259138" y="2423874"/>
            <a:ext cx="470687" cy="533190"/>
          </a:xfrm>
          <a:custGeom>
            <a:avLst/>
            <a:gdLst>
              <a:gd name="T0" fmla="*/ 372171 w 604011"/>
              <a:gd name="T1" fmla="*/ 372171 w 604011"/>
              <a:gd name="T2" fmla="*/ 372171 w 604011"/>
              <a:gd name="T3" fmla="*/ 372171 w 604011"/>
              <a:gd name="T4" fmla="*/ 372171 w 604011"/>
              <a:gd name="T5" fmla="*/ 372171 w 604011"/>
              <a:gd name="T6" fmla="*/ 372171 w 604011"/>
              <a:gd name="T7" fmla="*/ 372171 w 604011"/>
              <a:gd name="T8" fmla="*/ 372171 w 604011"/>
              <a:gd name="T9" fmla="*/ 372171 w 604011"/>
              <a:gd name="T10" fmla="*/ 372171 w 604011"/>
              <a:gd name="T11" fmla="*/ 372171 w 604011"/>
              <a:gd name="T12" fmla="*/ 372171 w 604011"/>
              <a:gd name="T13" fmla="*/ 372171 w 604011"/>
              <a:gd name="T14" fmla="*/ 372171 w 604011"/>
              <a:gd name="T15" fmla="*/ 372171 w 604011"/>
              <a:gd name="T16" fmla="*/ 372171 w 604011"/>
              <a:gd name="T17" fmla="*/ 372171 w 604011"/>
              <a:gd name="T18" fmla="*/ 372171 w 604011"/>
              <a:gd name="T19" fmla="*/ 372171 w 604011"/>
              <a:gd name="T20" fmla="*/ 372171 w 604011"/>
              <a:gd name="T21" fmla="*/ 372171 w 604011"/>
              <a:gd name="T22" fmla="*/ 372171 w 604011"/>
              <a:gd name="T23" fmla="*/ 372171 w 604011"/>
              <a:gd name="T24" fmla="*/ 372171 w 604011"/>
              <a:gd name="T25" fmla="*/ 372171 w 604011"/>
              <a:gd name="T26" fmla="*/ 372171 w 604011"/>
              <a:gd name="T27" fmla="*/ 372171 w 604011"/>
              <a:gd name="T28" fmla="*/ 372171 w 604011"/>
              <a:gd name="T29" fmla="*/ 372171 w 604011"/>
              <a:gd name="T30" fmla="*/ 372171 w 604011"/>
              <a:gd name="T31" fmla="*/ 372171 w 604011"/>
              <a:gd name="T32" fmla="*/ 372171 w 604011"/>
              <a:gd name="T33" fmla="*/ 372171 w 604011"/>
              <a:gd name="T34" fmla="*/ 372171 w 604011"/>
              <a:gd name="T35" fmla="*/ 372171 w 604011"/>
              <a:gd name="T36" fmla="*/ 372171 w 604011"/>
              <a:gd name="T37" fmla="*/ 372171 w 604011"/>
              <a:gd name="T38" fmla="*/ 372171 w 604011"/>
              <a:gd name="T39" fmla="*/ 372171 w 604011"/>
              <a:gd name="T40" fmla="*/ 372171 w 604011"/>
              <a:gd name="T41" fmla="*/ 372171 w 604011"/>
              <a:gd name="T42" fmla="*/ 372171 w 604011"/>
              <a:gd name="T43" fmla="*/ 372171 w 604011"/>
              <a:gd name="T44" fmla="*/ 372171 w 604011"/>
              <a:gd name="T45" fmla="*/ 372171 w 604011"/>
              <a:gd name="T46" fmla="*/ 372171 w 604011"/>
              <a:gd name="T47" fmla="*/ 372171 w 604011"/>
              <a:gd name="T48" fmla="*/ 372171 w 604011"/>
              <a:gd name="T49" fmla="*/ 372171 w 604011"/>
              <a:gd name="T50" fmla="*/ 372171 w 604011"/>
              <a:gd name="T51" fmla="*/ 372171 w 604011"/>
              <a:gd name="T52" fmla="*/ 372171 w 604011"/>
              <a:gd name="T53" fmla="*/ 372171 w 604011"/>
              <a:gd name="T54" fmla="*/ 372171 w 604011"/>
              <a:gd name="T55" fmla="*/ 372171 w 604011"/>
              <a:gd name="T56" fmla="*/ 372171 w 604011"/>
              <a:gd name="T57" fmla="*/ 372171 w 6040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5344" h="6062">
                <a:moveTo>
                  <a:pt x="2976" y="1855"/>
                </a:moveTo>
                <a:cubicBezTo>
                  <a:pt x="2574" y="614"/>
                  <a:pt x="3142" y="0"/>
                  <a:pt x="3142" y="0"/>
                </a:cubicBezTo>
                <a:cubicBezTo>
                  <a:pt x="3142" y="0"/>
                  <a:pt x="1278" y="896"/>
                  <a:pt x="726" y="3310"/>
                </a:cubicBezTo>
                <a:cubicBezTo>
                  <a:pt x="493" y="2976"/>
                  <a:pt x="291" y="2793"/>
                  <a:pt x="314" y="2853"/>
                </a:cubicBezTo>
                <a:cubicBezTo>
                  <a:pt x="563" y="3499"/>
                  <a:pt x="0" y="3788"/>
                  <a:pt x="7" y="4468"/>
                </a:cubicBezTo>
                <a:cubicBezTo>
                  <a:pt x="15" y="5149"/>
                  <a:pt x="1189" y="5928"/>
                  <a:pt x="1189" y="5928"/>
                </a:cubicBezTo>
                <a:cubicBezTo>
                  <a:pt x="1189" y="5927"/>
                  <a:pt x="1190" y="5927"/>
                  <a:pt x="1190" y="5927"/>
                </a:cubicBezTo>
                <a:cubicBezTo>
                  <a:pt x="1236" y="5961"/>
                  <a:pt x="1285" y="5993"/>
                  <a:pt x="1336" y="6024"/>
                </a:cubicBezTo>
                <a:cubicBezTo>
                  <a:pt x="1292" y="5972"/>
                  <a:pt x="1251" y="5918"/>
                  <a:pt x="1213" y="5864"/>
                </a:cubicBezTo>
                <a:cubicBezTo>
                  <a:pt x="1086" y="5682"/>
                  <a:pt x="996" y="5491"/>
                  <a:pt x="994" y="5306"/>
                </a:cubicBezTo>
                <a:cubicBezTo>
                  <a:pt x="990" y="4941"/>
                  <a:pt x="1150" y="4689"/>
                  <a:pt x="1261" y="4434"/>
                </a:cubicBezTo>
                <a:cubicBezTo>
                  <a:pt x="1357" y="4213"/>
                  <a:pt x="1417" y="3990"/>
                  <a:pt x="1301" y="3690"/>
                </a:cubicBezTo>
                <a:cubicBezTo>
                  <a:pt x="1283" y="3643"/>
                  <a:pt x="1405" y="3747"/>
                  <a:pt x="1572" y="3957"/>
                </a:cubicBezTo>
                <a:cubicBezTo>
                  <a:pt x="1896" y="3077"/>
                  <a:pt x="2216" y="2314"/>
                  <a:pt x="2216" y="2314"/>
                </a:cubicBezTo>
                <a:cubicBezTo>
                  <a:pt x="2216" y="2314"/>
                  <a:pt x="2225" y="3512"/>
                  <a:pt x="2631" y="4281"/>
                </a:cubicBezTo>
                <a:cubicBezTo>
                  <a:pt x="3012" y="5002"/>
                  <a:pt x="2989" y="5372"/>
                  <a:pt x="2989" y="5372"/>
                </a:cubicBezTo>
                <a:cubicBezTo>
                  <a:pt x="3683" y="4709"/>
                  <a:pt x="3915" y="3655"/>
                  <a:pt x="3915" y="3655"/>
                </a:cubicBezTo>
                <a:cubicBezTo>
                  <a:pt x="4167" y="3877"/>
                  <a:pt x="4312" y="4160"/>
                  <a:pt x="4394" y="4444"/>
                </a:cubicBezTo>
                <a:cubicBezTo>
                  <a:pt x="4566" y="5041"/>
                  <a:pt x="4211" y="5642"/>
                  <a:pt x="4203" y="5700"/>
                </a:cubicBezTo>
                <a:cubicBezTo>
                  <a:pt x="4199" y="5724"/>
                  <a:pt x="4193" y="5747"/>
                  <a:pt x="4188" y="5770"/>
                </a:cubicBezTo>
                <a:cubicBezTo>
                  <a:pt x="4164" y="5879"/>
                  <a:pt x="4120" y="5976"/>
                  <a:pt x="4060" y="6062"/>
                </a:cubicBezTo>
                <a:cubicBezTo>
                  <a:pt x="4125" y="6021"/>
                  <a:pt x="4187" y="5975"/>
                  <a:pt x="4246" y="5927"/>
                </a:cubicBezTo>
                <a:cubicBezTo>
                  <a:pt x="4246" y="5927"/>
                  <a:pt x="4247" y="5927"/>
                  <a:pt x="4247" y="5928"/>
                </a:cubicBezTo>
                <a:cubicBezTo>
                  <a:pt x="4247" y="5928"/>
                  <a:pt x="5329" y="5149"/>
                  <a:pt x="5337" y="4468"/>
                </a:cubicBezTo>
                <a:cubicBezTo>
                  <a:pt x="5344" y="3788"/>
                  <a:pt x="4781" y="3498"/>
                  <a:pt x="5030" y="2853"/>
                </a:cubicBezTo>
                <a:cubicBezTo>
                  <a:pt x="5052" y="2797"/>
                  <a:pt x="4887" y="2952"/>
                  <a:pt x="4689" y="3246"/>
                </a:cubicBezTo>
                <a:cubicBezTo>
                  <a:pt x="4492" y="2640"/>
                  <a:pt x="4366" y="2150"/>
                  <a:pt x="3709" y="1570"/>
                </a:cubicBezTo>
                <a:cubicBezTo>
                  <a:pt x="3709" y="1570"/>
                  <a:pt x="3831" y="2888"/>
                  <a:pt x="3132" y="3843"/>
                </a:cubicBezTo>
                <a:cubicBezTo>
                  <a:pt x="3132" y="3843"/>
                  <a:pt x="3378" y="3097"/>
                  <a:pt x="2976" y="185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4" name="任意多边形: 形状 183">
            <a:extLst>
              <a:ext uri="{FF2B5EF4-FFF2-40B4-BE49-F238E27FC236}">
                <a16:creationId xmlns:a16="http://schemas.microsoft.com/office/drawing/2014/main" id="{1175A03F-584F-42FA-AAB4-34973BABBF54}"/>
              </a:ext>
            </a:extLst>
          </p:cNvPr>
          <p:cNvSpPr/>
          <p:nvPr/>
        </p:nvSpPr>
        <p:spPr bwMode="auto">
          <a:xfrm>
            <a:off x="6430923" y="3089097"/>
            <a:ext cx="533190" cy="489918"/>
          </a:xfrm>
          <a:custGeom>
            <a:avLst/>
            <a:gdLst>
              <a:gd name="connsiteX0" fmla="*/ 373273 h 605239"/>
              <a:gd name="connsiteY0" fmla="*/ 373273 h 605239"/>
              <a:gd name="connsiteX1" fmla="*/ 373273 h 605239"/>
              <a:gd name="connsiteY1" fmla="*/ 373273 h 605239"/>
              <a:gd name="connsiteX2" fmla="*/ 373273 h 605239"/>
              <a:gd name="connsiteY2" fmla="*/ 373273 h 605239"/>
              <a:gd name="connsiteX3" fmla="*/ 373273 h 605239"/>
              <a:gd name="connsiteY3" fmla="*/ 373273 h 605239"/>
              <a:gd name="connsiteX4" fmla="*/ 373273 h 605239"/>
              <a:gd name="connsiteY4" fmla="*/ 373273 h 605239"/>
              <a:gd name="connsiteX5" fmla="*/ 373273 h 605239"/>
              <a:gd name="connsiteY5" fmla="*/ 373273 h 605239"/>
              <a:gd name="connsiteX6" fmla="*/ 373273 h 605239"/>
              <a:gd name="connsiteY6" fmla="*/ 373273 h 605239"/>
              <a:gd name="connsiteX7" fmla="*/ 373273 h 605239"/>
              <a:gd name="connsiteY7" fmla="*/ 373273 h 605239"/>
              <a:gd name="connsiteX8" fmla="*/ 373273 h 605239"/>
              <a:gd name="connsiteY8" fmla="*/ 373273 h 605239"/>
              <a:gd name="connsiteX9" fmla="*/ 373273 h 605239"/>
              <a:gd name="connsiteY9" fmla="*/ 373273 h 605239"/>
              <a:gd name="connsiteX10" fmla="*/ 373273 h 605239"/>
              <a:gd name="connsiteY10" fmla="*/ 373273 h 605239"/>
              <a:gd name="connsiteX11" fmla="*/ 373273 h 605239"/>
              <a:gd name="connsiteY11" fmla="*/ 373273 h 605239"/>
              <a:gd name="connsiteX12" fmla="*/ 373273 h 605239"/>
              <a:gd name="connsiteY12" fmla="*/ 373273 h 605239"/>
              <a:gd name="connsiteX13" fmla="*/ 373273 h 605239"/>
              <a:gd name="connsiteY13" fmla="*/ 373273 h 605239"/>
              <a:gd name="connsiteX14" fmla="*/ 373273 h 605239"/>
              <a:gd name="connsiteY14" fmla="*/ 373273 h 605239"/>
              <a:gd name="connsiteX15" fmla="*/ 373273 h 605239"/>
              <a:gd name="connsiteY15" fmla="*/ 373273 h 605239"/>
              <a:gd name="connsiteX16" fmla="*/ 373273 h 605239"/>
              <a:gd name="connsiteY16" fmla="*/ 373273 h 605239"/>
              <a:gd name="connsiteX17" fmla="*/ 373273 h 605239"/>
              <a:gd name="connsiteY17" fmla="*/ 373273 h 605239"/>
              <a:gd name="connsiteX18" fmla="*/ 373273 h 605239"/>
              <a:gd name="connsiteY18" fmla="*/ 373273 h 605239"/>
              <a:gd name="connsiteX19" fmla="*/ 373273 h 605239"/>
              <a:gd name="connsiteY19" fmla="*/ 373273 h 605239"/>
              <a:gd name="connsiteX20" fmla="*/ 373273 h 605239"/>
              <a:gd name="connsiteY20" fmla="*/ 373273 h 605239"/>
              <a:gd name="connsiteX21" fmla="*/ 373273 h 605239"/>
              <a:gd name="connsiteY21" fmla="*/ 373273 h 605239"/>
              <a:gd name="connsiteX22" fmla="*/ 373273 h 605239"/>
              <a:gd name="connsiteY22" fmla="*/ 373273 h 605239"/>
              <a:gd name="connsiteX23" fmla="*/ 373273 h 605239"/>
              <a:gd name="connsiteY23" fmla="*/ 373273 h 605239"/>
              <a:gd name="connsiteX24" fmla="*/ 373273 h 605239"/>
              <a:gd name="connsiteY24" fmla="*/ 373273 h 605239"/>
              <a:gd name="connsiteX25" fmla="*/ 373273 h 605239"/>
              <a:gd name="connsiteY25" fmla="*/ 373273 h 605239"/>
              <a:gd name="connsiteX26" fmla="*/ 373273 h 605239"/>
              <a:gd name="connsiteY26" fmla="*/ 373273 h 605239"/>
              <a:gd name="connsiteX27" fmla="*/ 373273 h 605239"/>
              <a:gd name="connsiteY27" fmla="*/ 373273 h 605239"/>
              <a:gd name="connsiteX28" fmla="*/ 373273 h 605239"/>
              <a:gd name="connsiteY28" fmla="*/ 373273 h 605239"/>
              <a:gd name="connsiteX29" fmla="*/ 373273 h 605239"/>
              <a:gd name="connsiteY29" fmla="*/ 373273 h 605239"/>
              <a:gd name="connsiteX30" fmla="*/ 373273 h 605239"/>
              <a:gd name="connsiteY30" fmla="*/ 373273 h 605239"/>
              <a:gd name="connsiteX31" fmla="*/ 373273 h 605239"/>
              <a:gd name="connsiteY31" fmla="*/ 373273 h 605239"/>
              <a:gd name="connsiteX32" fmla="*/ 373273 h 605239"/>
              <a:gd name="connsiteY32" fmla="*/ 373273 h 605239"/>
              <a:gd name="connsiteX33" fmla="*/ 373273 h 605239"/>
              <a:gd name="connsiteY33" fmla="*/ 373273 h 605239"/>
              <a:gd name="connsiteX34" fmla="*/ 373273 h 605239"/>
              <a:gd name="connsiteY34" fmla="*/ 373273 h 605239"/>
              <a:gd name="connsiteX35" fmla="*/ 373273 h 605239"/>
              <a:gd name="connsiteY35" fmla="*/ 373273 h 605239"/>
              <a:gd name="connsiteX36" fmla="*/ 373273 h 605239"/>
              <a:gd name="connsiteY36" fmla="*/ 373273 h 605239"/>
              <a:gd name="connsiteX37" fmla="*/ 373273 h 605239"/>
              <a:gd name="connsiteY37" fmla="*/ 373273 h 605239"/>
              <a:gd name="connsiteX38" fmla="*/ 373273 h 605239"/>
              <a:gd name="connsiteY38" fmla="*/ 373273 h 605239"/>
              <a:gd name="connsiteX39" fmla="*/ 373273 h 605239"/>
              <a:gd name="connsiteY39" fmla="*/ 373273 h 605239"/>
              <a:gd name="connsiteX40" fmla="*/ 373273 h 605239"/>
              <a:gd name="connsiteY40" fmla="*/ 373273 h 605239"/>
              <a:gd name="connsiteX41" fmla="*/ 373273 h 605239"/>
              <a:gd name="connsiteY41" fmla="*/ 373273 h 605239"/>
              <a:gd name="connsiteX42" fmla="*/ 373273 h 605239"/>
              <a:gd name="connsiteY42" fmla="*/ 373273 h 605239"/>
              <a:gd name="connsiteX43" fmla="*/ 373273 h 605239"/>
              <a:gd name="connsiteY43" fmla="*/ 373273 h 605239"/>
              <a:gd name="connsiteX44" fmla="*/ 373273 h 605239"/>
              <a:gd name="connsiteY44" fmla="*/ 373273 h 605239"/>
              <a:gd name="connsiteX45" fmla="*/ 373273 h 605239"/>
              <a:gd name="connsiteY45" fmla="*/ 373273 h 605239"/>
              <a:gd name="connsiteX46" fmla="*/ 373273 h 605239"/>
              <a:gd name="connsiteY46" fmla="*/ 373273 h 605239"/>
              <a:gd name="connsiteX47" fmla="*/ 373273 h 605239"/>
              <a:gd name="connsiteY47" fmla="*/ 373273 h 605239"/>
              <a:gd name="connsiteX48" fmla="*/ 373273 h 605239"/>
              <a:gd name="connsiteY48" fmla="*/ 373273 h 605239"/>
              <a:gd name="connsiteX49" fmla="*/ 373273 h 605239"/>
              <a:gd name="connsiteY49" fmla="*/ 373273 h 605239"/>
              <a:gd name="connsiteX50" fmla="*/ 373273 h 605239"/>
              <a:gd name="connsiteY50" fmla="*/ 373273 h 605239"/>
              <a:gd name="connsiteX51" fmla="*/ 373273 h 605239"/>
              <a:gd name="connsiteY51" fmla="*/ 373273 h 605239"/>
              <a:gd name="connsiteX52" fmla="*/ 373273 h 605239"/>
              <a:gd name="connsiteY52" fmla="*/ 373273 h 605239"/>
              <a:gd name="connsiteX53" fmla="*/ 373273 h 605239"/>
              <a:gd name="connsiteY53" fmla="*/ 373273 h 605239"/>
              <a:gd name="connsiteX54" fmla="*/ 373273 h 605239"/>
              <a:gd name="connsiteY54" fmla="*/ 373273 h 605239"/>
              <a:gd name="connsiteX55" fmla="*/ 373273 h 605239"/>
              <a:gd name="connsiteY55" fmla="*/ 373273 h 605239"/>
              <a:gd name="connsiteX56" fmla="*/ 373273 h 605239"/>
              <a:gd name="connsiteY56" fmla="*/ 373273 h 605239"/>
              <a:gd name="connsiteX57" fmla="*/ 373273 h 605239"/>
              <a:gd name="connsiteY57" fmla="*/ 373273 h 605239"/>
              <a:gd name="connsiteX58" fmla="*/ 373273 h 605239"/>
              <a:gd name="connsiteY58" fmla="*/ 373273 h 605239"/>
              <a:gd name="connsiteX59" fmla="*/ 373273 h 605239"/>
              <a:gd name="connsiteY59" fmla="*/ 373273 h 605239"/>
              <a:gd name="connsiteX60" fmla="*/ 373273 h 605239"/>
              <a:gd name="connsiteY60" fmla="*/ 373273 h 605239"/>
              <a:gd name="connsiteX61" fmla="*/ 373273 h 605239"/>
              <a:gd name="connsiteY61" fmla="*/ 373273 h 605239"/>
              <a:gd name="connsiteX62" fmla="*/ 373273 h 605239"/>
              <a:gd name="connsiteY62" fmla="*/ 373273 h 605239"/>
              <a:gd name="connsiteX63" fmla="*/ 373273 h 605239"/>
              <a:gd name="connsiteY63" fmla="*/ 373273 h 605239"/>
              <a:gd name="connsiteX64" fmla="*/ 373273 h 605239"/>
              <a:gd name="connsiteY64" fmla="*/ 373273 h 605239"/>
              <a:gd name="connsiteX65" fmla="*/ 373273 h 605239"/>
              <a:gd name="connsiteY65" fmla="*/ 373273 h 605239"/>
              <a:gd name="connsiteX66" fmla="*/ 373273 h 605239"/>
              <a:gd name="connsiteY66" fmla="*/ 373273 h 605239"/>
              <a:gd name="connsiteX67" fmla="*/ 373273 h 605239"/>
              <a:gd name="connsiteY67" fmla="*/ 373273 h 605239"/>
              <a:gd name="connsiteX68" fmla="*/ 373273 h 605239"/>
              <a:gd name="connsiteY68" fmla="*/ 373273 h 605239"/>
              <a:gd name="connsiteX69" fmla="*/ 373273 h 605239"/>
              <a:gd name="connsiteY69" fmla="*/ 373273 h 605239"/>
              <a:gd name="connsiteX70" fmla="*/ 373273 h 605239"/>
              <a:gd name="connsiteY70" fmla="*/ 373273 h 605239"/>
              <a:gd name="connsiteX71" fmla="*/ 373273 h 605239"/>
              <a:gd name="connsiteY71" fmla="*/ 373273 h 605239"/>
              <a:gd name="connsiteX72" fmla="*/ 373273 h 605239"/>
              <a:gd name="connsiteY72" fmla="*/ 373273 h 605239"/>
              <a:gd name="connsiteX73" fmla="*/ 373273 h 605239"/>
              <a:gd name="connsiteY73" fmla="*/ 373273 h 605239"/>
              <a:gd name="connsiteX74" fmla="*/ 373273 h 605239"/>
              <a:gd name="connsiteY74" fmla="*/ 373273 h 605239"/>
              <a:gd name="connsiteX75" fmla="*/ 373273 h 605239"/>
              <a:gd name="connsiteY75" fmla="*/ 373273 h 605239"/>
              <a:gd name="connsiteX76" fmla="*/ 373273 h 605239"/>
              <a:gd name="connsiteY76" fmla="*/ 373273 h 605239"/>
              <a:gd name="connsiteX77" fmla="*/ 373273 h 605239"/>
              <a:gd name="connsiteY77" fmla="*/ 373273 h 605239"/>
              <a:gd name="connsiteX78" fmla="*/ 373273 h 605239"/>
              <a:gd name="connsiteY78" fmla="*/ 373273 h 605239"/>
              <a:gd name="connsiteX79" fmla="*/ 373273 h 605239"/>
              <a:gd name="connsiteY79" fmla="*/ 373273 h 605239"/>
              <a:gd name="connsiteX80" fmla="*/ 373273 h 605239"/>
              <a:gd name="connsiteY80" fmla="*/ 373273 h 605239"/>
              <a:gd name="connsiteX81" fmla="*/ 373273 h 605239"/>
              <a:gd name="connsiteY81" fmla="*/ 373273 h 605239"/>
              <a:gd name="connsiteX82" fmla="*/ 373273 h 605239"/>
              <a:gd name="connsiteY82" fmla="*/ 373273 h 605239"/>
              <a:gd name="connsiteX83" fmla="*/ 373273 h 605239"/>
              <a:gd name="connsiteY83" fmla="*/ 373273 h 605239"/>
              <a:gd name="connsiteX84" fmla="*/ 373273 h 605239"/>
              <a:gd name="connsiteY84" fmla="*/ 373273 h 605239"/>
              <a:gd name="connsiteX85" fmla="*/ 373273 h 605239"/>
              <a:gd name="connsiteY85" fmla="*/ 373273 h 605239"/>
              <a:gd name="connsiteX86" fmla="*/ 373273 h 605239"/>
              <a:gd name="connsiteY86" fmla="*/ 373273 h 605239"/>
              <a:gd name="connsiteX87" fmla="*/ 373273 h 605239"/>
              <a:gd name="connsiteY87" fmla="*/ 373273 h 605239"/>
              <a:gd name="connsiteX88" fmla="*/ 373273 h 605239"/>
              <a:gd name="connsiteY88" fmla="*/ 373273 h 605239"/>
              <a:gd name="connsiteX89" fmla="*/ 373273 h 605239"/>
              <a:gd name="connsiteY89" fmla="*/ 373273 h 605239"/>
              <a:gd name="connsiteX90" fmla="*/ 373273 h 605239"/>
              <a:gd name="connsiteY90" fmla="*/ 373273 h 605239"/>
              <a:gd name="connsiteX91" fmla="*/ 373273 h 605239"/>
              <a:gd name="connsiteY91" fmla="*/ 373273 h 605239"/>
              <a:gd name="connsiteX92" fmla="*/ 373273 h 605239"/>
              <a:gd name="connsiteY92" fmla="*/ 373273 h 605239"/>
              <a:gd name="connsiteX93" fmla="*/ 373273 h 605239"/>
              <a:gd name="connsiteY93" fmla="*/ 373273 h 605239"/>
              <a:gd name="connsiteX94" fmla="*/ 373273 h 605239"/>
              <a:gd name="connsiteY94" fmla="*/ 373273 h 605239"/>
              <a:gd name="connsiteX95" fmla="*/ 373273 h 605239"/>
              <a:gd name="connsiteY95" fmla="*/ 373273 h 605239"/>
              <a:gd name="connsiteX96" fmla="*/ 373273 h 605239"/>
              <a:gd name="connsiteY96" fmla="*/ 373273 h 605239"/>
              <a:gd name="connsiteX97" fmla="*/ 373273 h 605239"/>
              <a:gd name="connsiteY97" fmla="*/ 373273 h 605239"/>
              <a:gd name="connsiteX98" fmla="*/ 373273 h 605239"/>
              <a:gd name="connsiteY98" fmla="*/ 373273 h 605239"/>
              <a:gd name="connsiteX99" fmla="*/ 373273 h 605239"/>
              <a:gd name="connsiteY99" fmla="*/ 373273 h 605239"/>
              <a:gd name="connsiteX100" fmla="*/ 373273 h 605239"/>
              <a:gd name="connsiteY100" fmla="*/ 373273 h 605239"/>
              <a:gd name="connsiteX101" fmla="*/ 373273 h 605239"/>
              <a:gd name="connsiteY101" fmla="*/ 373273 h 605239"/>
              <a:gd name="connsiteX102" fmla="*/ 373273 h 605239"/>
              <a:gd name="connsiteY102" fmla="*/ 373273 h 605239"/>
              <a:gd name="connsiteX103" fmla="*/ 373273 h 605239"/>
              <a:gd name="connsiteY103" fmla="*/ 373273 h 605239"/>
              <a:gd name="connsiteX104" fmla="*/ 373273 h 605239"/>
              <a:gd name="connsiteY104" fmla="*/ 373273 h 605239"/>
              <a:gd name="connsiteX105" fmla="*/ 373273 h 605239"/>
              <a:gd name="connsiteY105" fmla="*/ 373273 h 605239"/>
              <a:gd name="connsiteX106" fmla="*/ 373273 h 605239"/>
              <a:gd name="connsiteY106" fmla="*/ 373273 h 605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</a:cxnLst>
            <a:rect l="l" t="t" r="r" b="b"/>
            <a:pathLst>
              <a:path w="608909" h="559493">
                <a:moveTo>
                  <a:pt x="470180" y="272856"/>
                </a:moveTo>
                <a:lnTo>
                  <a:pt x="476019" y="272856"/>
                </a:lnTo>
                <a:lnTo>
                  <a:pt x="481953" y="272856"/>
                </a:lnTo>
                <a:cubicBezTo>
                  <a:pt x="509171" y="272856"/>
                  <a:pt x="531210" y="294963"/>
                  <a:pt x="531210" y="322056"/>
                </a:cubicBezTo>
                <a:lnTo>
                  <a:pt x="531210" y="376617"/>
                </a:lnTo>
                <a:cubicBezTo>
                  <a:pt x="531210" y="385084"/>
                  <a:pt x="526783" y="392609"/>
                  <a:pt x="520096" y="397031"/>
                </a:cubicBezTo>
                <a:lnTo>
                  <a:pt x="520096" y="449711"/>
                </a:lnTo>
                <a:cubicBezTo>
                  <a:pt x="520096" y="450558"/>
                  <a:pt x="520661" y="451498"/>
                  <a:pt x="521509" y="451875"/>
                </a:cubicBezTo>
                <a:cubicBezTo>
                  <a:pt x="528949" y="455450"/>
                  <a:pt x="565492" y="473888"/>
                  <a:pt x="599209" y="501639"/>
                </a:cubicBezTo>
                <a:cubicBezTo>
                  <a:pt x="605425" y="506625"/>
                  <a:pt x="608909" y="514150"/>
                  <a:pt x="608909" y="522052"/>
                </a:cubicBezTo>
                <a:lnTo>
                  <a:pt x="608909" y="559493"/>
                </a:lnTo>
                <a:lnTo>
                  <a:pt x="483083" y="559493"/>
                </a:lnTo>
                <a:lnTo>
                  <a:pt x="483083" y="515561"/>
                </a:lnTo>
                <a:cubicBezTo>
                  <a:pt x="483083" y="499475"/>
                  <a:pt x="476019" y="484424"/>
                  <a:pt x="463587" y="474264"/>
                </a:cubicBezTo>
                <a:cubicBezTo>
                  <a:pt x="453039" y="465609"/>
                  <a:pt x="442302" y="457707"/>
                  <a:pt x="431848" y="450558"/>
                </a:cubicBezTo>
                <a:cubicBezTo>
                  <a:pt x="431848" y="450370"/>
                  <a:pt x="431942" y="450087"/>
                  <a:pt x="431942" y="449711"/>
                </a:cubicBezTo>
                <a:lnTo>
                  <a:pt x="431942" y="397031"/>
                </a:lnTo>
                <a:cubicBezTo>
                  <a:pt x="425350" y="392609"/>
                  <a:pt x="420923" y="385084"/>
                  <a:pt x="420923" y="376617"/>
                </a:cubicBezTo>
                <a:lnTo>
                  <a:pt x="420923" y="322056"/>
                </a:lnTo>
                <a:cubicBezTo>
                  <a:pt x="420923" y="294775"/>
                  <a:pt x="443056" y="272856"/>
                  <a:pt x="470180" y="272856"/>
                </a:cubicBezTo>
                <a:close/>
                <a:moveTo>
                  <a:pt x="127004" y="272856"/>
                </a:moveTo>
                <a:lnTo>
                  <a:pt x="132940" y="272856"/>
                </a:lnTo>
                <a:lnTo>
                  <a:pt x="138781" y="272856"/>
                </a:lnTo>
                <a:cubicBezTo>
                  <a:pt x="166104" y="272856"/>
                  <a:pt x="188057" y="294963"/>
                  <a:pt x="188057" y="322056"/>
                </a:cubicBezTo>
                <a:lnTo>
                  <a:pt x="188057" y="376617"/>
                </a:lnTo>
                <a:cubicBezTo>
                  <a:pt x="188057" y="385084"/>
                  <a:pt x="183629" y="392609"/>
                  <a:pt x="177033" y="397031"/>
                </a:cubicBezTo>
                <a:lnTo>
                  <a:pt x="177033" y="449711"/>
                </a:lnTo>
                <a:cubicBezTo>
                  <a:pt x="177033" y="449993"/>
                  <a:pt x="177128" y="450370"/>
                  <a:pt x="177128" y="450558"/>
                </a:cubicBezTo>
                <a:cubicBezTo>
                  <a:pt x="166670" y="457613"/>
                  <a:pt x="155929" y="465609"/>
                  <a:pt x="145376" y="474264"/>
                </a:cubicBezTo>
                <a:cubicBezTo>
                  <a:pt x="133034" y="484424"/>
                  <a:pt x="125874" y="499475"/>
                  <a:pt x="125874" y="515561"/>
                </a:cubicBezTo>
                <a:lnTo>
                  <a:pt x="125874" y="559493"/>
                </a:lnTo>
                <a:lnTo>
                  <a:pt x="0" y="559493"/>
                </a:lnTo>
                <a:lnTo>
                  <a:pt x="0" y="522052"/>
                </a:lnTo>
                <a:cubicBezTo>
                  <a:pt x="0" y="514150"/>
                  <a:pt x="3486" y="506625"/>
                  <a:pt x="9704" y="501639"/>
                </a:cubicBezTo>
                <a:cubicBezTo>
                  <a:pt x="43434" y="473888"/>
                  <a:pt x="79990" y="455450"/>
                  <a:pt x="87433" y="451875"/>
                </a:cubicBezTo>
                <a:cubicBezTo>
                  <a:pt x="88281" y="451498"/>
                  <a:pt x="88846" y="450558"/>
                  <a:pt x="88846" y="449711"/>
                </a:cubicBezTo>
                <a:lnTo>
                  <a:pt x="88846" y="397031"/>
                </a:lnTo>
                <a:cubicBezTo>
                  <a:pt x="82157" y="392609"/>
                  <a:pt x="77729" y="385084"/>
                  <a:pt x="77729" y="376617"/>
                </a:cubicBezTo>
                <a:lnTo>
                  <a:pt x="77729" y="322056"/>
                </a:lnTo>
                <a:cubicBezTo>
                  <a:pt x="77729" y="294775"/>
                  <a:pt x="99870" y="272856"/>
                  <a:pt x="127004" y="272856"/>
                </a:cubicBezTo>
                <a:close/>
                <a:moveTo>
                  <a:pt x="297600" y="222543"/>
                </a:moveTo>
                <a:lnTo>
                  <a:pt x="304477" y="222543"/>
                </a:lnTo>
                <a:lnTo>
                  <a:pt x="311260" y="222543"/>
                </a:lnTo>
                <a:cubicBezTo>
                  <a:pt x="343291" y="222543"/>
                  <a:pt x="369198" y="248506"/>
                  <a:pt x="369198" y="280395"/>
                </a:cubicBezTo>
                <a:lnTo>
                  <a:pt x="369198" y="344455"/>
                </a:lnTo>
                <a:cubicBezTo>
                  <a:pt x="369198" y="354520"/>
                  <a:pt x="364017" y="363456"/>
                  <a:pt x="356198" y="368536"/>
                </a:cubicBezTo>
                <a:lnTo>
                  <a:pt x="356198" y="430432"/>
                </a:lnTo>
                <a:cubicBezTo>
                  <a:pt x="356198" y="431561"/>
                  <a:pt x="356857" y="432502"/>
                  <a:pt x="357893" y="433066"/>
                </a:cubicBezTo>
                <a:cubicBezTo>
                  <a:pt x="366655" y="437299"/>
                  <a:pt x="409520" y="459029"/>
                  <a:pt x="449275" y="491576"/>
                </a:cubicBezTo>
                <a:cubicBezTo>
                  <a:pt x="456435" y="497502"/>
                  <a:pt x="460580" y="506251"/>
                  <a:pt x="460580" y="515563"/>
                </a:cubicBezTo>
                <a:lnTo>
                  <a:pt x="460580" y="559493"/>
                </a:lnTo>
                <a:lnTo>
                  <a:pt x="304477" y="559493"/>
                </a:lnTo>
                <a:lnTo>
                  <a:pt x="148187" y="559493"/>
                </a:lnTo>
                <a:lnTo>
                  <a:pt x="148187" y="515563"/>
                </a:lnTo>
                <a:cubicBezTo>
                  <a:pt x="148187" y="506251"/>
                  <a:pt x="152332" y="497502"/>
                  <a:pt x="159492" y="491576"/>
                </a:cubicBezTo>
                <a:cubicBezTo>
                  <a:pt x="199342" y="459029"/>
                  <a:pt x="242206" y="437299"/>
                  <a:pt x="250967" y="433066"/>
                </a:cubicBezTo>
                <a:cubicBezTo>
                  <a:pt x="252004" y="432502"/>
                  <a:pt x="252569" y="431561"/>
                  <a:pt x="252569" y="430432"/>
                </a:cubicBezTo>
                <a:lnTo>
                  <a:pt x="252569" y="368536"/>
                </a:lnTo>
                <a:cubicBezTo>
                  <a:pt x="244844" y="363456"/>
                  <a:pt x="239663" y="354520"/>
                  <a:pt x="239663" y="344455"/>
                </a:cubicBezTo>
                <a:lnTo>
                  <a:pt x="239663" y="280395"/>
                </a:lnTo>
                <a:cubicBezTo>
                  <a:pt x="239663" y="248412"/>
                  <a:pt x="265664" y="222543"/>
                  <a:pt x="297600" y="222543"/>
                </a:cubicBezTo>
                <a:close/>
                <a:moveTo>
                  <a:pt x="492495" y="40775"/>
                </a:moveTo>
                <a:cubicBezTo>
                  <a:pt x="488350" y="40775"/>
                  <a:pt x="487596" y="41528"/>
                  <a:pt x="487502" y="45854"/>
                </a:cubicBezTo>
                <a:lnTo>
                  <a:pt x="487502" y="51498"/>
                </a:lnTo>
                <a:cubicBezTo>
                  <a:pt x="487502" y="57142"/>
                  <a:pt x="487502" y="56953"/>
                  <a:pt x="482038" y="59023"/>
                </a:cubicBezTo>
                <a:cubicBezTo>
                  <a:pt x="469036" y="63726"/>
                  <a:pt x="460934" y="72661"/>
                  <a:pt x="460086" y="86864"/>
                </a:cubicBezTo>
                <a:cubicBezTo>
                  <a:pt x="459332" y="99374"/>
                  <a:pt x="465833" y="107934"/>
                  <a:pt x="476196" y="114048"/>
                </a:cubicBezTo>
                <a:cubicBezTo>
                  <a:pt x="482414" y="117810"/>
                  <a:pt x="489480" y="120068"/>
                  <a:pt x="496264" y="123078"/>
                </a:cubicBezTo>
                <a:cubicBezTo>
                  <a:pt x="498902" y="124206"/>
                  <a:pt x="501445" y="125617"/>
                  <a:pt x="503706" y="127310"/>
                </a:cubicBezTo>
                <a:cubicBezTo>
                  <a:pt x="510207" y="132578"/>
                  <a:pt x="508982" y="141513"/>
                  <a:pt x="501257" y="144900"/>
                </a:cubicBezTo>
                <a:cubicBezTo>
                  <a:pt x="497112" y="146781"/>
                  <a:pt x="492778" y="147157"/>
                  <a:pt x="488350" y="146687"/>
                </a:cubicBezTo>
                <a:cubicBezTo>
                  <a:pt x="481472" y="145746"/>
                  <a:pt x="474783" y="144053"/>
                  <a:pt x="468659" y="140761"/>
                </a:cubicBezTo>
                <a:cubicBezTo>
                  <a:pt x="464985" y="138880"/>
                  <a:pt x="463949" y="139350"/>
                  <a:pt x="462724" y="143301"/>
                </a:cubicBezTo>
                <a:cubicBezTo>
                  <a:pt x="461593" y="146687"/>
                  <a:pt x="460557" y="150167"/>
                  <a:pt x="459709" y="153553"/>
                </a:cubicBezTo>
                <a:cubicBezTo>
                  <a:pt x="458484" y="158162"/>
                  <a:pt x="458861" y="159291"/>
                  <a:pt x="463572" y="161548"/>
                </a:cubicBezTo>
                <a:cubicBezTo>
                  <a:pt x="469130" y="164370"/>
                  <a:pt x="475160" y="165687"/>
                  <a:pt x="481284" y="166722"/>
                </a:cubicBezTo>
                <a:cubicBezTo>
                  <a:pt x="486089" y="167474"/>
                  <a:pt x="486371" y="167568"/>
                  <a:pt x="486371" y="172647"/>
                </a:cubicBezTo>
                <a:lnTo>
                  <a:pt x="486371" y="179420"/>
                </a:lnTo>
                <a:cubicBezTo>
                  <a:pt x="486371" y="182147"/>
                  <a:pt x="487690" y="183934"/>
                  <a:pt x="490611" y="183934"/>
                </a:cubicBezTo>
                <a:cubicBezTo>
                  <a:pt x="493908" y="184029"/>
                  <a:pt x="497300" y="184029"/>
                  <a:pt x="500503" y="183934"/>
                </a:cubicBezTo>
                <a:cubicBezTo>
                  <a:pt x="503330" y="183934"/>
                  <a:pt x="504649" y="182430"/>
                  <a:pt x="504649" y="179608"/>
                </a:cubicBezTo>
                <a:cubicBezTo>
                  <a:pt x="504649" y="176504"/>
                  <a:pt x="504837" y="173494"/>
                  <a:pt x="504649" y="170390"/>
                </a:cubicBezTo>
                <a:cubicBezTo>
                  <a:pt x="504554" y="167192"/>
                  <a:pt x="505968" y="165687"/>
                  <a:pt x="508982" y="164840"/>
                </a:cubicBezTo>
                <a:cubicBezTo>
                  <a:pt x="515860" y="162959"/>
                  <a:pt x="521889" y="159197"/>
                  <a:pt x="526412" y="153647"/>
                </a:cubicBezTo>
                <a:cubicBezTo>
                  <a:pt x="538942" y="138221"/>
                  <a:pt x="534231" y="115835"/>
                  <a:pt x="516237" y="105865"/>
                </a:cubicBezTo>
                <a:cubicBezTo>
                  <a:pt x="510584" y="102761"/>
                  <a:pt x="504554" y="100503"/>
                  <a:pt x="498619" y="97964"/>
                </a:cubicBezTo>
                <a:cubicBezTo>
                  <a:pt x="495227" y="96647"/>
                  <a:pt x="492024" y="94860"/>
                  <a:pt x="489104" y="92602"/>
                </a:cubicBezTo>
                <a:cubicBezTo>
                  <a:pt x="483451" y="88087"/>
                  <a:pt x="484581" y="80657"/>
                  <a:pt x="491270" y="77835"/>
                </a:cubicBezTo>
                <a:cubicBezTo>
                  <a:pt x="493155" y="76894"/>
                  <a:pt x="495133" y="76706"/>
                  <a:pt x="497112" y="76518"/>
                </a:cubicBezTo>
                <a:cubicBezTo>
                  <a:pt x="504931" y="76142"/>
                  <a:pt x="512186" y="77553"/>
                  <a:pt x="519252" y="80939"/>
                </a:cubicBezTo>
                <a:cubicBezTo>
                  <a:pt x="522643" y="82538"/>
                  <a:pt x="523868" y="82067"/>
                  <a:pt x="524998" y="78399"/>
                </a:cubicBezTo>
                <a:cubicBezTo>
                  <a:pt x="526317" y="74543"/>
                  <a:pt x="527260" y="70686"/>
                  <a:pt x="528390" y="66736"/>
                </a:cubicBezTo>
                <a:cubicBezTo>
                  <a:pt x="529144" y="64102"/>
                  <a:pt x="528296" y="62503"/>
                  <a:pt x="525752" y="61374"/>
                </a:cubicBezTo>
                <a:cubicBezTo>
                  <a:pt x="521230" y="59399"/>
                  <a:pt x="516708" y="57988"/>
                  <a:pt x="511809" y="57236"/>
                </a:cubicBezTo>
                <a:cubicBezTo>
                  <a:pt x="505402" y="56201"/>
                  <a:pt x="505402" y="56201"/>
                  <a:pt x="505402" y="49805"/>
                </a:cubicBezTo>
                <a:cubicBezTo>
                  <a:pt x="505402" y="40775"/>
                  <a:pt x="505402" y="40775"/>
                  <a:pt x="496358" y="40775"/>
                </a:cubicBezTo>
                <a:close/>
                <a:moveTo>
                  <a:pt x="496111" y="0"/>
                </a:moveTo>
                <a:cubicBezTo>
                  <a:pt x="524951" y="0"/>
                  <a:pt x="553781" y="10958"/>
                  <a:pt x="575779" y="32874"/>
                </a:cubicBezTo>
                <a:cubicBezTo>
                  <a:pt x="619776" y="76894"/>
                  <a:pt x="619776" y="148192"/>
                  <a:pt x="575779" y="192024"/>
                </a:cubicBezTo>
                <a:cubicBezTo>
                  <a:pt x="538754" y="229083"/>
                  <a:pt x="482226" y="234821"/>
                  <a:pt x="438982" y="209519"/>
                </a:cubicBezTo>
                <a:lnTo>
                  <a:pt x="438700" y="209237"/>
                </a:lnTo>
                <a:cubicBezTo>
                  <a:pt x="421742" y="222029"/>
                  <a:pt x="403559" y="224286"/>
                  <a:pt x="390840" y="222311"/>
                </a:cubicBezTo>
                <a:cubicBezTo>
                  <a:pt x="386600" y="221653"/>
                  <a:pt x="385752" y="215915"/>
                  <a:pt x="389615" y="214034"/>
                </a:cubicBezTo>
                <a:cubicBezTo>
                  <a:pt x="401297" y="208202"/>
                  <a:pt x="408552" y="196915"/>
                  <a:pt x="412886" y="187791"/>
                </a:cubicBezTo>
                <a:lnTo>
                  <a:pt x="411567" y="187038"/>
                </a:lnTo>
                <a:cubicBezTo>
                  <a:pt x="372374" y="142736"/>
                  <a:pt x="374070" y="75201"/>
                  <a:pt x="416371" y="32874"/>
                </a:cubicBezTo>
                <a:cubicBezTo>
                  <a:pt x="438417" y="10958"/>
                  <a:pt x="467270" y="0"/>
                  <a:pt x="496111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5" name="任意多边形: 形状 184">
            <a:extLst>
              <a:ext uri="{FF2B5EF4-FFF2-40B4-BE49-F238E27FC236}">
                <a16:creationId xmlns:a16="http://schemas.microsoft.com/office/drawing/2014/main" id="{A1FB5617-0A71-4653-91E7-F18005193F84}"/>
              </a:ext>
            </a:extLst>
          </p:cNvPr>
          <p:cNvSpPr/>
          <p:nvPr/>
        </p:nvSpPr>
        <p:spPr bwMode="auto">
          <a:xfrm>
            <a:off x="6430923" y="4358836"/>
            <a:ext cx="533190" cy="455590"/>
          </a:xfrm>
          <a:custGeom>
            <a:avLst/>
            <a:gdLst>
              <a:gd name="connsiteX0" fmla="*/ 560224 w 607107"/>
              <a:gd name="connsiteY0" fmla="*/ 279860 h 518750"/>
              <a:gd name="connsiteX1" fmla="*/ 582459 w 607107"/>
              <a:gd name="connsiteY1" fmla="*/ 280220 h 518750"/>
              <a:gd name="connsiteX2" fmla="*/ 606440 w 607107"/>
              <a:gd name="connsiteY2" fmla="*/ 300513 h 518750"/>
              <a:gd name="connsiteX3" fmla="*/ 596135 w 607107"/>
              <a:gd name="connsiteY3" fmla="*/ 329751 h 518750"/>
              <a:gd name="connsiteX4" fmla="*/ 571865 w 607107"/>
              <a:gd name="connsiteY4" fmla="*/ 348793 h 518750"/>
              <a:gd name="connsiteX5" fmla="*/ 371834 w 607107"/>
              <a:gd name="connsiteY5" fmla="*/ 500269 h 518750"/>
              <a:gd name="connsiteX6" fmla="*/ 134050 w 607107"/>
              <a:gd name="connsiteY6" fmla="*/ 494210 h 518750"/>
              <a:gd name="connsiteX7" fmla="*/ 67213 w 607107"/>
              <a:gd name="connsiteY7" fmla="*/ 511040 h 518750"/>
              <a:gd name="connsiteX8" fmla="*/ 61145 w 607107"/>
              <a:gd name="connsiteY8" fmla="*/ 511040 h 518750"/>
              <a:gd name="connsiteX9" fmla="*/ 59701 w 607107"/>
              <a:gd name="connsiteY9" fmla="*/ 510560 h 518750"/>
              <a:gd name="connsiteX10" fmla="*/ 55656 w 607107"/>
              <a:gd name="connsiteY10" fmla="*/ 507674 h 518750"/>
              <a:gd name="connsiteX11" fmla="*/ 7502 w 607107"/>
              <a:gd name="connsiteY11" fmla="*/ 432081 h 518750"/>
              <a:gd name="connsiteX12" fmla="*/ 1435 w 607107"/>
              <a:gd name="connsiteY12" fmla="*/ 423521 h 518750"/>
              <a:gd name="connsiteX13" fmla="*/ 183 w 607107"/>
              <a:gd name="connsiteY13" fmla="*/ 417077 h 518750"/>
              <a:gd name="connsiteX14" fmla="*/ 4131 w 607107"/>
              <a:gd name="connsiteY14" fmla="*/ 411788 h 518750"/>
              <a:gd name="connsiteX15" fmla="*/ 95527 w 607107"/>
              <a:gd name="connsiteY15" fmla="*/ 376588 h 518750"/>
              <a:gd name="connsiteX16" fmla="*/ 266570 w 607107"/>
              <a:gd name="connsiteY16" fmla="*/ 330231 h 518750"/>
              <a:gd name="connsiteX17" fmla="*/ 327147 w 607107"/>
              <a:gd name="connsiteY17" fmla="*/ 372741 h 518750"/>
              <a:gd name="connsiteX18" fmla="*/ 233536 w 607107"/>
              <a:gd name="connsiteY18" fmla="*/ 417943 h 518750"/>
              <a:gd name="connsiteX19" fmla="*/ 360084 w 607107"/>
              <a:gd name="connsiteY19" fmla="*/ 366393 h 518750"/>
              <a:gd name="connsiteX20" fmla="*/ 365285 w 607107"/>
              <a:gd name="connsiteY20" fmla="*/ 359372 h 518750"/>
              <a:gd name="connsiteX21" fmla="*/ 524482 w 607107"/>
              <a:gd name="connsiteY21" fmla="*/ 291473 h 518750"/>
              <a:gd name="connsiteX22" fmla="*/ 560224 w 607107"/>
              <a:gd name="connsiteY22" fmla="*/ 279860 h 518750"/>
              <a:gd name="connsiteX23" fmla="*/ 231201 w 607107"/>
              <a:gd name="connsiteY23" fmla="*/ 114447 h 518750"/>
              <a:gd name="connsiteX24" fmla="*/ 227733 w 607107"/>
              <a:gd name="connsiteY24" fmla="*/ 115409 h 518750"/>
              <a:gd name="connsiteX25" fmla="*/ 204232 w 607107"/>
              <a:gd name="connsiteY25" fmla="*/ 127912 h 518750"/>
              <a:gd name="connsiteX26" fmla="*/ 200572 w 607107"/>
              <a:gd name="connsiteY26" fmla="*/ 136280 h 518750"/>
              <a:gd name="connsiteX27" fmla="*/ 203269 w 607107"/>
              <a:gd name="connsiteY27" fmla="*/ 146860 h 518750"/>
              <a:gd name="connsiteX28" fmla="*/ 207410 w 607107"/>
              <a:gd name="connsiteY28" fmla="*/ 151862 h 518750"/>
              <a:gd name="connsiteX29" fmla="*/ 213960 w 607107"/>
              <a:gd name="connsiteY29" fmla="*/ 151573 h 518750"/>
              <a:gd name="connsiteX30" fmla="*/ 222340 w 607107"/>
              <a:gd name="connsiteY30" fmla="*/ 147053 h 518750"/>
              <a:gd name="connsiteX31" fmla="*/ 222340 w 607107"/>
              <a:gd name="connsiteY31" fmla="*/ 230058 h 518750"/>
              <a:gd name="connsiteX32" fmla="*/ 229756 w 607107"/>
              <a:gd name="connsiteY32" fmla="*/ 237464 h 518750"/>
              <a:gd name="connsiteX33" fmla="*/ 243433 w 607107"/>
              <a:gd name="connsiteY33" fmla="*/ 237464 h 518750"/>
              <a:gd name="connsiteX34" fmla="*/ 250850 w 607107"/>
              <a:gd name="connsiteY34" fmla="*/ 230058 h 518750"/>
              <a:gd name="connsiteX35" fmla="*/ 250850 w 607107"/>
              <a:gd name="connsiteY35" fmla="*/ 121853 h 518750"/>
              <a:gd name="connsiteX36" fmla="*/ 243433 w 607107"/>
              <a:gd name="connsiteY36" fmla="*/ 114447 h 518750"/>
              <a:gd name="connsiteX37" fmla="*/ 230719 w 607107"/>
              <a:gd name="connsiteY37" fmla="*/ 76070 h 518750"/>
              <a:gd name="connsiteX38" fmla="*/ 330794 w 607107"/>
              <a:gd name="connsiteY38" fmla="*/ 176004 h 518750"/>
              <a:gd name="connsiteX39" fmla="*/ 230719 w 607107"/>
              <a:gd name="connsiteY39" fmla="*/ 275841 h 518750"/>
              <a:gd name="connsiteX40" fmla="*/ 130741 w 607107"/>
              <a:gd name="connsiteY40" fmla="*/ 176004 h 518750"/>
              <a:gd name="connsiteX41" fmla="*/ 230719 w 607107"/>
              <a:gd name="connsiteY41" fmla="*/ 76070 h 518750"/>
              <a:gd name="connsiteX42" fmla="*/ 371906 w 607107"/>
              <a:gd name="connsiteY42" fmla="*/ 39432 h 518750"/>
              <a:gd name="connsiteX43" fmla="*/ 368246 w 607107"/>
              <a:gd name="connsiteY43" fmla="*/ 40297 h 518750"/>
              <a:gd name="connsiteX44" fmla="*/ 344168 w 607107"/>
              <a:gd name="connsiteY44" fmla="*/ 53185 h 518750"/>
              <a:gd name="connsiteX45" fmla="*/ 340412 w 607107"/>
              <a:gd name="connsiteY45" fmla="*/ 61744 h 518750"/>
              <a:gd name="connsiteX46" fmla="*/ 343109 w 607107"/>
              <a:gd name="connsiteY46" fmla="*/ 72612 h 518750"/>
              <a:gd name="connsiteX47" fmla="*/ 347443 w 607107"/>
              <a:gd name="connsiteY47" fmla="*/ 77709 h 518750"/>
              <a:gd name="connsiteX48" fmla="*/ 354089 w 607107"/>
              <a:gd name="connsiteY48" fmla="*/ 77421 h 518750"/>
              <a:gd name="connsiteX49" fmla="*/ 362757 w 607107"/>
              <a:gd name="connsiteY49" fmla="*/ 72804 h 518750"/>
              <a:gd name="connsiteX50" fmla="*/ 362757 w 607107"/>
              <a:gd name="connsiteY50" fmla="*/ 157919 h 518750"/>
              <a:gd name="connsiteX51" fmla="*/ 370365 w 607107"/>
              <a:gd name="connsiteY51" fmla="*/ 165517 h 518750"/>
              <a:gd name="connsiteX52" fmla="*/ 384331 w 607107"/>
              <a:gd name="connsiteY52" fmla="*/ 165517 h 518750"/>
              <a:gd name="connsiteX53" fmla="*/ 391939 w 607107"/>
              <a:gd name="connsiteY53" fmla="*/ 157919 h 518750"/>
              <a:gd name="connsiteX54" fmla="*/ 391939 w 607107"/>
              <a:gd name="connsiteY54" fmla="*/ 47029 h 518750"/>
              <a:gd name="connsiteX55" fmla="*/ 384331 w 607107"/>
              <a:gd name="connsiteY55" fmla="*/ 39432 h 518750"/>
              <a:gd name="connsiteX56" fmla="*/ 371328 w 607107"/>
              <a:gd name="connsiteY56" fmla="*/ 0 h 518750"/>
              <a:gd name="connsiteX57" fmla="*/ 473901 w 607107"/>
              <a:gd name="connsiteY57" fmla="*/ 102426 h 518750"/>
              <a:gd name="connsiteX58" fmla="*/ 371328 w 607107"/>
              <a:gd name="connsiteY58" fmla="*/ 204852 h 518750"/>
              <a:gd name="connsiteX59" fmla="*/ 342531 w 607107"/>
              <a:gd name="connsiteY59" fmla="*/ 200717 h 518750"/>
              <a:gd name="connsiteX60" fmla="*/ 348117 w 607107"/>
              <a:gd name="connsiteY60" fmla="*/ 167440 h 518750"/>
              <a:gd name="connsiteX61" fmla="*/ 274342 w 607107"/>
              <a:gd name="connsiteY61" fmla="*/ 69150 h 518750"/>
              <a:gd name="connsiteX62" fmla="*/ 371328 w 607107"/>
              <a:gd name="connsiteY62" fmla="*/ 0 h 51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07107" h="518750">
                <a:moveTo>
                  <a:pt x="560224" y="279860"/>
                </a:moveTo>
                <a:cubicBezTo>
                  <a:pt x="569819" y="278441"/>
                  <a:pt x="577162" y="279018"/>
                  <a:pt x="582459" y="280220"/>
                </a:cubicBezTo>
                <a:cubicBezTo>
                  <a:pt x="595268" y="283010"/>
                  <a:pt x="604032" y="289742"/>
                  <a:pt x="606440" y="300513"/>
                </a:cubicBezTo>
                <a:cubicBezTo>
                  <a:pt x="608751" y="310804"/>
                  <a:pt x="604995" y="322826"/>
                  <a:pt x="596135" y="329751"/>
                </a:cubicBezTo>
                <a:cubicBezTo>
                  <a:pt x="587949" y="336098"/>
                  <a:pt x="579762" y="342542"/>
                  <a:pt x="571865" y="348793"/>
                </a:cubicBezTo>
                <a:lnTo>
                  <a:pt x="371834" y="500269"/>
                </a:lnTo>
                <a:cubicBezTo>
                  <a:pt x="306826" y="545471"/>
                  <a:pt x="137614" y="493440"/>
                  <a:pt x="134050" y="494210"/>
                </a:cubicBezTo>
                <a:lnTo>
                  <a:pt x="67213" y="511040"/>
                </a:lnTo>
                <a:cubicBezTo>
                  <a:pt x="65479" y="511521"/>
                  <a:pt x="63264" y="511425"/>
                  <a:pt x="61145" y="511040"/>
                </a:cubicBezTo>
                <a:cubicBezTo>
                  <a:pt x="60567" y="510848"/>
                  <a:pt x="60086" y="510752"/>
                  <a:pt x="59701" y="510560"/>
                </a:cubicBezTo>
                <a:cubicBezTo>
                  <a:pt x="58063" y="510079"/>
                  <a:pt x="56715" y="509021"/>
                  <a:pt x="55656" y="507674"/>
                </a:cubicBezTo>
                <a:cubicBezTo>
                  <a:pt x="40150" y="486131"/>
                  <a:pt x="22430" y="453335"/>
                  <a:pt x="7502" y="432081"/>
                </a:cubicBezTo>
                <a:lnTo>
                  <a:pt x="1435" y="423521"/>
                </a:lnTo>
                <a:cubicBezTo>
                  <a:pt x="183" y="421694"/>
                  <a:pt x="-299" y="419289"/>
                  <a:pt x="183" y="417077"/>
                </a:cubicBezTo>
                <a:cubicBezTo>
                  <a:pt x="664" y="414865"/>
                  <a:pt x="1723" y="412750"/>
                  <a:pt x="4131" y="411788"/>
                </a:cubicBezTo>
                <a:lnTo>
                  <a:pt x="95527" y="376588"/>
                </a:lnTo>
                <a:cubicBezTo>
                  <a:pt x="155816" y="356487"/>
                  <a:pt x="154179" y="328885"/>
                  <a:pt x="266570" y="330231"/>
                </a:cubicBezTo>
                <a:cubicBezTo>
                  <a:pt x="296618" y="330520"/>
                  <a:pt x="351706" y="324172"/>
                  <a:pt x="327147" y="372741"/>
                </a:cubicBezTo>
                <a:cubicBezTo>
                  <a:pt x="316650" y="393515"/>
                  <a:pt x="281979" y="420059"/>
                  <a:pt x="233536" y="417943"/>
                </a:cubicBezTo>
                <a:cubicBezTo>
                  <a:pt x="233344" y="419193"/>
                  <a:pt x="327244" y="456605"/>
                  <a:pt x="360084" y="366393"/>
                </a:cubicBezTo>
                <a:cubicBezTo>
                  <a:pt x="360084" y="366393"/>
                  <a:pt x="361433" y="361007"/>
                  <a:pt x="365285" y="359372"/>
                </a:cubicBezTo>
                <a:cubicBezTo>
                  <a:pt x="389940" y="348793"/>
                  <a:pt x="522459" y="292338"/>
                  <a:pt x="524482" y="291473"/>
                </a:cubicBezTo>
                <a:cubicBezTo>
                  <a:pt x="538784" y="284693"/>
                  <a:pt x="550629" y="281278"/>
                  <a:pt x="560224" y="279860"/>
                </a:cubicBezTo>
                <a:close/>
                <a:moveTo>
                  <a:pt x="231201" y="114447"/>
                </a:moveTo>
                <a:cubicBezTo>
                  <a:pt x="230045" y="114447"/>
                  <a:pt x="228793" y="114832"/>
                  <a:pt x="227733" y="115409"/>
                </a:cubicBezTo>
                <a:lnTo>
                  <a:pt x="204232" y="127912"/>
                </a:lnTo>
                <a:cubicBezTo>
                  <a:pt x="201246" y="129548"/>
                  <a:pt x="199705" y="133010"/>
                  <a:pt x="200572" y="136280"/>
                </a:cubicBezTo>
                <a:lnTo>
                  <a:pt x="203269" y="146860"/>
                </a:lnTo>
                <a:cubicBezTo>
                  <a:pt x="203847" y="149073"/>
                  <a:pt x="205388" y="150900"/>
                  <a:pt x="207410" y="151862"/>
                </a:cubicBezTo>
                <a:cubicBezTo>
                  <a:pt x="209529" y="152727"/>
                  <a:pt x="211937" y="152631"/>
                  <a:pt x="213960" y="151573"/>
                </a:cubicBezTo>
                <a:lnTo>
                  <a:pt x="222340" y="147053"/>
                </a:lnTo>
                <a:lnTo>
                  <a:pt x="222340" y="230058"/>
                </a:lnTo>
                <a:cubicBezTo>
                  <a:pt x="222340" y="234098"/>
                  <a:pt x="225711" y="237464"/>
                  <a:pt x="229756" y="237464"/>
                </a:cubicBezTo>
                <a:lnTo>
                  <a:pt x="243433" y="237464"/>
                </a:lnTo>
                <a:cubicBezTo>
                  <a:pt x="247479" y="237464"/>
                  <a:pt x="250850" y="234098"/>
                  <a:pt x="250850" y="230058"/>
                </a:cubicBezTo>
                <a:lnTo>
                  <a:pt x="250850" y="121853"/>
                </a:lnTo>
                <a:cubicBezTo>
                  <a:pt x="250850" y="117813"/>
                  <a:pt x="247479" y="114447"/>
                  <a:pt x="243433" y="114447"/>
                </a:cubicBezTo>
                <a:close/>
                <a:moveTo>
                  <a:pt x="230719" y="76070"/>
                </a:moveTo>
                <a:cubicBezTo>
                  <a:pt x="286006" y="76070"/>
                  <a:pt x="330794" y="120795"/>
                  <a:pt x="330794" y="176004"/>
                </a:cubicBezTo>
                <a:cubicBezTo>
                  <a:pt x="330794" y="231116"/>
                  <a:pt x="286006" y="275841"/>
                  <a:pt x="230719" y="275841"/>
                </a:cubicBezTo>
                <a:cubicBezTo>
                  <a:pt x="175529" y="275841"/>
                  <a:pt x="130741" y="231116"/>
                  <a:pt x="130741" y="176004"/>
                </a:cubicBezTo>
                <a:cubicBezTo>
                  <a:pt x="130741" y="120795"/>
                  <a:pt x="175529" y="76070"/>
                  <a:pt x="230719" y="76070"/>
                </a:cubicBezTo>
                <a:close/>
                <a:moveTo>
                  <a:pt x="371906" y="39432"/>
                </a:moveTo>
                <a:cubicBezTo>
                  <a:pt x="370654" y="39432"/>
                  <a:pt x="369402" y="39720"/>
                  <a:pt x="368246" y="40297"/>
                </a:cubicBezTo>
                <a:lnTo>
                  <a:pt x="344168" y="53185"/>
                </a:lnTo>
                <a:cubicBezTo>
                  <a:pt x="341086" y="54819"/>
                  <a:pt x="339545" y="58378"/>
                  <a:pt x="340412" y="61744"/>
                </a:cubicBezTo>
                <a:lnTo>
                  <a:pt x="343109" y="72612"/>
                </a:lnTo>
                <a:cubicBezTo>
                  <a:pt x="343687" y="74920"/>
                  <a:pt x="345324" y="76747"/>
                  <a:pt x="347443" y="77709"/>
                </a:cubicBezTo>
                <a:cubicBezTo>
                  <a:pt x="349562" y="78671"/>
                  <a:pt x="352066" y="78575"/>
                  <a:pt x="354089" y="77421"/>
                </a:cubicBezTo>
                <a:lnTo>
                  <a:pt x="362757" y="72804"/>
                </a:lnTo>
                <a:lnTo>
                  <a:pt x="362757" y="157919"/>
                </a:lnTo>
                <a:cubicBezTo>
                  <a:pt x="362757" y="162054"/>
                  <a:pt x="366224" y="165517"/>
                  <a:pt x="370365" y="165517"/>
                </a:cubicBezTo>
                <a:lnTo>
                  <a:pt x="384331" y="165517"/>
                </a:lnTo>
                <a:cubicBezTo>
                  <a:pt x="388568" y="165517"/>
                  <a:pt x="391939" y="162054"/>
                  <a:pt x="391939" y="157919"/>
                </a:cubicBezTo>
                <a:lnTo>
                  <a:pt x="391939" y="47029"/>
                </a:lnTo>
                <a:cubicBezTo>
                  <a:pt x="391939" y="42798"/>
                  <a:pt x="388568" y="39432"/>
                  <a:pt x="384331" y="39432"/>
                </a:cubicBezTo>
                <a:close/>
                <a:moveTo>
                  <a:pt x="371328" y="0"/>
                </a:moveTo>
                <a:cubicBezTo>
                  <a:pt x="428056" y="0"/>
                  <a:pt x="473901" y="45875"/>
                  <a:pt x="473901" y="102426"/>
                </a:cubicBezTo>
                <a:cubicBezTo>
                  <a:pt x="473901" y="158977"/>
                  <a:pt x="428056" y="204852"/>
                  <a:pt x="371328" y="204852"/>
                </a:cubicBezTo>
                <a:cubicBezTo>
                  <a:pt x="361312" y="204852"/>
                  <a:pt x="351681" y="203409"/>
                  <a:pt x="342531" y="200717"/>
                </a:cubicBezTo>
                <a:cubicBezTo>
                  <a:pt x="346095" y="190234"/>
                  <a:pt x="348117" y="179077"/>
                  <a:pt x="348117" y="167440"/>
                </a:cubicBezTo>
                <a:cubicBezTo>
                  <a:pt x="348117" y="120892"/>
                  <a:pt x="317008" y="81556"/>
                  <a:pt x="274342" y="69150"/>
                </a:cubicBezTo>
                <a:cubicBezTo>
                  <a:pt x="288211" y="28949"/>
                  <a:pt x="326447" y="0"/>
                  <a:pt x="371328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0724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5D085E19-1F35-4083-8161-5868AD0CC70A}"/>
              </a:ext>
            </a:extLst>
          </p:cNvPr>
          <p:cNvSpPr/>
          <p:nvPr/>
        </p:nvSpPr>
        <p:spPr bwMode="auto">
          <a:xfrm>
            <a:off x="7323931" y="2267351"/>
            <a:ext cx="3094038" cy="1106488"/>
          </a:xfrm>
          <a:custGeom>
            <a:avLst/>
            <a:gdLst>
              <a:gd name="T0" fmla="*/ 603 w 676"/>
              <a:gd name="T1" fmla="*/ 241 h 241"/>
              <a:gd name="T2" fmla="*/ 73 w 676"/>
              <a:gd name="T3" fmla="*/ 241 h 241"/>
              <a:gd name="T4" fmla="*/ 0 w 676"/>
              <a:gd name="T5" fmla="*/ 173 h 241"/>
              <a:gd name="T6" fmla="*/ 0 w 676"/>
              <a:gd name="T7" fmla="*/ 68 h 241"/>
              <a:gd name="T8" fmla="*/ 73 w 676"/>
              <a:gd name="T9" fmla="*/ 0 h 241"/>
              <a:gd name="T10" fmla="*/ 603 w 676"/>
              <a:gd name="T11" fmla="*/ 0 h 241"/>
              <a:gd name="T12" fmla="*/ 676 w 676"/>
              <a:gd name="T13" fmla="*/ 68 h 241"/>
              <a:gd name="T14" fmla="*/ 676 w 676"/>
              <a:gd name="T15" fmla="*/ 173 h 241"/>
              <a:gd name="T16" fmla="*/ 603 w 676"/>
              <a:gd name="T17" fmla="*/ 241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76" h="241">
                <a:moveTo>
                  <a:pt x="603" y="241"/>
                </a:moveTo>
                <a:cubicBezTo>
                  <a:pt x="73" y="241"/>
                  <a:pt x="73" y="241"/>
                  <a:pt x="73" y="241"/>
                </a:cubicBezTo>
                <a:cubicBezTo>
                  <a:pt x="33" y="241"/>
                  <a:pt x="0" y="211"/>
                  <a:pt x="0" y="173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31"/>
                  <a:pt x="33" y="0"/>
                  <a:pt x="73" y="0"/>
                </a:cubicBezTo>
                <a:cubicBezTo>
                  <a:pt x="603" y="0"/>
                  <a:pt x="603" y="0"/>
                  <a:pt x="603" y="0"/>
                </a:cubicBezTo>
                <a:cubicBezTo>
                  <a:pt x="643" y="0"/>
                  <a:pt x="676" y="31"/>
                  <a:pt x="676" y="68"/>
                </a:cubicBezTo>
                <a:cubicBezTo>
                  <a:pt x="676" y="173"/>
                  <a:pt x="676" y="173"/>
                  <a:pt x="676" y="173"/>
                </a:cubicBezTo>
                <a:cubicBezTo>
                  <a:pt x="676" y="211"/>
                  <a:pt x="643" y="241"/>
                  <a:pt x="603" y="24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endParaRPr lang="en-US" altLang="zh-CN" b="1" dirty="0">
              <a:cs typeface="+mn-ea"/>
              <a:sym typeface="+mn-lt"/>
            </a:endParaRPr>
          </a:p>
          <a:p>
            <a:pPr algn="ct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68DA1B8A-E068-4CBB-B442-23AEB4DDA7BC}"/>
              </a:ext>
            </a:extLst>
          </p:cNvPr>
          <p:cNvSpPr/>
          <p:nvPr/>
        </p:nvSpPr>
        <p:spPr bwMode="auto">
          <a:xfrm>
            <a:off x="1650205" y="3511952"/>
            <a:ext cx="1003300" cy="358775"/>
          </a:xfrm>
          <a:custGeom>
            <a:avLst/>
            <a:gdLst>
              <a:gd name="T0" fmla="*/ 632 w 632"/>
              <a:gd name="T1" fmla="*/ 0 h 226"/>
              <a:gd name="T2" fmla="*/ 545 w 632"/>
              <a:gd name="T3" fmla="*/ 113 h 226"/>
              <a:gd name="T4" fmla="*/ 632 w 632"/>
              <a:gd name="T5" fmla="*/ 226 h 226"/>
              <a:gd name="T6" fmla="*/ 90 w 632"/>
              <a:gd name="T7" fmla="*/ 226 h 226"/>
              <a:gd name="T8" fmla="*/ 0 w 632"/>
              <a:gd name="T9" fmla="*/ 113 h 226"/>
              <a:gd name="T10" fmla="*/ 90 w 632"/>
              <a:gd name="T11" fmla="*/ 0 h 226"/>
              <a:gd name="T12" fmla="*/ 632 w 632"/>
              <a:gd name="T1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2" h="226">
                <a:moveTo>
                  <a:pt x="632" y="0"/>
                </a:moveTo>
                <a:lnTo>
                  <a:pt x="545" y="113"/>
                </a:lnTo>
                <a:lnTo>
                  <a:pt x="632" y="226"/>
                </a:lnTo>
                <a:lnTo>
                  <a:pt x="90" y="226"/>
                </a:lnTo>
                <a:lnTo>
                  <a:pt x="0" y="113"/>
                </a:lnTo>
                <a:lnTo>
                  <a:pt x="90" y="0"/>
                </a:lnTo>
                <a:lnTo>
                  <a:pt x="63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6BBC6531-5DAB-49A7-98B5-D7AC91D70ADA}"/>
              </a:ext>
            </a:extLst>
          </p:cNvPr>
          <p:cNvSpPr/>
          <p:nvPr/>
        </p:nvSpPr>
        <p:spPr bwMode="auto">
          <a:xfrm>
            <a:off x="2607468" y="3511952"/>
            <a:ext cx="1001713" cy="358775"/>
          </a:xfrm>
          <a:custGeom>
            <a:avLst/>
            <a:gdLst>
              <a:gd name="T0" fmla="*/ 631 w 631"/>
              <a:gd name="T1" fmla="*/ 0 h 226"/>
              <a:gd name="T2" fmla="*/ 542 w 631"/>
              <a:gd name="T3" fmla="*/ 113 h 226"/>
              <a:gd name="T4" fmla="*/ 631 w 631"/>
              <a:gd name="T5" fmla="*/ 226 h 226"/>
              <a:gd name="T6" fmla="*/ 89 w 631"/>
              <a:gd name="T7" fmla="*/ 226 h 226"/>
              <a:gd name="T8" fmla="*/ 0 w 631"/>
              <a:gd name="T9" fmla="*/ 113 h 226"/>
              <a:gd name="T10" fmla="*/ 89 w 631"/>
              <a:gd name="T11" fmla="*/ 0 h 226"/>
              <a:gd name="T12" fmla="*/ 631 w 631"/>
              <a:gd name="T1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1" h="226">
                <a:moveTo>
                  <a:pt x="631" y="0"/>
                </a:moveTo>
                <a:lnTo>
                  <a:pt x="542" y="113"/>
                </a:lnTo>
                <a:lnTo>
                  <a:pt x="631" y="226"/>
                </a:lnTo>
                <a:lnTo>
                  <a:pt x="89" y="226"/>
                </a:lnTo>
                <a:lnTo>
                  <a:pt x="0" y="113"/>
                </a:lnTo>
                <a:lnTo>
                  <a:pt x="89" y="0"/>
                </a:lnTo>
                <a:lnTo>
                  <a:pt x="631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B1F4DD09-95D9-4043-8E7B-3702A54609D9}"/>
              </a:ext>
            </a:extLst>
          </p:cNvPr>
          <p:cNvSpPr/>
          <p:nvPr/>
        </p:nvSpPr>
        <p:spPr bwMode="auto">
          <a:xfrm>
            <a:off x="818355" y="3048402"/>
            <a:ext cx="882650" cy="822325"/>
          </a:xfrm>
          <a:custGeom>
            <a:avLst/>
            <a:gdLst>
              <a:gd name="T0" fmla="*/ 84 w 193"/>
              <a:gd name="T1" fmla="*/ 101 h 179"/>
              <a:gd name="T2" fmla="*/ 84 w 193"/>
              <a:gd name="T3" fmla="*/ 29 h 179"/>
              <a:gd name="T4" fmla="*/ 42 w 193"/>
              <a:gd name="T5" fmla="*/ 0 h 179"/>
              <a:gd name="T6" fmla="*/ 0 w 193"/>
              <a:gd name="T7" fmla="*/ 29 h 179"/>
              <a:gd name="T8" fmla="*/ 0 w 193"/>
              <a:gd name="T9" fmla="*/ 111 h 179"/>
              <a:gd name="T10" fmla="*/ 73 w 193"/>
              <a:gd name="T11" fmla="*/ 179 h 179"/>
              <a:gd name="T12" fmla="*/ 193 w 193"/>
              <a:gd name="T13" fmla="*/ 179 h 179"/>
              <a:gd name="T14" fmla="*/ 162 w 193"/>
              <a:gd name="T15" fmla="*/ 140 h 179"/>
              <a:gd name="T16" fmla="*/ 193 w 193"/>
              <a:gd name="T17" fmla="*/ 101 h 179"/>
              <a:gd name="T18" fmla="*/ 84 w 193"/>
              <a:gd name="T19" fmla="*/ 101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3" h="179">
                <a:moveTo>
                  <a:pt x="84" y="101"/>
                </a:moveTo>
                <a:cubicBezTo>
                  <a:pt x="84" y="29"/>
                  <a:pt x="84" y="29"/>
                  <a:pt x="84" y="29"/>
                </a:cubicBezTo>
                <a:cubicBezTo>
                  <a:pt x="42" y="0"/>
                  <a:pt x="42" y="0"/>
                  <a:pt x="42" y="0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48"/>
                  <a:pt x="33" y="179"/>
                  <a:pt x="73" y="179"/>
                </a:cubicBezTo>
                <a:cubicBezTo>
                  <a:pt x="193" y="179"/>
                  <a:pt x="193" y="179"/>
                  <a:pt x="193" y="179"/>
                </a:cubicBezTo>
                <a:cubicBezTo>
                  <a:pt x="162" y="140"/>
                  <a:pt x="162" y="140"/>
                  <a:pt x="162" y="140"/>
                </a:cubicBezTo>
                <a:cubicBezTo>
                  <a:pt x="193" y="101"/>
                  <a:pt x="193" y="101"/>
                  <a:pt x="193" y="101"/>
                </a:cubicBezTo>
                <a:lnTo>
                  <a:pt x="84" y="1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47326654-1836-4555-9F49-306BC7EA1286}"/>
              </a:ext>
            </a:extLst>
          </p:cNvPr>
          <p:cNvSpPr/>
          <p:nvPr/>
        </p:nvSpPr>
        <p:spPr bwMode="auto">
          <a:xfrm>
            <a:off x="818355" y="2272114"/>
            <a:ext cx="882650" cy="822325"/>
          </a:xfrm>
          <a:custGeom>
            <a:avLst/>
            <a:gdLst>
              <a:gd name="T0" fmla="*/ 84 w 193"/>
              <a:gd name="T1" fmla="*/ 77 h 179"/>
              <a:gd name="T2" fmla="*/ 162 w 193"/>
              <a:gd name="T3" fmla="*/ 77 h 179"/>
              <a:gd name="T4" fmla="*/ 193 w 193"/>
              <a:gd name="T5" fmla="*/ 38 h 179"/>
              <a:gd name="T6" fmla="*/ 162 w 193"/>
              <a:gd name="T7" fmla="*/ 0 h 179"/>
              <a:gd name="T8" fmla="*/ 73 w 193"/>
              <a:gd name="T9" fmla="*/ 0 h 179"/>
              <a:gd name="T10" fmla="*/ 0 w 193"/>
              <a:gd name="T11" fmla="*/ 68 h 179"/>
              <a:gd name="T12" fmla="*/ 0 w 193"/>
              <a:gd name="T13" fmla="*/ 179 h 179"/>
              <a:gd name="T14" fmla="*/ 42 w 193"/>
              <a:gd name="T15" fmla="*/ 150 h 179"/>
              <a:gd name="T16" fmla="*/ 84 w 193"/>
              <a:gd name="T17" fmla="*/ 179 h 179"/>
              <a:gd name="T18" fmla="*/ 84 w 193"/>
              <a:gd name="T19" fmla="*/ 77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3" h="179">
                <a:moveTo>
                  <a:pt x="84" y="77"/>
                </a:moveTo>
                <a:cubicBezTo>
                  <a:pt x="162" y="77"/>
                  <a:pt x="162" y="77"/>
                  <a:pt x="162" y="77"/>
                </a:cubicBezTo>
                <a:cubicBezTo>
                  <a:pt x="193" y="38"/>
                  <a:pt x="193" y="38"/>
                  <a:pt x="193" y="38"/>
                </a:cubicBezTo>
                <a:cubicBezTo>
                  <a:pt x="162" y="0"/>
                  <a:pt x="162" y="0"/>
                  <a:pt x="162" y="0"/>
                </a:cubicBezTo>
                <a:cubicBezTo>
                  <a:pt x="73" y="0"/>
                  <a:pt x="73" y="0"/>
                  <a:pt x="73" y="0"/>
                </a:cubicBezTo>
                <a:cubicBezTo>
                  <a:pt x="33" y="0"/>
                  <a:pt x="0" y="30"/>
                  <a:pt x="0" y="68"/>
                </a:cubicBezTo>
                <a:cubicBezTo>
                  <a:pt x="0" y="179"/>
                  <a:pt x="0" y="179"/>
                  <a:pt x="0" y="179"/>
                </a:cubicBezTo>
                <a:cubicBezTo>
                  <a:pt x="42" y="150"/>
                  <a:pt x="42" y="150"/>
                  <a:pt x="42" y="150"/>
                </a:cubicBezTo>
                <a:cubicBezTo>
                  <a:pt x="84" y="179"/>
                  <a:pt x="84" y="179"/>
                  <a:pt x="84" y="179"/>
                </a:cubicBezTo>
                <a:lnTo>
                  <a:pt x="84" y="7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57AF877B-DD46-44D2-88A6-4CCB7B453BAA}"/>
              </a:ext>
            </a:extLst>
          </p:cNvPr>
          <p:cNvSpPr/>
          <p:nvPr/>
        </p:nvSpPr>
        <p:spPr bwMode="auto">
          <a:xfrm>
            <a:off x="4515643" y="3048402"/>
            <a:ext cx="877888" cy="822325"/>
          </a:xfrm>
          <a:custGeom>
            <a:avLst/>
            <a:gdLst>
              <a:gd name="T0" fmla="*/ 109 w 192"/>
              <a:gd name="T1" fmla="*/ 101 h 179"/>
              <a:gd name="T2" fmla="*/ 30 w 192"/>
              <a:gd name="T3" fmla="*/ 101 h 179"/>
              <a:gd name="T4" fmla="*/ 0 w 192"/>
              <a:gd name="T5" fmla="*/ 140 h 179"/>
              <a:gd name="T6" fmla="*/ 30 w 192"/>
              <a:gd name="T7" fmla="*/ 179 h 179"/>
              <a:gd name="T8" fmla="*/ 119 w 192"/>
              <a:gd name="T9" fmla="*/ 179 h 179"/>
              <a:gd name="T10" fmla="*/ 192 w 192"/>
              <a:gd name="T11" fmla="*/ 111 h 179"/>
              <a:gd name="T12" fmla="*/ 192 w 192"/>
              <a:gd name="T13" fmla="*/ 0 h 179"/>
              <a:gd name="T14" fmla="*/ 151 w 192"/>
              <a:gd name="T15" fmla="*/ 29 h 179"/>
              <a:gd name="T16" fmla="*/ 109 w 192"/>
              <a:gd name="T17" fmla="*/ 0 h 179"/>
              <a:gd name="T18" fmla="*/ 109 w 192"/>
              <a:gd name="T19" fmla="*/ 101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2" h="179">
                <a:moveTo>
                  <a:pt x="109" y="101"/>
                </a:moveTo>
                <a:cubicBezTo>
                  <a:pt x="30" y="101"/>
                  <a:pt x="30" y="101"/>
                  <a:pt x="30" y="101"/>
                </a:cubicBezTo>
                <a:cubicBezTo>
                  <a:pt x="0" y="140"/>
                  <a:pt x="0" y="140"/>
                  <a:pt x="0" y="140"/>
                </a:cubicBezTo>
                <a:cubicBezTo>
                  <a:pt x="30" y="179"/>
                  <a:pt x="30" y="179"/>
                  <a:pt x="30" y="179"/>
                </a:cubicBezTo>
                <a:cubicBezTo>
                  <a:pt x="119" y="179"/>
                  <a:pt x="119" y="179"/>
                  <a:pt x="119" y="179"/>
                </a:cubicBezTo>
                <a:cubicBezTo>
                  <a:pt x="159" y="179"/>
                  <a:pt x="192" y="148"/>
                  <a:pt x="192" y="111"/>
                </a:cubicBezTo>
                <a:cubicBezTo>
                  <a:pt x="192" y="0"/>
                  <a:pt x="192" y="0"/>
                  <a:pt x="192" y="0"/>
                </a:cubicBezTo>
                <a:cubicBezTo>
                  <a:pt x="151" y="29"/>
                  <a:pt x="151" y="29"/>
                  <a:pt x="151" y="29"/>
                </a:cubicBezTo>
                <a:cubicBezTo>
                  <a:pt x="109" y="0"/>
                  <a:pt x="109" y="0"/>
                  <a:pt x="109" y="0"/>
                </a:cubicBezTo>
                <a:lnTo>
                  <a:pt x="109" y="10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81BA129F-0DC7-4D29-92CC-C84AA09A6599}"/>
              </a:ext>
            </a:extLst>
          </p:cNvPr>
          <p:cNvSpPr/>
          <p:nvPr/>
        </p:nvSpPr>
        <p:spPr bwMode="auto">
          <a:xfrm>
            <a:off x="3558380" y="3511952"/>
            <a:ext cx="1003300" cy="358775"/>
          </a:xfrm>
          <a:custGeom>
            <a:avLst/>
            <a:gdLst>
              <a:gd name="T0" fmla="*/ 632 w 632"/>
              <a:gd name="T1" fmla="*/ 0 h 226"/>
              <a:gd name="T2" fmla="*/ 542 w 632"/>
              <a:gd name="T3" fmla="*/ 113 h 226"/>
              <a:gd name="T4" fmla="*/ 632 w 632"/>
              <a:gd name="T5" fmla="*/ 226 h 226"/>
              <a:gd name="T6" fmla="*/ 90 w 632"/>
              <a:gd name="T7" fmla="*/ 226 h 226"/>
              <a:gd name="T8" fmla="*/ 0 w 632"/>
              <a:gd name="T9" fmla="*/ 113 h 226"/>
              <a:gd name="T10" fmla="*/ 90 w 632"/>
              <a:gd name="T11" fmla="*/ 0 h 226"/>
              <a:gd name="T12" fmla="*/ 632 w 632"/>
              <a:gd name="T1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2" h="226">
                <a:moveTo>
                  <a:pt x="632" y="0"/>
                </a:moveTo>
                <a:lnTo>
                  <a:pt x="542" y="113"/>
                </a:lnTo>
                <a:lnTo>
                  <a:pt x="632" y="226"/>
                </a:lnTo>
                <a:lnTo>
                  <a:pt x="90" y="226"/>
                </a:lnTo>
                <a:lnTo>
                  <a:pt x="0" y="113"/>
                </a:lnTo>
                <a:lnTo>
                  <a:pt x="90" y="0"/>
                </a:lnTo>
                <a:lnTo>
                  <a:pt x="632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F8978119-8702-4052-84B4-E9AC754371C6}"/>
              </a:ext>
            </a:extLst>
          </p:cNvPr>
          <p:cNvSpPr/>
          <p:nvPr/>
        </p:nvSpPr>
        <p:spPr bwMode="auto">
          <a:xfrm>
            <a:off x="7630318" y="3511952"/>
            <a:ext cx="1003300" cy="358775"/>
          </a:xfrm>
          <a:custGeom>
            <a:avLst/>
            <a:gdLst>
              <a:gd name="T0" fmla="*/ 632 w 632"/>
              <a:gd name="T1" fmla="*/ 0 h 226"/>
              <a:gd name="T2" fmla="*/ 542 w 632"/>
              <a:gd name="T3" fmla="*/ 113 h 226"/>
              <a:gd name="T4" fmla="*/ 632 w 632"/>
              <a:gd name="T5" fmla="*/ 226 h 226"/>
              <a:gd name="T6" fmla="*/ 87 w 632"/>
              <a:gd name="T7" fmla="*/ 226 h 226"/>
              <a:gd name="T8" fmla="*/ 0 w 632"/>
              <a:gd name="T9" fmla="*/ 113 h 226"/>
              <a:gd name="T10" fmla="*/ 87 w 632"/>
              <a:gd name="T11" fmla="*/ 0 h 226"/>
              <a:gd name="T12" fmla="*/ 632 w 632"/>
              <a:gd name="T1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2" h="226">
                <a:moveTo>
                  <a:pt x="632" y="0"/>
                </a:moveTo>
                <a:lnTo>
                  <a:pt x="542" y="113"/>
                </a:lnTo>
                <a:lnTo>
                  <a:pt x="632" y="226"/>
                </a:lnTo>
                <a:lnTo>
                  <a:pt x="87" y="226"/>
                </a:lnTo>
                <a:lnTo>
                  <a:pt x="0" y="113"/>
                </a:lnTo>
                <a:lnTo>
                  <a:pt x="87" y="0"/>
                </a:lnTo>
                <a:lnTo>
                  <a:pt x="63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EC4E9305-2F9D-40D7-8F61-C1DFD61F1D6A}"/>
              </a:ext>
            </a:extLst>
          </p:cNvPr>
          <p:cNvSpPr/>
          <p:nvPr/>
        </p:nvSpPr>
        <p:spPr bwMode="auto">
          <a:xfrm>
            <a:off x="8582819" y="3511952"/>
            <a:ext cx="1001713" cy="358775"/>
          </a:xfrm>
          <a:custGeom>
            <a:avLst/>
            <a:gdLst>
              <a:gd name="T0" fmla="*/ 631 w 631"/>
              <a:gd name="T1" fmla="*/ 0 h 226"/>
              <a:gd name="T2" fmla="*/ 542 w 631"/>
              <a:gd name="T3" fmla="*/ 113 h 226"/>
              <a:gd name="T4" fmla="*/ 631 w 631"/>
              <a:gd name="T5" fmla="*/ 226 h 226"/>
              <a:gd name="T6" fmla="*/ 89 w 631"/>
              <a:gd name="T7" fmla="*/ 226 h 226"/>
              <a:gd name="T8" fmla="*/ 0 w 631"/>
              <a:gd name="T9" fmla="*/ 113 h 226"/>
              <a:gd name="T10" fmla="*/ 89 w 631"/>
              <a:gd name="T11" fmla="*/ 0 h 226"/>
              <a:gd name="T12" fmla="*/ 631 w 631"/>
              <a:gd name="T1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1" h="226">
                <a:moveTo>
                  <a:pt x="631" y="0"/>
                </a:moveTo>
                <a:lnTo>
                  <a:pt x="542" y="113"/>
                </a:lnTo>
                <a:lnTo>
                  <a:pt x="631" y="226"/>
                </a:lnTo>
                <a:lnTo>
                  <a:pt x="89" y="226"/>
                </a:lnTo>
                <a:lnTo>
                  <a:pt x="0" y="113"/>
                </a:lnTo>
                <a:lnTo>
                  <a:pt x="89" y="0"/>
                </a:lnTo>
                <a:lnTo>
                  <a:pt x="631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0B7FB847-5050-46B4-A127-B0B88F7FB52A}"/>
              </a:ext>
            </a:extLst>
          </p:cNvPr>
          <p:cNvSpPr/>
          <p:nvPr/>
        </p:nvSpPr>
        <p:spPr bwMode="auto">
          <a:xfrm>
            <a:off x="6793706" y="3048402"/>
            <a:ext cx="882650" cy="822325"/>
          </a:xfrm>
          <a:custGeom>
            <a:avLst/>
            <a:gdLst>
              <a:gd name="T0" fmla="*/ 84 w 193"/>
              <a:gd name="T1" fmla="*/ 101 h 179"/>
              <a:gd name="T2" fmla="*/ 84 w 193"/>
              <a:gd name="T3" fmla="*/ 29 h 179"/>
              <a:gd name="T4" fmla="*/ 42 w 193"/>
              <a:gd name="T5" fmla="*/ 0 h 179"/>
              <a:gd name="T6" fmla="*/ 0 w 193"/>
              <a:gd name="T7" fmla="*/ 29 h 179"/>
              <a:gd name="T8" fmla="*/ 0 w 193"/>
              <a:gd name="T9" fmla="*/ 111 h 179"/>
              <a:gd name="T10" fmla="*/ 74 w 193"/>
              <a:gd name="T11" fmla="*/ 179 h 179"/>
              <a:gd name="T12" fmla="*/ 193 w 193"/>
              <a:gd name="T13" fmla="*/ 179 h 179"/>
              <a:gd name="T14" fmla="*/ 162 w 193"/>
              <a:gd name="T15" fmla="*/ 140 h 179"/>
              <a:gd name="T16" fmla="*/ 193 w 193"/>
              <a:gd name="T17" fmla="*/ 101 h 179"/>
              <a:gd name="T18" fmla="*/ 84 w 193"/>
              <a:gd name="T19" fmla="*/ 101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3" h="179">
                <a:moveTo>
                  <a:pt x="84" y="101"/>
                </a:moveTo>
                <a:cubicBezTo>
                  <a:pt x="84" y="29"/>
                  <a:pt x="84" y="29"/>
                  <a:pt x="84" y="29"/>
                </a:cubicBezTo>
                <a:cubicBezTo>
                  <a:pt x="42" y="0"/>
                  <a:pt x="42" y="0"/>
                  <a:pt x="42" y="0"/>
                </a:cubicBezTo>
                <a:cubicBezTo>
                  <a:pt x="0" y="29"/>
                  <a:pt x="0" y="29"/>
                  <a:pt x="0" y="29"/>
                </a:cubicBezTo>
                <a:cubicBezTo>
                  <a:pt x="0" y="111"/>
                  <a:pt x="0" y="111"/>
                  <a:pt x="0" y="111"/>
                </a:cubicBezTo>
                <a:cubicBezTo>
                  <a:pt x="0" y="148"/>
                  <a:pt x="33" y="179"/>
                  <a:pt x="74" y="179"/>
                </a:cubicBezTo>
                <a:cubicBezTo>
                  <a:pt x="193" y="179"/>
                  <a:pt x="193" y="179"/>
                  <a:pt x="193" y="179"/>
                </a:cubicBezTo>
                <a:cubicBezTo>
                  <a:pt x="162" y="140"/>
                  <a:pt x="162" y="140"/>
                  <a:pt x="162" y="140"/>
                </a:cubicBezTo>
                <a:cubicBezTo>
                  <a:pt x="193" y="101"/>
                  <a:pt x="193" y="101"/>
                  <a:pt x="193" y="101"/>
                </a:cubicBezTo>
                <a:lnTo>
                  <a:pt x="84" y="1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6B5A2F33-CA56-4D85-842B-49519DE99DF3}"/>
              </a:ext>
            </a:extLst>
          </p:cNvPr>
          <p:cNvSpPr/>
          <p:nvPr/>
        </p:nvSpPr>
        <p:spPr bwMode="auto">
          <a:xfrm>
            <a:off x="10490994" y="3048402"/>
            <a:ext cx="882650" cy="822325"/>
          </a:xfrm>
          <a:custGeom>
            <a:avLst/>
            <a:gdLst>
              <a:gd name="T0" fmla="*/ 109 w 193"/>
              <a:gd name="T1" fmla="*/ 101 h 179"/>
              <a:gd name="T2" fmla="*/ 31 w 193"/>
              <a:gd name="T3" fmla="*/ 101 h 179"/>
              <a:gd name="T4" fmla="*/ 0 w 193"/>
              <a:gd name="T5" fmla="*/ 140 h 179"/>
              <a:gd name="T6" fmla="*/ 31 w 193"/>
              <a:gd name="T7" fmla="*/ 179 h 179"/>
              <a:gd name="T8" fmla="*/ 119 w 193"/>
              <a:gd name="T9" fmla="*/ 179 h 179"/>
              <a:gd name="T10" fmla="*/ 193 w 193"/>
              <a:gd name="T11" fmla="*/ 111 h 179"/>
              <a:gd name="T12" fmla="*/ 193 w 193"/>
              <a:gd name="T13" fmla="*/ 0 h 179"/>
              <a:gd name="T14" fmla="*/ 151 w 193"/>
              <a:gd name="T15" fmla="*/ 29 h 179"/>
              <a:gd name="T16" fmla="*/ 109 w 193"/>
              <a:gd name="T17" fmla="*/ 0 h 179"/>
              <a:gd name="T18" fmla="*/ 109 w 193"/>
              <a:gd name="T19" fmla="*/ 101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3" h="179">
                <a:moveTo>
                  <a:pt x="109" y="101"/>
                </a:moveTo>
                <a:cubicBezTo>
                  <a:pt x="31" y="101"/>
                  <a:pt x="31" y="101"/>
                  <a:pt x="31" y="101"/>
                </a:cubicBezTo>
                <a:cubicBezTo>
                  <a:pt x="0" y="140"/>
                  <a:pt x="0" y="140"/>
                  <a:pt x="0" y="140"/>
                </a:cubicBezTo>
                <a:cubicBezTo>
                  <a:pt x="31" y="179"/>
                  <a:pt x="31" y="179"/>
                  <a:pt x="31" y="179"/>
                </a:cubicBezTo>
                <a:cubicBezTo>
                  <a:pt x="119" y="179"/>
                  <a:pt x="119" y="179"/>
                  <a:pt x="119" y="179"/>
                </a:cubicBezTo>
                <a:cubicBezTo>
                  <a:pt x="160" y="179"/>
                  <a:pt x="193" y="148"/>
                  <a:pt x="193" y="111"/>
                </a:cubicBezTo>
                <a:cubicBezTo>
                  <a:pt x="193" y="0"/>
                  <a:pt x="193" y="0"/>
                  <a:pt x="193" y="0"/>
                </a:cubicBezTo>
                <a:cubicBezTo>
                  <a:pt x="151" y="29"/>
                  <a:pt x="151" y="29"/>
                  <a:pt x="151" y="29"/>
                </a:cubicBezTo>
                <a:cubicBezTo>
                  <a:pt x="109" y="0"/>
                  <a:pt x="109" y="0"/>
                  <a:pt x="109" y="0"/>
                </a:cubicBezTo>
                <a:lnTo>
                  <a:pt x="109" y="1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12F855CD-5F87-42F9-A8CC-D80DA022A21F}"/>
              </a:ext>
            </a:extLst>
          </p:cNvPr>
          <p:cNvSpPr/>
          <p:nvPr/>
        </p:nvSpPr>
        <p:spPr bwMode="auto">
          <a:xfrm>
            <a:off x="9533731" y="3511952"/>
            <a:ext cx="1003300" cy="358775"/>
          </a:xfrm>
          <a:custGeom>
            <a:avLst/>
            <a:gdLst>
              <a:gd name="T0" fmla="*/ 632 w 632"/>
              <a:gd name="T1" fmla="*/ 0 h 226"/>
              <a:gd name="T2" fmla="*/ 542 w 632"/>
              <a:gd name="T3" fmla="*/ 113 h 226"/>
              <a:gd name="T4" fmla="*/ 632 w 632"/>
              <a:gd name="T5" fmla="*/ 226 h 226"/>
              <a:gd name="T6" fmla="*/ 90 w 632"/>
              <a:gd name="T7" fmla="*/ 226 h 226"/>
              <a:gd name="T8" fmla="*/ 0 w 632"/>
              <a:gd name="T9" fmla="*/ 113 h 226"/>
              <a:gd name="T10" fmla="*/ 90 w 632"/>
              <a:gd name="T11" fmla="*/ 0 h 226"/>
              <a:gd name="T12" fmla="*/ 632 w 632"/>
              <a:gd name="T13" fmla="*/ 0 h 2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632" h="226">
                <a:moveTo>
                  <a:pt x="632" y="0"/>
                </a:moveTo>
                <a:lnTo>
                  <a:pt x="542" y="113"/>
                </a:lnTo>
                <a:lnTo>
                  <a:pt x="632" y="226"/>
                </a:lnTo>
                <a:lnTo>
                  <a:pt x="90" y="226"/>
                </a:lnTo>
                <a:lnTo>
                  <a:pt x="0" y="113"/>
                </a:lnTo>
                <a:lnTo>
                  <a:pt x="90" y="0"/>
                </a:lnTo>
                <a:lnTo>
                  <a:pt x="632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421A6450-2C84-42AC-A34A-A3EB398E18CD}"/>
              </a:ext>
            </a:extLst>
          </p:cNvPr>
          <p:cNvSpPr/>
          <p:nvPr/>
        </p:nvSpPr>
        <p:spPr bwMode="auto">
          <a:xfrm>
            <a:off x="10490994" y="2272114"/>
            <a:ext cx="882650" cy="822325"/>
          </a:xfrm>
          <a:custGeom>
            <a:avLst/>
            <a:gdLst>
              <a:gd name="T0" fmla="*/ 109 w 193"/>
              <a:gd name="T1" fmla="*/ 77 h 179"/>
              <a:gd name="T2" fmla="*/ 109 w 193"/>
              <a:gd name="T3" fmla="*/ 150 h 179"/>
              <a:gd name="T4" fmla="*/ 151 w 193"/>
              <a:gd name="T5" fmla="*/ 179 h 179"/>
              <a:gd name="T6" fmla="*/ 193 w 193"/>
              <a:gd name="T7" fmla="*/ 150 h 179"/>
              <a:gd name="T8" fmla="*/ 193 w 193"/>
              <a:gd name="T9" fmla="*/ 68 h 179"/>
              <a:gd name="T10" fmla="*/ 119 w 193"/>
              <a:gd name="T11" fmla="*/ 0 h 179"/>
              <a:gd name="T12" fmla="*/ 0 w 193"/>
              <a:gd name="T13" fmla="*/ 0 h 179"/>
              <a:gd name="T14" fmla="*/ 31 w 193"/>
              <a:gd name="T15" fmla="*/ 38 h 179"/>
              <a:gd name="T16" fmla="*/ 0 w 193"/>
              <a:gd name="T17" fmla="*/ 77 h 179"/>
              <a:gd name="T18" fmla="*/ 109 w 193"/>
              <a:gd name="T19" fmla="*/ 77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3" h="179">
                <a:moveTo>
                  <a:pt x="109" y="77"/>
                </a:moveTo>
                <a:cubicBezTo>
                  <a:pt x="109" y="150"/>
                  <a:pt x="109" y="150"/>
                  <a:pt x="109" y="150"/>
                </a:cubicBezTo>
                <a:cubicBezTo>
                  <a:pt x="151" y="179"/>
                  <a:pt x="151" y="179"/>
                  <a:pt x="151" y="179"/>
                </a:cubicBezTo>
                <a:cubicBezTo>
                  <a:pt x="193" y="150"/>
                  <a:pt x="193" y="150"/>
                  <a:pt x="193" y="150"/>
                </a:cubicBezTo>
                <a:cubicBezTo>
                  <a:pt x="193" y="68"/>
                  <a:pt x="193" y="68"/>
                  <a:pt x="193" y="68"/>
                </a:cubicBezTo>
                <a:cubicBezTo>
                  <a:pt x="193" y="30"/>
                  <a:pt x="160" y="0"/>
                  <a:pt x="119" y="0"/>
                </a:cubicBezTo>
                <a:cubicBezTo>
                  <a:pt x="0" y="0"/>
                  <a:pt x="0" y="0"/>
                  <a:pt x="0" y="0"/>
                </a:cubicBezTo>
                <a:cubicBezTo>
                  <a:pt x="31" y="38"/>
                  <a:pt x="31" y="38"/>
                  <a:pt x="31" y="38"/>
                </a:cubicBezTo>
                <a:cubicBezTo>
                  <a:pt x="0" y="77"/>
                  <a:pt x="0" y="77"/>
                  <a:pt x="0" y="77"/>
                </a:cubicBezTo>
                <a:lnTo>
                  <a:pt x="109" y="77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AA394BD3-DB29-4D42-B68C-A6557B98F3C0}"/>
              </a:ext>
            </a:extLst>
          </p:cNvPr>
          <p:cNvSpPr/>
          <p:nvPr/>
        </p:nvSpPr>
        <p:spPr bwMode="auto">
          <a:xfrm>
            <a:off x="1769268" y="2267351"/>
            <a:ext cx="3094038" cy="1106488"/>
          </a:xfrm>
          <a:custGeom>
            <a:avLst/>
            <a:gdLst>
              <a:gd name="T0" fmla="*/ 603 w 676"/>
              <a:gd name="T1" fmla="*/ 241 h 241"/>
              <a:gd name="T2" fmla="*/ 73 w 676"/>
              <a:gd name="T3" fmla="*/ 241 h 241"/>
              <a:gd name="T4" fmla="*/ 0 w 676"/>
              <a:gd name="T5" fmla="*/ 173 h 241"/>
              <a:gd name="T6" fmla="*/ 0 w 676"/>
              <a:gd name="T7" fmla="*/ 68 h 241"/>
              <a:gd name="T8" fmla="*/ 73 w 676"/>
              <a:gd name="T9" fmla="*/ 0 h 241"/>
              <a:gd name="T10" fmla="*/ 603 w 676"/>
              <a:gd name="T11" fmla="*/ 0 h 241"/>
              <a:gd name="T12" fmla="*/ 676 w 676"/>
              <a:gd name="T13" fmla="*/ 68 h 241"/>
              <a:gd name="T14" fmla="*/ 676 w 676"/>
              <a:gd name="T15" fmla="*/ 173 h 241"/>
              <a:gd name="T16" fmla="*/ 603 w 676"/>
              <a:gd name="T17" fmla="*/ 241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76" h="241">
                <a:moveTo>
                  <a:pt x="603" y="241"/>
                </a:moveTo>
                <a:cubicBezTo>
                  <a:pt x="73" y="241"/>
                  <a:pt x="73" y="241"/>
                  <a:pt x="73" y="241"/>
                </a:cubicBezTo>
                <a:cubicBezTo>
                  <a:pt x="33" y="241"/>
                  <a:pt x="0" y="211"/>
                  <a:pt x="0" y="173"/>
                </a:cubicBezTo>
                <a:cubicBezTo>
                  <a:pt x="0" y="68"/>
                  <a:pt x="0" y="68"/>
                  <a:pt x="0" y="68"/>
                </a:cubicBezTo>
                <a:cubicBezTo>
                  <a:pt x="0" y="31"/>
                  <a:pt x="33" y="0"/>
                  <a:pt x="73" y="0"/>
                </a:cubicBezTo>
                <a:cubicBezTo>
                  <a:pt x="603" y="0"/>
                  <a:pt x="603" y="0"/>
                  <a:pt x="603" y="0"/>
                </a:cubicBezTo>
                <a:cubicBezTo>
                  <a:pt x="643" y="0"/>
                  <a:pt x="676" y="31"/>
                  <a:pt x="676" y="68"/>
                </a:cubicBezTo>
                <a:cubicBezTo>
                  <a:pt x="676" y="173"/>
                  <a:pt x="676" y="173"/>
                  <a:pt x="676" y="173"/>
                </a:cubicBezTo>
                <a:cubicBezTo>
                  <a:pt x="676" y="211"/>
                  <a:pt x="643" y="241"/>
                  <a:pt x="603" y="24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endParaRPr lang="en-US" altLang="zh-CN" b="1" dirty="0">
              <a:cs typeface="+mn-ea"/>
              <a:sym typeface="+mn-lt"/>
            </a:endParaRPr>
          </a:p>
          <a:p>
            <a:pPr algn="ct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D061752B-8799-4E1F-9F0D-31371853FDFF}"/>
              </a:ext>
            </a:extLst>
          </p:cNvPr>
          <p:cNvSpPr/>
          <p:nvPr/>
        </p:nvSpPr>
        <p:spPr bwMode="auto">
          <a:xfrm>
            <a:off x="5011737" y="1287863"/>
            <a:ext cx="2163763" cy="1806576"/>
          </a:xfrm>
          <a:custGeom>
            <a:avLst/>
            <a:gdLst>
              <a:gd name="T0" fmla="*/ 244 w 473"/>
              <a:gd name="T1" fmla="*/ 49 h 393"/>
              <a:gd name="T2" fmla="*/ 262 w 473"/>
              <a:gd name="T3" fmla="*/ 83 h 393"/>
              <a:gd name="T4" fmla="*/ 213 w 473"/>
              <a:gd name="T5" fmla="*/ 174 h 393"/>
              <a:gd name="T6" fmla="*/ 176 w 473"/>
              <a:gd name="T7" fmla="*/ 197 h 393"/>
              <a:gd name="T8" fmla="*/ 161 w 473"/>
              <a:gd name="T9" fmla="*/ 275 h 393"/>
              <a:gd name="T10" fmla="*/ 236 w 473"/>
              <a:gd name="T11" fmla="*/ 301 h 393"/>
              <a:gd name="T12" fmla="*/ 311 w 473"/>
              <a:gd name="T13" fmla="*/ 275 h 393"/>
              <a:gd name="T14" fmla="*/ 297 w 473"/>
              <a:gd name="T15" fmla="*/ 197 h 393"/>
              <a:gd name="T16" fmla="*/ 260 w 473"/>
              <a:gd name="T17" fmla="*/ 103 h 393"/>
              <a:gd name="T18" fmla="*/ 268 w 473"/>
              <a:gd name="T19" fmla="*/ 100 h 393"/>
              <a:gd name="T20" fmla="*/ 334 w 473"/>
              <a:gd name="T21" fmla="*/ 35 h 393"/>
              <a:gd name="T22" fmla="*/ 319 w 473"/>
              <a:gd name="T23" fmla="*/ 21 h 393"/>
              <a:gd name="T24" fmla="*/ 244 w 473"/>
              <a:gd name="T25" fmla="*/ 10 h 393"/>
              <a:gd name="T26" fmla="*/ 251 w 473"/>
              <a:gd name="T27" fmla="*/ 0 h 393"/>
              <a:gd name="T28" fmla="*/ 244 w 473"/>
              <a:gd name="T29" fmla="*/ 0 h 393"/>
              <a:gd name="T30" fmla="*/ 221 w 473"/>
              <a:gd name="T31" fmla="*/ 0 h 393"/>
              <a:gd name="T32" fmla="*/ 229 w 473"/>
              <a:gd name="T33" fmla="*/ 10 h 393"/>
              <a:gd name="T34" fmla="*/ 154 w 473"/>
              <a:gd name="T35" fmla="*/ 21 h 393"/>
              <a:gd name="T36" fmla="*/ 139 w 473"/>
              <a:gd name="T37" fmla="*/ 35 h 393"/>
              <a:gd name="T38" fmla="*/ 143 w 473"/>
              <a:gd name="T39" fmla="*/ 44 h 393"/>
              <a:gd name="T40" fmla="*/ 205 w 473"/>
              <a:gd name="T41" fmla="*/ 100 h 393"/>
              <a:gd name="T42" fmla="*/ 213 w 473"/>
              <a:gd name="T43" fmla="*/ 103 h 393"/>
              <a:gd name="T44" fmla="*/ 213 w 473"/>
              <a:gd name="T45" fmla="*/ 174 h 393"/>
              <a:gd name="T46" fmla="*/ 393 w 473"/>
              <a:gd name="T47" fmla="*/ 207 h 393"/>
              <a:gd name="T48" fmla="*/ 473 w 473"/>
              <a:gd name="T49" fmla="*/ 312 h 393"/>
              <a:gd name="T50" fmla="*/ 431 w 473"/>
              <a:gd name="T51" fmla="*/ 364 h 393"/>
              <a:gd name="T52" fmla="*/ 389 w 473"/>
              <a:gd name="T53" fmla="*/ 318 h 393"/>
              <a:gd name="T54" fmla="*/ 343 w 473"/>
              <a:gd name="T55" fmla="*/ 291 h 393"/>
              <a:gd name="T56" fmla="*/ 324 w 473"/>
              <a:gd name="T57" fmla="*/ 275 h 393"/>
              <a:gd name="T58" fmla="*/ 324 w 473"/>
              <a:gd name="T59" fmla="*/ 182 h 393"/>
              <a:gd name="T60" fmla="*/ 343 w 473"/>
              <a:gd name="T61" fmla="*/ 197 h 393"/>
              <a:gd name="T62" fmla="*/ 130 w 473"/>
              <a:gd name="T63" fmla="*/ 197 h 393"/>
              <a:gd name="T64" fmla="*/ 148 w 473"/>
              <a:gd name="T65" fmla="*/ 182 h 393"/>
              <a:gd name="T66" fmla="*/ 130 w 473"/>
              <a:gd name="T67" fmla="*/ 291 h 393"/>
              <a:gd name="T68" fmla="*/ 84 w 473"/>
              <a:gd name="T69" fmla="*/ 318 h 393"/>
              <a:gd name="T70" fmla="*/ 42 w 473"/>
              <a:gd name="T71" fmla="*/ 393 h 393"/>
              <a:gd name="T72" fmla="*/ 0 w 473"/>
              <a:gd name="T73" fmla="*/ 317 h 393"/>
              <a:gd name="T74" fmla="*/ 110 w 473"/>
              <a:gd name="T75" fmla="*/ 199 h 393"/>
              <a:gd name="T76" fmla="*/ 130 w 473"/>
              <a:gd name="T77" fmla="*/ 197 h 393"/>
              <a:gd name="T78" fmla="*/ 229 w 473"/>
              <a:gd name="T79" fmla="*/ 49 h 393"/>
              <a:gd name="T80" fmla="*/ 211 w 473"/>
              <a:gd name="T81" fmla="*/ 83 h 3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3" h="393">
                <a:moveTo>
                  <a:pt x="244" y="83"/>
                </a:moveTo>
                <a:cubicBezTo>
                  <a:pt x="244" y="49"/>
                  <a:pt x="244" y="49"/>
                  <a:pt x="244" y="49"/>
                </a:cubicBezTo>
                <a:cubicBezTo>
                  <a:pt x="300" y="49"/>
                  <a:pt x="300" y="49"/>
                  <a:pt x="300" y="49"/>
                </a:cubicBezTo>
                <a:cubicBezTo>
                  <a:pt x="262" y="83"/>
                  <a:pt x="262" y="83"/>
                  <a:pt x="262" y="83"/>
                </a:cubicBezTo>
                <a:cubicBezTo>
                  <a:pt x="244" y="83"/>
                  <a:pt x="244" y="83"/>
                  <a:pt x="244" y="83"/>
                </a:cubicBezTo>
                <a:close/>
                <a:moveTo>
                  <a:pt x="213" y="174"/>
                </a:moveTo>
                <a:cubicBezTo>
                  <a:pt x="198" y="178"/>
                  <a:pt x="186" y="186"/>
                  <a:pt x="176" y="197"/>
                </a:cubicBezTo>
                <a:cubicBezTo>
                  <a:pt x="176" y="197"/>
                  <a:pt x="176" y="197"/>
                  <a:pt x="176" y="197"/>
                </a:cubicBezTo>
                <a:cubicBezTo>
                  <a:pt x="161" y="197"/>
                  <a:pt x="161" y="197"/>
                  <a:pt x="161" y="197"/>
                </a:cubicBezTo>
                <a:cubicBezTo>
                  <a:pt x="161" y="275"/>
                  <a:pt x="161" y="275"/>
                  <a:pt x="161" y="275"/>
                </a:cubicBezTo>
                <a:cubicBezTo>
                  <a:pt x="176" y="275"/>
                  <a:pt x="176" y="275"/>
                  <a:pt x="176" y="275"/>
                </a:cubicBezTo>
                <a:cubicBezTo>
                  <a:pt x="190" y="291"/>
                  <a:pt x="212" y="301"/>
                  <a:pt x="236" y="301"/>
                </a:cubicBezTo>
                <a:cubicBezTo>
                  <a:pt x="261" y="301"/>
                  <a:pt x="283" y="291"/>
                  <a:pt x="297" y="275"/>
                </a:cubicBezTo>
                <a:cubicBezTo>
                  <a:pt x="311" y="275"/>
                  <a:pt x="311" y="275"/>
                  <a:pt x="311" y="275"/>
                </a:cubicBezTo>
                <a:cubicBezTo>
                  <a:pt x="311" y="197"/>
                  <a:pt x="311" y="197"/>
                  <a:pt x="311" y="197"/>
                </a:cubicBezTo>
                <a:cubicBezTo>
                  <a:pt x="297" y="197"/>
                  <a:pt x="297" y="197"/>
                  <a:pt x="297" y="197"/>
                </a:cubicBezTo>
                <a:cubicBezTo>
                  <a:pt x="287" y="186"/>
                  <a:pt x="274" y="178"/>
                  <a:pt x="260" y="174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0" y="103"/>
                  <a:pt x="260" y="103"/>
                  <a:pt x="260" y="103"/>
                </a:cubicBezTo>
                <a:cubicBezTo>
                  <a:pt x="263" y="103"/>
                  <a:pt x="266" y="102"/>
                  <a:pt x="268" y="100"/>
                </a:cubicBezTo>
                <a:cubicBezTo>
                  <a:pt x="328" y="45"/>
                  <a:pt x="328" y="45"/>
                  <a:pt x="328" y="45"/>
                </a:cubicBezTo>
                <a:cubicBezTo>
                  <a:pt x="332" y="43"/>
                  <a:pt x="334" y="39"/>
                  <a:pt x="334" y="35"/>
                </a:cubicBezTo>
                <a:cubicBezTo>
                  <a:pt x="334" y="35"/>
                  <a:pt x="334" y="35"/>
                  <a:pt x="334" y="35"/>
                </a:cubicBezTo>
                <a:cubicBezTo>
                  <a:pt x="334" y="27"/>
                  <a:pt x="327" y="21"/>
                  <a:pt x="319" y="21"/>
                </a:cubicBezTo>
                <a:cubicBezTo>
                  <a:pt x="244" y="21"/>
                  <a:pt x="244" y="21"/>
                  <a:pt x="244" y="21"/>
                </a:cubicBezTo>
                <a:cubicBezTo>
                  <a:pt x="244" y="10"/>
                  <a:pt x="244" y="10"/>
                  <a:pt x="244" y="10"/>
                </a:cubicBezTo>
                <a:cubicBezTo>
                  <a:pt x="251" y="10"/>
                  <a:pt x="251" y="10"/>
                  <a:pt x="251" y="10"/>
                </a:cubicBezTo>
                <a:cubicBezTo>
                  <a:pt x="251" y="0"/>
                  <a:pt x="251" y="0"/>
                  <a:pt x="251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43" y="0"/>
                  <a:pt x="243" y="0"/>
                  <a:pt x="243" y="0"/>
                </a:cubicBezTo>
                <a:cubicBezTo>
                  <a:pt x="221" y="0"/>
                  <a:pt x="221" y="0"/>
                  <a:pt x="221" y="0"/>
                </a:cubicBezTo>
                <a:cubicBezTo>
                  <a:pt x="221" y="10"/>
                  <a:pt x="221" y="10"/>
                  <a:pt x="221" y="10"/>
                </a:cubicBezTo>
                <a:cubicBezTo>
                  <a:pt x="229" y="10"/>
                  <a:pt x="229" y="10"/>
                  <a:pt x="229" y="10"/>
                </a:cubicBezTo>
                <a:cubicBezTo>
                  <a:pt x="229" y="21"/>
                  <a:pt x="229" y="21"/>
                  <a:pt x="229" y="21"/>
                </a:cubicBezTo>
                <a:cubicBezTo>
                  <a:pt x="154" y="21"/>
                  <a:pt x="154" y="21"/>
                  <a:pt x="154" y="21"/>
                </a:cubicBezTo>
                <a:cubicBezTo>
                  <a:pt x="146" y="21"/>
                  <a:pt x="139" y="27"/>
                  <a:pt x="139" y="35"/>
                </a:cubicBezTo>
                <a:cubicBezTo>
                  <a:pt x="139" y="35"/>
                  <a:pt x="139" y="35"/>
                  <a:pt x="139" y="35"/>
                </a:cubicBezTo>
                <a:cubicBezTo>
                  <a:pt x="139" y="38"/>
                  <a:pt x="140" y="40"/>
                  <a:pt x="142" y="43"/>
                </a:cubicBezTo>
                <a:cubicBezTo>
                  <a:pt x="142" y="43"/>
                  <a:pt x="142" y="43"/>
                  <a:pt x="143" y="44"/>
                </a:cubicBezTo>
                <a:cubicBezTo>
                  <a:pt x="143" y="44"/>
                  <a:pt x="144" y="45"/>
                  <a:pt x="144" y="45"/>
                </a:cubicBezTo>
                <a:cubicBezTo>
                  <a:pt x="205" y="100"/>
                  <a:pt x="205" y="100"/>
                  <a:pt x="205" y="100"/>
                </a:cubicBezTo>
                <a:cubicBezTo>
                  <a:pt x="205" y="100"/>
                  <a:pt x="205" y="100"/>
                  <a:pt x="205" y="100"/>
                </a:cubicBezTo>
                <a:cubicBezTo>
                  <a:pt x="207" y="102"/>
                  <a:pt x="210" y="103"/>
                  <a:pt x="213" y="103"/>
                </a:cubicBezTo>
                <a:cubicBezTo>
                  <a:pt x="213" y="103"/>
                  <a:pt x="213" y="103"/>
                  <a:pt x="213" y="103"/>
                </a:cubicBezTo>
                <a:cubicBezTo>
                  <a:pt x="213" y="174"/>
                  <a:pt x="213" y="174"/>
                  <a:pt x="213" y="174"/>
                </a:cubicBezTo>
                <a:close/>
                <a:moveTo>
                  <a:pt x="344" y="197"/>
                </a:moveTo>
                <a:cubicBezTo>
                  <a:pt x="361" y="198"/>
                  <a:pt x="377" y="201"/>
                  <a:pt x="393" y="207"/>
                </a:cubicBezTo>
                <a:cubicBezTo>
                  <a:pt x="436" y="225"/>
                  <a:pt x="463" y="257"/>
                  <a:pt x="472" y="300"/>
                </a:cubicBezTo>
                <a:cubicBezTo>
                  <a:pt x="473" y="312"/>
                  <a:pt x="473" y="312"/>
                  <a:pt x="473" y="312"/>
                </a:cubicBezTo>
                <a:cubicBezTo>
                  <a:pt x="473" y="393"/>
                  <a:pt x="473" y="393"/>
                  <a:pt x="473" y="393"/>
                </a:cubicBezTo>
                <a:cubicBezTo>
                  <a:pt x="431" y="364"/>
                  <a:pt x="431" y="364"/>
                  <a:pt x="431" y="364"/>
                </a:cubicBezTo>
                <a:cubicBezTo>
                  <a:pt x="389" y="393"/>
                  <a:pt x="389" y="393"/>
                  <a:pt x="389" y="393"/>
                </a:cubicBezTo>
                <a:cubicBezTo>
                  <a:pt x="389" y="318"/>
                  <a:pt x="389" y="318"/>
                  <a:pt x="389" y="318"/>
                </a:cubicBezTo>
                <a:cubicBezTo>
                  <a:pt x="389" y="295"/>
                  <a:pt x="368" y="275"/>
                  <a:pt x="343" y="275"/>
                </a:cubicBezTo>
                <a:cubicBezTo>
                  <a:pt x="343" y="291"/>
                  <a:pt x="343" y="291"/>
                  <a:pt x="343" y="29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24" y="275"/>
                  <a:pt x="324" y="275"/>
                  <a:pt x="324" y="275"/>
                </a:cubicBezTo>
                <a:cubicBezTo>
                  <a:pt x="324" y="197"/>
                  <a:pt x="324" y="197"/>
                  <a:pt x="324" y="197"/>
                </a:cubicBezTo>
                <a:cubicBezTo>
                  <a:pt x="324" y="182"/>
                  <a:pt x="324" y="182"/>
                  <a:pt x="324" y="182"/>
                </a:cubicBezTo>
                <a:cubicBezTo>
                  <a:pt x="343" y="182"/>
                  <a:pt x="343" y="182"/>
                  <a:pt x="343" y="182"/>
                </a:cubicBezTo>
                <a:cubicBezTo>
                  <a:pt x="343" y="197"/>
                  <a:pt x="343" y="197"/>
                  <a:pt x="343" y="197"/>
                </a:cubicBezTo>
                <a:cubicBezTo>
                  <a:pt x="344" y="197"/>
                  <a:pt x="344" y="197"/>
                  <a:pt x="344" y="197"/>
                </a:cubicBezTo>
                <a:close/>
                <a:moveTo>
                  <a:pt x="130" y="197"/>
                </a:moveTo>
                <a:cubicBezTo>
                  <a:pt x="130" y="182"/>
                  <a:pt x="130" y="182"/>
                  <a:pt x="130" y="182"/>
                </a:cubicBezTo>
                <a:cubicBezTo>
                  <a:pt x="148" y="182"/>
                  <a:pt x="148" y="182"/>
                  <a:pt x="148" y="182"/>
                </a:cubicBezTo>
                <a:cubicBezTo>
                  <a:pt x="148" y="291"/>
                  <a:pt x="148" y="291"/>
                  <a:pt x="148" y="291"/>
                </a:cubicBezTo>
                <a:cubicBezTo>
                  <a:pt x="130" y="291"/>
                  <a:pt x="130" y="291"/>
                  <a:pt x="130" y="291"/>
                </a:cubicBezTo>
                <a:cubicBezTo>
                  <a:pt x="130" y="275"/>
                  <a:pt x="130" y="275"/>
                  <a:pt x="130" y="275"/>
                </a:cubicBezTo>
                <a:cubicBezTo>
                  <a:pt x="104" y="275"/>
                  <a:pt x="84" y="295"/>
                  <a:pt x="84" y="318"/>
                </a:cubicBezTo>
                <a:cubicBezTo>
                  <a:pt x="84" y="364"/>
                  <a:pt x="84" y="364"/>
                  <a:pt x="84" y="364"/>
                </a:cubicBezTo>
                <a:cubicBezTo>
                  <a:pt x="42" y="393"/>
                  <a:pt x="42" y="393"/>
                  <a:pt x="42" y="393"/>
                </a:cubicBezTo>
                <a:cubicBezTo>
                  <a:pt x="0" y="364"/>
                  <a:pt x="0" y="364"/>
                  <a:pt x="0" y="364"/>
                </a:cubicBezTo>
                <a:cubicBezTo>
                  <a:pt x="0" y="317"/>
                  <a:pt x="0" y="317"/>
                  <a:pt x="0" y="317"/>
                </a:cubicBezTo>
                <a:cubicBezTo>
                  <a:pt x="0" y="301"/>
                  <a:pt x="4" y="287"/>
                  <a:pt x="10" y="271"/>
                </a:cubicBezTo>
                <a:cubicBezTo>
                  <a:pt x="30" y="231"/>
                  <a:pt x="64" y="206"/>
                  <a:pt x="110" y="199"/>
                </a:cubicBezTo>
                <a:cubicBezTo>
                  <a:pt x="124" y="197"/>
                  <a:pt x="124" y="197"/>
                  <a:pt x="124" y="197"/>
                </a:cubicBezTo>
                <a:cubicBezTo>
                  <a:pt x="130" y="197"/>
                  <a:pt x="130" y="197"/>
                  <a:pt x="130" y="197"/>
                </a:cubicBezTo>
                <a:close/>
                <a:moveTo>
                  <a:pt x="173" y="49"/>
                </a:moveTo>
                <a:cubicBezTo>
                  <a:pt x="229" y="49"/>
                  <a:pt x="229" y="49"/>
                  <a:pt x="229" y="49"/>
                </a:cubicBezTo>
                <a:cubicBezTo>
                  <a:pt x="229" y="83"/>
                  <a:pt x="229" y="83"/>
                  <a:pt x="229" y="83"/>
                </a:cubicBezTo>
                <a:cubicBezTo>
                  <a:pt x="211" y="83"/>
                  <a:pt x="211" y="83"/>
                  <a:pt x="211" y="83"/>
                </a:cubicBezTo>
                <a:lnTo>
                  <a:pt x="173" y="4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34B3069F-2806-4065-9FB7-ED3D09A9277C}"/>
              </a:ext>
            </a:extLst>
          </p:cNvPr>
          <p:cNvSpPr/>
          <p:nvPr/>
        </p:nvSpPr>
        <p:spPr bwMode="auto">
          <a:xfrm>
            <a:off x="5721350" y="2726139"/>
            <a:ext cx="744538" cy="1144588"/>
          </a:xfrm>
          <a:custGeom>
            <a:avLst/>
            <a:gdLst>
              <a:gd name="T0" fmla="*/ 81 w 163"/>
              <a:gd name="T1" fmla="*/ 249 h 249"/>
              <a:gd name="T2" fmla="*/ 163 w 163"/>
              <a:gd name="T3" fmla="*/ 173 h 249"/>
              <a:gd name="T4" fmla="*/ 154 w 163"/>
              <a:gd name="T5" fmla="*/ 139 h 249"/>
              <a:gd name="T6" fmla="*/ 81 w 163"/>
              <a:gd name="T7" fmla="*/ 0 h 249"/>
              <a:gd name="T8" fmla="*/ 9 w 163"/>
              <a:gd name="T9" fmla="*/ 139 h 249"/>
              <a:gd name="T10" fmla="*/ 0 w 163"/>
              <a:gd name="T11" fmla="*/ 173 h 249"/>
              <a:gd name="T12" fmla="*/ 81 w 163"/>
              <a:gd name="T13" fmla="*/ 249 h 249"/>
              <a:gd name="T14" fmla="*/ 53 w 163"/>
              <a:gd name="T15" fmla="*/ 102 h 249"/>
              <a:gd name="T16" fmla="*/ 44 w 163"/>
              <a:gd name="T17" fmla="*/ 117 h 249"/>
              <a:gd name="T18" fmla="*/ 31 w 163"/>
              <a:gd name="T19" fmla="*/ 172 h 249"/>
              <a:gd name="T20" fmla="*/ 31 w 163"/>
              <a:gd name="T21" fmla="*/ 186 h 249"/>
              <a:gd name="T22" fmla="*/ 33 w 163"/>
              <a:gd name="T23" fmla="*/ 198 h 249"/>
              <a:gd name="T24" fmla="*/ 37 w 163"/>
              <a:gd name="T25" fmla="*/ 211 h 249"/>
              <a:gd name="T26" fmla="*/ 42 w 163"/>
              <a:gd name="T27" fmla="*/ 222 h 249"/>
              <a:gd name="T28" fmla="*/ 39 w 163"/>
              <a:gd name="T29" fmla="*/ 221 h 249"/>
              <a:gd name="T30" fmla="*/ 34 w 163"/>
              <a:gd name="T31" fmla="*/ 217 h 249"/>
              <a:gd name="T32" fmla="*/ 30 w 163"/>
              <a:gd name="T33" fmla="*/ 212 h 249"/>
              <a:gd name="T34" fmla="*/ 26 w 163"/>
              <a:gd name="T35" fmla="*/ 208 h 249"/>
              <a:gd name="T36" fmla="*/ 23 w 163"/>
              <a:gd name="T37" fmla="*/ 202 h 249"/>
              <a:gd name="T38" fmla="*/ 20 w 163"/>
              <a:gd name="T39" fmla="*/ 197 h 249"/>
              <a:gd name="T40" fmla="*/ 18 w 163"/>
              <a:gd name="T41" fmla="*/ 191 h 249"/>
              <a:gd name="T42" fmla="*/ 16 w 163"/>
              <a:gd name="T43" fmla="*/ 186 h 249"/>
              <a:gd name="T44" fmla="*/ 15 w 163"/>
              <a:gd name="T45" fmla="*/ 179 h 249"/>
              <a:gd name="T46" fmla="*/ 15 w 163"/>
              <a:gd name="T47" fmla="*/ 173 h 249"/>
              <a:gd name="T48" fmla="*/ 21 w 163"/>
              <a:gd name="T49" fmla="*/ 147 h 249"/>
              <a:gd name="T50" fmla="*/ 46 w 163"/>
              <a:gd name="T51" fmla="*/ 110 h 249"/>
              <a:gd name="T52" fmla="*/ 53 w 163"/>
              <a:gd name="T53" fmla="*/ 102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63" h="249">
                <a:moveTo>
                  <a:pt x="81" y="249"/>
                </a:moveTo>
                <a:cubicBezTo>
                  <a:pt x="126" y="249"/>
                  <a:pt x="163" y="215"/>
                  <a:pt x="163" y="173"/>
                </a:cubicBezTo>
                <a:cubicBezTo>
                  <a:pt x="163" y="161"/>
                  <a:pt x="160" y="149"/>
                  <a:pt x="154" y="139"/>
                </a:cubicBezTo>
                <a:cubicBezTo>
                  <a:pt x="128" y="92"/>
                  <a:pt x="82" y="60"/>
                  <a:pt x="81" y="0"/>
                </a:cubicBezTo>
                <a:cubicBezTo>
                  <a:pt x="81" y="60"/>
                  <a:pt x="34" y="92"/>
                  <a:pt x="9" y="139"/>
                </a:cubicBezTo>
                <a:cubicBezTo>
                  <a:pt x="3" y="149"/>
                  <a:pt x="0" y="161"/>
                  <a:pt x="0" y="173"/>
                </a:cubicBezTo>
                <a:cubicBezTo>
                  <a:pt x="0" y="215"/>
                  <a:pt x="36" y="249"/>
                  <a:pt x="81" y="249"/>
                </a:cubicBezTo>
                <a:close/>
                <a:moveTo>
                  <a:pt x="53" y="102"/>
                </a:moveTo>
                <a:cubicBezTo>
                  <a:pt x="50" y="107"/>
                  <a:pt x="47" y="112"/>
                  <a:pt x="44" y="117"/>
                </a:cubicBezTo>
                <a:cubicBezTo>
                  <a:pt x="35" y="135"/>
                  <a:pt x="31" y="152"/>
                  <a:pt x="31" y="172"/>
                </a:cubicBezTo>
                <a:cubicBezTo>
                  <a:pt x="31" y="186"/>
                  <a:pt x="31" y="186"/>
                  <a:pt x="31" y="186"/>
                </a:cubicBezTo>
                <a:cubicBezTo>
                  <a:pt x="33" y="198"/>
                  <a:pt x="33" y="198"/>
                  <a:pt x="33" y="198"/>
                </a:cubicBezTo>
                <a:cubicBezTo>
                  <a:pt x="37" y="211"/>
                  <a:pt x="37" y="211"/>
                  <a:pt x="37" y="211"/>
                </a:cubicBezTo>
                <a:cubicBezTo>
                  <a:pt x="42" y="222"/>
                  <a:pt x="42" y="222"/>
                  <a:pt x="42" y="222"/>
                </a:cubicBezTo>
                <a:cubicBezTo>
                  <a:pt x="39" y="221"/>
                  <a:pt x="39" y="221"/>
                  <a:pt x="39" y="221"/>
                </a:cubicBezTo>
                <a:cubicBezTo>
                  <a:pt x="34" y="217"/>
                  <a:pt x="34" y="217"/>
                  <a:pt x="34" y="217"/>
                </a:cubicBezTo>
                <a:cubicBezTo>
                  <a:pt x="30" y="212"/>
                  <a:pt x="30" y="212"/>
                  <a:pt x="30" y="212"/>
                </a:cubicBezTo>
                <a:cubicBezTo>
                  <a:pt x="26" y="208"/>
                  <a:pt x="26" y="208"/>
                  <a:pt x="26" y="208"/>
                </a:cubicBezTo>
                <a:cubicBezTo>
                  <a:pt x="23" y="202"/>
                  <a:pt x="23" y="202"/>
                  <a:pt x="23" y="202"/>
                </a:cubicBezTo>
                <a:cubicBezTo>
                  <a:pt x="20" y="197"/>
                  <a:pt x="20" y="197"/>
                  <a:pt x="20" y="197"/>
                </a:cubicBezTo>
                <a:cubicBezTo>
                  <a:pt x="18" y="191"/>
                  <a:pt x="18" y="191"/>
                  <a:pt x="18" y="191"/>
                </a:cubicBezTo>
                <a:cubicBezTo>
                  <a:pt x="16" y="186"/>
                  <a:pt x="16" y="186"/>
                  <a:pt x="16" y="186"/>
                </a:cubicBezTo>
                <a:cubicBezTo>
                  <a:pt x="15" y="179"/>
                  <a:pt x="15" y="179"/>
                  <a:pt x="15" y="179"/>
                </a:cubicBezTo>
                <a:cubicBezTo>
                  <a:pt x="15" y="173"/>
                  <a:pt x="15" y="173"/>
                  <a:pt x="15" y="173"/>
                </a:cubicBezTo>
                <a:cubicBezTo>
                  <a:pt x="15" y="164"/>
                  <a:pt x="17" y="155"/>
                  <a:pt x="21" y="147"/>
                </a:cubicBezTo>
                <a:cubicBezTo>
                  <a:pt x="28" y="134"/>
                  <a:pt x="37" y="122"/>
                  <a:pt x="46" y="110"/>
                </a:cubicBezTo>
                <a:cubicBezTo>
                  <a:pt x="48" y="107"/>
                  <a:pt x="51" y="105"/>
                  <a:pt x="53" y="102"/>
                </a:cubicBezTo>
                <a:close/>
              </a:path>
            </a:pathLst>
          </a:custGeom>
          <a:solidFill>
            <a:schemeClr val="bg1">
              <a:lumMod val="95000"/>
              <a:alpha val="7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EF7CBDF4-131A-4FD7-8C5B-2808CA59C166}"/>
              </a:ext>
            </a:extLst>
          </p:cNvPr>
          <p:cNvSpPr/>
          <p:nvPr/>
        </p:nvSpPr>
        <p:spPr bwMode="auto">
          <a:xfrm>
            <a:off x="3121559" y="2393922"/>
            <a:ext cx="389457" cy="314149"/>
          </a:xfrm>
          <a:custGeom>
            <a:avLst/>
            <a:gdLst>
              <a:gd name="connsiteX0" fmla="*/ 533315 w 608344"/>
              <a:gd name="connsiteY0" fmla="*/ 120148 h 490712"/>
              <a:gd name="connsiteX1" fmla="*/ 498686 w 608344"/>
              <a:gd name="connsiteY1" fmla="*/ 154728 h 490712"/>
              <a:gd name="connsiteX2" fmla="*/ 533315 w 608344"/>
              <a:gd name="connsiteY2" fmla="*/ 189308 h 490712"/>
              <a:gd name="connsiteX3" fmla="*/ 567944 w 608344"/>
              <a:gd name="connsiteY3" fmla="*/ 154728 h 490712"/>
              <a:gd name="connsiteX4" fmla="*/ 533315 w 608344"/>
              <a:gd name="connsiteY4" fmla="*/ 120148 h 490712"/>
              <a:gd name="connsiteX5" fmla="*/ 436403 w 608344"/>
              <a:gd name="connsiteY5" fmla="*/ 120148 h 490712"/>
              <a:gd name="connsiteX6" fmla="*/ 401774 w 608344"/>
              <a:gd name="connsiteY6" fmla="*/ 154728 h 490712"/>
              <a:gd name="connsiteX7" fmla="*/ 436403 w 608344"/>
              <a:gd name="connsiteY7" fmla="*/ 189308 h 490712"/>
              <a:gd name="connsiteX8" fmla="*/ 438246 w 608344"/>
              <a:gd name="connsiteY8" fmla="*/ 189228 h 490712"/>
              <a:gd name="connsiteX9" fmla="*/ 470951 w 608344"/>
              <a:gd name="connsiteY9" fmla="*/ 154728 h 490712"/>
              <a:gd name="connsiteX10" fmla="*/ 438246 w 608344"/>
              <a:gd name="connsiteY10" fmla="*/ 120309 h 490712"/>
              <a:gd name="connsiteX11" fmla="*/ 436403 w 608344"/>
              <a:gd name="connsiteY11" fmla="*/ 120148 h 490712"/>
              <a:gd name="connsiteX12" fmla="*/ 339410 w 608344"/>
              <a:gd name="connsiteY12" fmla="*/ 120148 h 490712"/>
              <a:gd name="connsiteX13" fmla="*/ 304862 w 608344"/>
              <a:gd name="connsiteY13" fmla="*/ 154728 h 490712"/>
              <a:gd name="connsiteX14" fmla="*/ 339410 w 608344"/>
              <a:gd name="connsiteY14" fmla="*/ 189308 h 490712"/>
              <a:gd name="connsiteX15" fmla="*/ 374039 w 608344"/>
              <a:gd name="connsiteY15" fmla="*/ 154728 h 490712"/>
              <a:gd name="connsiteX16" fmla="*/ 339410 w 608344"/>
              <a:gd name="connsiteY16" fmla="*/ 120148 h 490712"/>
              <a:gd name="connsiteX17" fmla="*/ 242498 w 608344"/>
              <a:gd name="connsiteY17" fmla="*/ 120148 h 490712"/>
              <a:gd name="connsiteX18" fmla="*/ 207869 w 608344"/>
              <a:gd name="connsiteY18" fmla="*/ 154728 h 490712"/>
              <a:gd name="connsiteX19" fmla="*/ 242498 w 608344"/>
              <a:gd name="connsiteY19" fmla="*/ 189308 h 490712"/>
              <a:gd name="connsiteX20" fmla="*/ 277127 w 608344"/>
              <a:gd name="connsiteY20" fmla="*/ 154728 h 490712"/>
              <a:gd name="connsiteX21" fmla="*/ 242498 w 608344"/>
              <a:gd name="connsiteY21" fmla="*/ 120148 h 490712"/>
              <a:gd name="connsiteX22" fmla="*/ 0 w 608344"/>
              <a:gd name="connsiteY22" fmla="*/ 114316 h 490712"/>
              <a:gd name="connsiteX23" fmla="*/ 137387 w 608344"/>
              <a:gd name="connsiteY23" fmla="*/ 114316 h 490712"/>
              <a:gd name="connsiteX24" fmla="*/ 137387 w 608344"/>
              <a:gd name="connsiteY24" fmla="*/ 304475 h 490712"/>
              <a:gd name="connsiteX25" fmla="*/ 137387 w 608344"/>
              <a:gd name="connsiteY25" fmla="*/ 320001 h 490712"/>
              <a:gd name="connsiteX26" fmla="*/ 152697 w 608344"/>
              <a:gd name="connsiteY26" fmla="*/ 320001 h 490712"/>
              <a:gd name="connsiteX27" fmla="*/ 438211 w 608344"/>
              <a:gd name="connsiteY27" fmla="*/ 320001 h 490712"/>
              <a:gd name="connsiteX28" fmla="*/ 438211 w 608344"/>
              <a:gd name="connsiteY28" fmla="*/ 408198 h 490712"/>
              <a:gd name="connsiteX29" fmla="*/ 123119 w 608344"/>
              <a:gd name="connsiteY29" fmla="*/ 408198 h 490712"/>
              <a:gd name="connsiteX30" fmla="*/ 45769 w 608344"/>
              <a:gd name="connsiteY30" fmla="*/ 490712 h 490712"/>
              <a:gd name="connsiteX31" fmla="*/ 45769 w 608344"/>
              <a:gd name="connsiteY31" fmla="*/ 408198 h 490712"/>
              <a:gd name="connsiteX32" fmla="*/ 0 w 608344"/>
              <a:gd name="connsiteY32" fmla="*/ 408198 h 490712"/>
              <a:gd name="connsiteX33" fmla="*/ 153762 w 608344"/>
              <a:gd name="connsiteY33" fmla="*/ 0 h 490712"/>
              <a:gd name="connsiteX34" fmla="*/ 608344 w 608344"/>
              <a:gd name="connsiteY34" fmla="*/ 0 h 490712"/>
              <a:gd name="connsiteX35" fmla="*/ 608344 w 608344"/>
              <a:gd name="connsiteY35" fmla="*/ 303693 h 490712"/>
              <a:gd name="connsiteX36" fmla="*/ 559287 w 608344"/>
              <a:gd name="connsiteY36" fmla="*/ 303693 h 490712"/>
              <a:gd name="connsiteX37" fmla="*/ 559287 w 608344"/>
              <a:gd name="connsiteY37" fmla="*/ 390862 h 490712"/>
              <a:gd name="connsiteX38" fmla="*/ 480330 w 608344"/>
              <a:gd name="connsiteY38" fmla="*/ 303693 h 490712"/>
              <a:gd name="connsiteX39" fmla="*/ 438246 w 608344"/>
              <a:gd name="connsiteY39" fmla="*/ 303693 h 490712"/>
              <a:gd name="connsiteX40" fmla="*/ 153762 w 608344"/>
              <a:gd name="connsiteY40" fmla="*/ 303693 h 490712"/>
              <a:gd name="connsiteX41" fmla="*/ 153762 w 608344"/>
              <a:gd name="connsiteY41" fmla="*/ 114305 h 4907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</a:cxnLst>
            <a:rect l="l" t="t" r="r" b="b"/>
            <a:pathLst>
              <a:path w="608344" h="490712">
                <a:moveTo>
                  <a:pt x="533315" y="120148"/>
                </a:moveTo>
                <a:cubicBezTo>
                  <a:pt x="514237" y="120148"/>
                  <a:pt x="498686" y="135677"/>
                  <a:pt x="498686" y="154728"/>
                </a:cubicBezTo>
                <a:cubicBezTo>
                  <a:pt x="498686" y="173859"/>
                  <a:pt x="514237" y="189308"/>
                  <a:pt x="533315" y="189308"/>
                </a:cubicBezTo>
                <a:cubicBezTo>
                  <a:pt x="552393" y="189308"/>
                  <a:pt x="567944" y="173859"/>
                  <a:pt x="567944" y="154728"/>
                </a:cubicBezTo>
                <a:cubicBezTo>
                  <a:pt x="567944" y="135677"/>
                  <a:pt x="552393" y="120148"/>
                  <a:pt x="533315" y="120148"/>
                </a:cubicBezTo>
                <a:close/>
                <a:moveTo>
                  <a:pt x="436403" y="120148"/>
                </a:moveTo>
                <a:cubicBezTo>
                  <a:pt x="417245" y="120148"/>
                  <a:pt x="401774" y="135677"/>
                  <a:pt x="401774" y="154728"/>
                </a:cubicBezTo>
                <a:cubicBezTo>
                  <a:pt x="401774" y="173859"/>
                  <a:pt x="417245" y="189308"/>
                  <a:pt x="436403" y="189308"/>
                </a:cubicBezTo>
                <a:cubicBezTo>
                  <a:pt x="437044" y="189308"/>
                  <a:pt x="437605" y="189228"/>
                  <a:pt x="438246" y="189228"/>
                </a:cubicBezTo>
                <a:cubicBezTo>
                  <a:pt x="456523" y="188187"/>
                  <a:pt x="470951" y="173219"/>
                  <a:pt x="470951" y="154728"/>
                </a:cubicBezTo>
                <a:cubicBezTo>
                  <a:pt x="470951" y="136318"/>
                  <a:pt x="456523" y="121269"/>
                  <a:pt x="438246" y="120309"/>
                </a:cubicBezTo>
                <a:cubicBezTo>
                  <a:pt x="437605" y="120229"/>
                  <a:pt x="437044" y="120148"/>
                  <a:pt x="436403" y="120148"/>
                </a:cubicBezTo>
                <a:close/>
                <a:moveTo>
                  <a:pt x="339410" y="120148"/>
                </a:moveTo>
                <a:cubicBezTo>
                  <a:pt x="320333" y="120148"/>
                  <a:pt x="304862" y="135677"/>
                  <a:pt x="304862" y="154728"/>
                </a:cubicBezTo>
                <a:cubicBezTo>
                  <a:pt x="304862" y="173859"/>
                  <a:pt x="320333" y="189308"/>
                  <a:pt x="339410" y="189308"/>
                </a:cubicBezTo>
                <a:cubicBezTo>
                  <a:pt x="358568" y="189308"/>
                  <a:pt x="374039" y="173859"/>
                  <a:pt x="374039" y="154728"/>
                </a:cubicBezTo>
                <a:cubicBezTo>
                  <a:pt x="374039" y="135677"/>
                  <a:pt x="358568" y="120148"/>
                  <a:pt x="339410" y="120148"/>
                </a:cubicBezTo>
                <a:close/>
                <a:moveTo>
                  <a:pt x="242498" y="120148"/>
                </a:moveTo>
                <a:cubicBezTo>
                  <a:pt x="223420" y="120148"/>
                  <a:pt x="207869" y="135677"/>
                  <a:pt x="207869" y="154728"/>
                </a:cubicBezTo>
                <a:cubicBezTo>
                  <a:pt x="207869" y="173859"/>
                  <a:pt x="223420" y="189308"/>
                  <a:pt x="242498" y="189308"/>
                </a:cubicBezTo>
                <a:cubicBezTo>
                  <a:pt x="261576" y="189308"/>
                  <a:pt x="277127" y="173859"/>
                  <a:pt x="277127" y="154728"/>
                </a:cubicBezTo>
                <a:cubicBezTo>
                  <a:pt x="277127" y="135677"/>
                  <a:pt x="261576" y="120148"/>
                  <a:pt x="242498" y="120148"/>
                </a:cubicBezTo>
                <a:close/>
                <a:moveTo>
                  <a:pt x="0" y="114316"/>
                </a:moveTo>
                <a:lnTo>
                  <a:pt x="137387" y="114316"/>
                </a:lnTo>
                <a:lnTo>
                  <a:pt x="137387" y="304475"/>
                </a:lnTo>
                <a:lnTo>
                  <a:pt x="137387" y="320001"/>
                </a:lnTo>
                <a:lnTo>
                  <a:pt x="152697" y="320001"/>
                </a:lnTo>
                <a:lnTo>
                  <a:pt x="438211" y="320001"/>
                </a:lnTo>
                <a:lnTo>
                  <a:pt x="438211" y="408198"/>
                </a:lnTo>
                <a:lnTo>
                  <a:pt x="123119" y="408198"/>
                </a:lnTo>
                <a:lnTo>
                  <a:pt x="45769" y="490712"/>
                </a:lnTo>
                <a:lnTo>
                  <a:pt x="45769" y="408198"/>
                </a:lnTo>
                <a:lnTo>
                  <a:pt x="0" y="408198"/>
                </a:lnTo>
                <a:close/>
                <a:moveTo>
                  <a:pt x="153762" y="0"/>
                </a:moveTo>
                <a:lnTo>
                  <a:pt x="608344" y="0"/>
                </a:lnTo>
                <a:lnTo>
                  <a:pt x="608344" y="303693"/>
                </a:lnTo>
                <a:lnTo>
                  <a:pt x="559287" y="303693"/>
                </a:lnTo>
                <a:lnTo>
                  <a:pt x="559287" y="390862"/>
                </a:lnTo>
                <a:lnTo>
                  <a:pt x="480330" y="303693"/>
                </a:lnTo>
                <a:lnTo>
                  <a:pt x="438246" y="303693"/>
                </a:lnTo>
                <a:lnTo>
                  <a:pt x="153762" y="303693"/>
                </a:lnTo>
                <a:lnTo>
                  <a:pt x="153762" y="11430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5085C254-2F2B-4233-B224-D37F11138C80}"/>
              </a:ext>
            </a:extLst>
          </p:cNvPr>
          <p:cNvSpPr/>
          <p:nvPr/>
        </p:nvSpPr>
        <p:spPr bwMode="auto">
          <a:xfrm>
            <a:off x="8678996" y="2359309"/>
            <a:ext cx="383908" cy="383374"/>
          </a:xfrm>
          <a:custGeom>
            <a:avLst/>
            <a:gdLst>
              <a:gd name="connsiteX0" fmla="*/ 366373 w 606933"/>
              <a:gd name="connsiteY0" fmla="*/ 246979 h 606087"/>
              <a:gd name="connsiteX1" fmla="*/ 422546 w 606933"/>
              <a:gd name="connsiteY1" fmla="*/ 303021 h 606087"/>
              <a:gd name="connsiteX2" fmla="*/ 366373 w 606933"/>
              <a:gd name="connsiteY2" fmla="*/ 358966 h 606087"/>
              <a:gd name="connsiteX3" fmla="*/ 348452 w 606933"/>
              <a:gd name="connsiteY3" fmla="*/ 341183 h 606087"/>
              <a:gd name="connsiteX4" fmla="*/ 386703 w 606933"/>
              <a:gd name="connsiteY4" fmla="*/ 303021 h 606087"/>
              <a:gd name="connsiteX5" fmla="*/ 348452 w 606933"/>
              <a:gd name="connsiteY5" fmla="*/ 264763 h 606087"/>
              <a:gd name="connsiteX6" fmla="*/ 240597 w 606933"/>
              <a:gd name="connsiteY6" fmla="*/ 246979 h 606087"/>
              <a:gd name="connsiteX7" fmla="*/ 258411 w 606933"/>
              <a:gd name="connsiteY7" fmla="*/ 264763 h 606087"/>
              <a:gd name="connsiteX8" fmla="*/ 220183 w 606933"/>
              <a:gd name="connsiteY8" fmla="*/ 303021 h 606087"/>
              <a:gd name="connsiteX9" fmla="*/ 258411 w 606933"/>
              <a:gd name="connsiteY9" fmla="*/ 341183 h 606087"/>
              <a:gd name="connsiteX10" fmla="*/ 240597 w 606933"/>
              <a:gd name="connsiteY10" fmla="*/ 358966 h 606087"/>
              <a:gd name="connsiteX11" fmla="*/ 184458 w 606933"/>
              <a:gd name="connsiteY11" fmla="*/ 303021 h 606087"/>
              <a:gd name="connsiteX12" fmla="*/ 318612 w 606933"/>
              <a:gd name="connsiteY12" fmla="*/ 231314 h 606087"/>
              <a:gd name="connsiteX13" fmla="*/ 342313 w 606933"/>
              <a:gd name="connsiteY13" fmla="*/ 239968 h 606087"/>
              <a:gd name="connsiteX14" fmla="*/ 287686 w 606933"/>
              <a:gd name="connsiteY14" fmla="*/ 389875 h 606087"/>
              <a:gd name="connsiteX15" fmla="*/ 263985 w 606933"/>
              <a:gd name="connsiteY15" fmla="*/ 381317 h 606087"/>
              <a:gd name="connsiteX16" fmla="*/ 303467 w 606933"/>
              <a:gd name="connsiteY16" fmla="*/ 138875 h 606087"/>
              <a:gd name="connsiteX17" fmla="*/ 139069 w 606933"/>
              <a:gd name="connsiteY17" fmla="*/ 303044 h 606087"/>
              <a:gd name="connsiteX18" fmla="*/ 303467 w 606933"/>
              <a:gd name="connsiteY18" fmla="*/ 467116 h 606087"/>
              <a:gd name="connsiteX19" fmla="*/ 467768 w 606933"/>
              <a:gd name="connsiteY19" fmla="*/ 303044 h 606087"/>
              <a:gd name="connsiteX20" fmla="*/ 303467 w 606933"/>
              <a:gd name="connsiteY20" fmla="*/ 138875 h 606087"/>
              <a:gd name="connsiteX21" fmla="*/ 254735 w 606933"/>
              <a:gd name="connsiteY21" fmla="*/ 0 h 606087"/>
              <a:gd name="connsiteX22" fmla="*/ 352102 w 606933"/>
              <a:gd name="connsiteY22" fmla="*/ 0 h 606087"/>
              <a:gd name="connsiteX23" fmla="*/ 363852 w 606933"/>
              <a:gd name="connsiteY23" fmla="*/ 70976 h 606087"/>
              <a:gd name="connsiteX24" fmla="*/ 424911 w 606933"/>
              <a:gd name="connsiteY24" fmla="*/ 96174 h 606087"/>
              <a:gd name="connsiteX25" fmla="*/ 483659 w 606933"/>
              <a:gd name="connsiteY25" fmla="*/ 54435 h 606087"/>
              <a:gd name="connsiteX26" fmla="*/ 552423 w 606933"/>
              <a:gd name="connsiteY26" fmla="*/ 123103 h 606087"/>
              <a:gd name="connsiteX27" fmla="*/ 510529 w 606933"/>
              <a:gd name="connsiteY27" fmla="*/ 181672 h 606087"/>
              <a:gd name="connsiteX28" fmla="*/ 535858 w 606933"/>
              <a:gd name="connsiteY28" fmla="*/ 242550 h 606087"/>
              <a:gd name="connsiteX29" fmla="*/ 606933 w 606933"/>
              <a:gd name="connsiteY29" fmla="*/ 254380 h 606087"/>
              <a:gd name="connsiteX30" fmla="*/ 606933 w 606933"/>
              <a:gd name="connsiteY30" fmla="*/ 351515 h 606087"/>
              <a:gd name="connsiteX31" fmla="*/ 535858 w 606933"/>
              <a:gd name="connsiteY31" fmla="*/ 363345 h 606087"/>
              <a:gd name="connsiteX32" fmla="*/ 510529 w 606933"/>
              <a:gd name="connsiteY32" fmla="*/ 424319 h 606087"/>
              <a:gd name="connsiteX33" fmla="*/ 552423 w 606933"/>
              <a:gd name="connsiteY33" fmla="*/ 482985 h 606087"/>
              <a:gd name="connsiteX34" fmla="*/ 483659 w 606933"/>
              <a:gd name="connsiteY34" fmla="*/ 551653 h 606087"/>
              <a:gd name="connsiteX35" fmla="*/ 424911 w 606933"/>
              <a:gd name="connsiteY35" fmla="*/ 509721 h 606087"/>
              <a:gd name="connsiteX36" fmla="*/ 363852 w 606933"/>
              <a:gd name="connsiteY36" fmla="*/ 535111 h 606087"/>
              <a:gd name="connsiteX37" fmla="*/ 352102 w 606933"/>
              <a:gd name="connsiteY37" fmla="*/ 606087 h 606087"/>
              <a:gd name="connsiteX38" fmla="*/ 254735 w 606933"/>
              <a:gd name="connsiteY38" fmla="*/ 606087 h 606087"/>
              <a:gd name="connsiteX39" fmla="*/ 242985 w 606933"/>
              <a:gd name="connsiteY39" fmla="*/ 535111 h 606087"/>
              <a:gd name="connsiteX40" fmla="*/ 181926 w 606933"/>
              <a:gd name="connsiteY40" fmla="*/ 509721 h 606087"/>
              <a:gd name="connsiteX41" fmla="*/ 123274 w 606933"/>
              <a:gd name="connsiteY41" fmla="*/ 551653 h 606087"/>
              <a:gd name="connsiteX42" fmla="*/ 54510 w 606933"/>
              <a:gd name="connsiteY42" fmla="*/ 482985 h 606087"/>
              <a:gd name="connsiteX43" fmla="*/ 96308 w 606933"/>
              <a:gd name="connsiteY43" fmla="*/ 424319 h 606087"/>
              <a:gd name="connsiteX44" fmla="*/ 71075 w 606933"/>
              <a:gd name="connsiteY44" fmla="*/ 363345 h 606087"/>
              <a:gd name="connsiteX45" fmla="*/ 0 w 606933"/>
              <a:gd name="connsiteY45" fmla="*/ 351515 h 606087"/>
              <a:gd name="connsiteX46" fmla="*/ 0 w 606933"/>
              <a:gd name="connsiteY46" fmla="*/ 254380 h 606087"/>
              <a:gd name="connsiteX47" fmla="*/ 71075 w 606933"/>
              <a:gd name="connsiteY47" fmla="*/ 242550 h 606087"/>
              <a:gd name="connsiteX48" fmla="*/ 96308 w 606933"/>
              <a:gd name="connsiteY48" fmla="*/ 181672 h 606087"/>
              <a:gd name="connsiteX49" fmla="*/ 54510 w 606933"/>
              <a:gd name="connsiteY49" fmla="*/ 123103 h 606087"/>
              <a:gd name="connsiteX50" fmla="*/ 123274 w 606933"/>
              <a:gd name="connsiteY50" fmla="*/ 54435 h 606087"/>
              <a:gd name="connsiteX51" fmla="*/ 181926 w 606933"/>
              <a:gd name="connsiteY51" fmla="*/ 96174 h 606087"/>
              <a:gd name="connsiteX52" fmla="*/ 242985 w 606933"/>
              <a:gd name="connsiteY52" fmla="*/ 70976 h 6060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06933" h="606087">
                <a:moveTo>
                  <a:pt x="366373" y="246979"/>
                </a:moveTo>
                <a:lnTo>
                  <a:pt x="422546" y="303021"/>
                </a:lnTo>
                <a:lnTo>
                  <a:pt x="366373" y="358966"/>
                </a:lnTo>
                <a:lnTo>
                  <a:pt x="348452" y="341183"/>
                </a:lnTo>
                <a:lnTo>
                  <a:pt x="386703" y="303021"/>
                </a:lnTo>
                <a:lnTo>
                  <a:pt x="348452" y="264763"/>
                </a:lnTo>
                <a:close/>
                <a:moveTo>
                  <a:pt x="240597" y="246979"/>
                </a:moveTo>
                <a:lnTo>
                  <a:pt x="258411" y="264763"/>
                </a:lnTo>
                <a:lnTo>
                  <a:pt x="220183" y="303021"/>
                </a:lnTo>
                <a:lnTo>
                  <a:pt x="258411" y="341183"/>
                </a:lnTo>
                <a:lnTo>
                  <a:pt x="240597" y="358966"/>
                </a:lnTo>
                <a:lnTo>
                  <a:pt x="184458" y="303021"/>
                </a:lnTo>
                <a:close/>
                <a:moveTo>
                  <a:pt x="318612" y="231314"/>
                </a:moveTo>
                <a:lnTo>
                  <a:pt x="342313" y="239968"/>
                </a:lnTo>
                <a:lnTo>
                  <a:pt x="287686" y="389875"/>
                </a:lnTo>
                <a:lnTo>
                  <a:pt x="263985" y="381317"/>
                </a:lnTo>
                <a:close/>
                <a:moveTo>
                  <a:pt x="303467" y="138875"/>
                </a:moveTo>
                <a:cubicBezTo>
                  <a:pt x="212841" y="138875"/>
                  <a:pt x="139069" y="212544"/>
                  <a:pt x="139069" y="303044"/>
                </a:cubicBezTo>
                <a:cubicBezTo>
                  <a:pt x="139069" y="393543"/>
                  <a:pt x="212841" y="467116"/>
                  <a:pt x="303467" y="467116"/>
                </a:cubicBezTo>
                <a:cubicBezTo>
                  <a:pt x="394092" y="467116"/>
                  <a:pt x="467768" y="393543"/>
                  <a:pt x="467768" y="303044"/>
                </a:cubicBezTo>
                <a:cubicBezTo>
                  <a:pt x="467768" y="212544"/>
                  <a:pt x="394092" y="138875"/>
                  <a:pt x="303467" y="138875"/>
                </a:cubicBezTo>
                <a:close/>
                <a:moveTo>
                  <a:pt x="254735" y="0"/>
                </a:moveTo>
                <a:lnTo>
                  <a:pt x="352102" y="0"/>
                </a:lnTo>
                <a:lnTo>
                  <a:pt x="363852" y="70976"/>
                </a:lnTo>
                <a:cubicBezTo>
                  <a:pt x="385232" y="76555"/>
                  <a:pt x="405746" y="85018"/>
                  <a:pt x="424911" y="96174"/>
                </a:cubicBezTo>
                <a:lnTo>
                  <a:pt x="483659" y="54435"/>
                </a:lnTo>
                <a:lnTo>
                  <a:pt x="552423" y="123103"/>
                </a:lnTo>
                <a:lnTo>
                  <a:pt x="510529" y="181672"/>
                </a:lnTo>
                <a:cubicBezTo>
                  <a:pt x="521797" y="200907"/>
                  <a:pt x="530272" y="221200"/>
                  <a:pt x="535858" y="242550"/>
                </a:cubicBezTo>
                <a:lnTo>
                  <a:pt x="606933" y="254380"/>
                </a:lnTo>
                <a:lnTo>
                  <a:pt x="606933" y="351515"/>
                </a:lnTo>
                <a:lnTo>
                  <a:pt x="535858" y="363345"/>
                </a:lnTo>
                <a:cubicBezTo>
                  <a:pt x="530272" y="384695"/>
                  <a:pt x="521797" y="405180"/>
                  <a:pt x="510529" y="424319"/>
                </a:cubicBezTo>
                <a:lnTo>
                  <a:pt x="552423" y="482985"/>
                </a:lnTo>
                <a:lnTo>
                  <a:pt x="483659" y="551653"/>
                </a:lnTo>
                <a:lnTo>
                  <a:pt x="424911" y="509721"/>
                </a:lnTo>
                <a:cubicBezTo>
                  <a:pt x="405746" y="521070"/>
                  <a:pt x="385232" y="529533"/>
                  <a:pt x="363852" y="535111"/>
                </a:cubicBezTo>
                <a:lnTo>
                  <a:pt x="352102" y="606087"/>
                </a:lnTo>
                <a:lnTo>
                  <a:pt x="254735" y="606087"/>
                </a:lnTo>
                <a:lnTo>
                  <a:pt x="242985" y="535111"/>
                </a:lnTo>
                <a:cubicBezTo>
                  <a:pt x="221605" y="529533"/>
                  <a:pt x="201187" y="521070"/>
                  <a:pt x="181926" y="509721"/>
                </a:cubicBezTo>
                <a:lnTo>
                  <a:pt x="123274" y="551653"/>
                </a:lnTo>
                <a:lnTo>
                  <a:pt x="54510" y="482985"/>
                </a:lnTo>
                <a:lnTo>
                  <a:pt x="96308" y="424319"/>
                </a:lnTo>
                <a:cubicBezTo>
                  <a:pt x="85136" y="405180"/>
                  <a:pt x="76661" y="384695"/>
                  <a:pt x="71075" y="363345"/>
                </a:cubicBezTo>
                <a:lnTo>
                  <a:pt x="0" y="351515"/>
                </a:lnTo>
                <a:lnTo>
                  <a:pt x="0" y="254380"/>
                </a:lnTo>
                <a:lnTo>
                  <a:pt x="71075" y="242550"/>
                </a:lnTo>
                <a:cubicBezTo>
                  <a:pt x="76661" y="221200"/>
                  <a:pt x="85136" y="200907"/>
                  <a:pt x="96308" y="181672"/>
                </a:cubicBezTo>
                <a:lnTo>
                  <a:pt x="54510" y="123103"/>
                </a:lnTo>
                <a:lnTo>
                  <a:pt x="123274" y="54435"/>
                </a:lnTo>
                <a:lnTo>
                  <a:pt x="181926" y="96174"/>
                </a:lnTo>
                <a:cubicBezTo>
                  <a:pt x="201187" y="85018"/>
                  <a:pt x="221605" y="76555"/>
                  <a:pt x="242985" y="7097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837656" y="4052919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837656" y="4480811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837656" y="4908703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837656" y="5336595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837656" y="5764485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0" name="矩形 39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7323931" y="4052919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1" name="矩形 40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7323931" y="4480811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2" name="矩形 41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7323931" y="4908703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7323931" y="5336595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7323931" y="5764485"/>
            <a:ext cx="4025650" cy="382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ctr">
              <a:lnSpc>
                <a:spcPct val="13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</p:spTree>
    <p:extLst>
      <p:ext uri="{BB962C8B-B14F-4D97-AF65-F5344CB8AC3E}">
        <p14:creationId xmlns:p14="http://schemas.microsoft.com/office/powerpoint/2010/main" val="31558692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69925" y="4796781"/>
            <a:ext cx="1168139" cy="101565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00887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5A56F34-943B-4203-B6C6-2FF6C3A5B7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63A2D2-E6C5-4CE4-A15B-9264951B8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 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3FFCBCB-07DC-4797-82F6-3E2F323BDE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0" name="组合 59"/>
          <p:cNvGrpSpPr/>
          <p:nvPr/>
        </p:nvGrpSpPr>
        <p:grpSpPr>
          <a:xfrm>
            <a:off x="7525121" y="2551746"/>
            <a:ext cx="2260086" cy="1469057"/>
            <a:chOff x="7525121" y="3563955"/>
            <a:chExt cx="2260086" cy="1469057"/>
          </a:xfrm>
        </p:grpSpPr>
        <p:sp>
          <p:nvSpPr>
            <p:cNvPr id="67" name="任意多边形: 形状 66"/>
            <p:cNvSpPr/>
            <p:nvPr/>
          </p:nvSpPr>
          <p:spPr>
            <a:xfrm rot="2400000">
              <a:off x="7525121" y="3563955"/>
              <a:ext cx="2260086" cy="1469057"/>
            </a:xfrm>
            <a:custGeom>
              <a:avLst/>
              <a:gdLst>
                <a:gd name="connsiteX0" fmla="*/ 269583 w 2488406"/>
                <a:gd name="connsiteY0" fmla="*/ 0 h 1617464"/>
                <a:gd name="connsiteX1" fmla="*/ 2218823 w 2488406"/>
                <a:gd name="connsiteY1" fmla="*/ 0 h 1617464"/>
                <a:gd name="connsiteX2" fmla="*/ 2488406 w 2488406"/>
                <a:gd name="connsiteY2" fmla="*/ 269583 h 1617464"/>
                <a:gd name="connsiteX3" fmla="*/ 2488406 w 2488406"/>
                <a:gd name="connsiteY3" fmla="*/ 1617464 h 1617464"/>
                <a:gd name="connsiteX4" fmla="*/ 2488406 w 2488406"/>
                <a:gd name="connsiteY4" fmla="*/ 1617464 h 1617464"/>
                <a:gd name="connsiteX5" fmla="*/ 0 w 2488406"/>
                <a:gd name="connsiteY5" fmla="*/ 1617464 h 1617464"/>
                <a:gd name="connsiteX6" fmla="*/ 0 w 2488406"/>
                <a:gd name="connsiteY6" fmla="*/ 1617464 h 1617464"/>
                <a:gd name="connsiteX7" fmla="*/ 0 w 2488406"/>
                <a:gd name="connsiteY7" fmla="*/ 269583 h 1617464"/>
                <a:gd name="connsiteX8" fmla="*/ 269583 w 2488406"/>
                <a:gd name="connsiteY8" fmla="*/ 0 h 161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8406" h="1617464">
                  <a:moveTo>
                    <a:pt x="269583" y="0"/>
                  </a:moveTo>
                  <a:lnTo>
                    <a:pt x="2218823" y="0"/>
                  </a:lnTo>
                  <a:cubicBezTo>
                    <a:pt x="2367710" y="0"/>
                    <a:pt x="2488406" y="120696"/>
                    <a:pt x="2488406" y="269583"/>
                  </a:cubicBezTo>
                  <a:lnTo>
                    <a:pt x="2488406" y="1617464"/>
                  </a:lnTo>
                  <a:lnTo>
                    <a:pt x="2488406" y="1617464"/>
                  </a:lnTo>
                  <a:lnTo>
                    <a:pt x="0" y="1617464"/>
                  </a:lnTo>
                  <a:lnTo>
                    <a:pt x="0" y="1617464"/>
                  </a:lnTo>
                  <a:lnTo>
                    <a:pt x="0" y="269583"/>
                  </a:lnTo>
                  <a:cubicBezTo>
                    <a:pt x="0" y="120696"/>
                    <a:pt x="120696" y="0"/>
                    <a:pt x="26958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5689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68" name="任意多边形: 形状 67"/>
            <p:cNvSpPr/>
            <p:nvPr/>
          </p:nvSpPr>
          <p:spPr bwMode="auto">
            <a:xfrm>
              <a:off x="8292136" y="4004646"/>
              <a:ext cx="726056" cy="587674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61" name="组合 60"/>
          <p:cNvGrpSpPr/>
          <p:nvPr/>
        </p:nvGrpSpPr>
        <p:grpSpPr>
          <a:xfrm>
            <a:off x="2406793" y="2551746"/>
            <a:ext cx="2260086" cy="1469057"/>
            <a:chOff x="2406793" y="3563955"/>
            <a:chExt cx="2260086" cy="1469057"/>
          </a:xfrm>
        </p:grpSpPr>
        <p:sp>
          <p:nvSpPr>
            <p:cNvPr id="65" name="任意多边形: 形状 64"/>
            <p:cNvSpPr/>
            <p:nvPr/>
          </p:nvSpPr>
          <p:spPr>
            <a:xfrm rot="19200000">
              <a:off x="2406793" y="3563955"/>
              <a:ext cx="2260086" cy="1469057"/>
            </a:xfrm>
            <a:custGeom>
              <a:avLst/>
              <a:gdLst>
                <a:gd name="connsiteX0" fmla="*/ 269583 w 2488406"/>
                <a:gd name="connsiteY0" fmla="*/ 0 h 1617464"/>
                <a:gd name="connsiteX1" fmla="*/ 2218823 w 2488406"/>
                <a:gd name="connsiteY1" fmla="*/ 0 h 1617464"/>
                <a:gd name="connsiteX2" fmla="*/ 2488406 w 2488406"/>
                <a:gd name="connsiteY2" fmla="*/ 269583 h 1617464"/>
                <a:gd name="connsiteX3" fmla="*/ 2488406 w 2488406"/>
                <a:gd name="connsiteY3" fmla="*/ 1617464 h 1617464"/>
                <a:gd name="connsiteX4" fmla="*/ 2488406 w 2488406"/>
                <a:gd name="connsiteY4" fmla="*/ 1617464 h 1617464"/>
                <a:gd name="connsiteX5" fmla="*/ 0 w 2488406"/>
                <a:gd name="connsiteY5" fmla="*/ 1617464 h 1617464"/>
                <a:gd name="connsiteX6" fmla="*/ 0 w 2488406"/>
                <a:gd name="connsiteY6" fmla="*/ 1617464 h 1617464"/>
                <a:gd name="connsiteX7" fmla="*/ 0 w 2488406"/>
                <a:gd name="connsiteY7" fmla="*/ 269583 h 1617464"/>
                <a:gd name="connsiteX8" fmla="*/ 269583 w 2488406"/>
                <a:gd name="connsiteY8" fmla="*/ 0 h 161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8406" h="1617464">
                  <a:moveTo>
                    <a:pt x="269583" y="0"/>
                  </a:moveTo>
                  <a:lnTo>
                    <a:pt x="2218823" y="0"/>
                  </a:lnTo>
                  <a:cubicBezTo>
                    <a:pt x="2367710" y="0"/>
                    <a:pt x="2488406" y="120696"/>
                    <a:pt x="2488406" y="269583"/>
                  </a:cubicBezTo>
                  <a:lnTo>
                    <a:pt x="2488406" y="1617464"/>
                  </a:lnTo>
                  <a:lnTo>
                    <a:pt x="2488406" y="1617464"/>
                  </a:lnTo>
                  <a:lnTo>
                    <a:pt x="0" y="1617464"/>
                  </a:lnTo>
                  <a:lnTo>
                    <a:pt x="0" y="1617464"/>
                  </a:lnTo>
                  <a:lnTo>
                    <a:pt x="0" y="269583"/>
                  </a:lnTo>
                  <a:cubicBezTo>
                    <a:pt x="0" y="120696"/>
                    <a:pt x="120696" y="0"/>
                    <a:pt x="269583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5689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600" kern="12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B60E742B-4FB7-4398-A984-8E41FBAA678A}"/>
                </a:ext>
              </a:extLst>
            </p:cNvPr>
            <p:cNvSpPr/>
            <p:nvPr/>
          </p:nvSpPr>
          <p:spPr bwMode="auto">
            <a:xfrm>
              <a:off x="3203092" y="3977414"/>
              <a:ext cx="667488" cy="642138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4965957" y="1620287"/>
            <a:ext cx="2260086" cy="1469057"/>
            <a:chOff x="4965955" y="2632496"/>
            <a:chExt cx="2260086" cy="1469057"/>
          </a:xfrm>
        </p:grpSpPr>
        <p:sp>
          <p:nvSpPr>
            <p:cNvPr id="63" name="任意多边形: 形状 62"/>
            <p:cNvSpPr/>
            <p:nvPr/>
          </p:nvSpPr>
          <p:spPr>
            <a:xfrm>
              <a:off x="4965955" y="2632496"/>
              <a:ext cx="2260086" cy="1469057"/>
            </a:xfrm>
            <a:custGeom>
              <a:avLst/>
              <a:gdLst>
                <a:gd name="connsiteX0" fmla="*/ 269583 w 2488406"/>
                <a:gd name="connsiteY0" fmla="*/ 0 h 1617464"/>
                <a:gd name="connsiteX1" fmla="*/ 2218823 w 2488406"/>
                <a:gd name="connsiteY1" fmla="*/ 0 h 1617464"/>
                <a:gd name="connsiteX2" fmla="*/ 2488406 w 2488406"/>
                <a:gd name="connsiteY2" fmla="*/ 269583 h 1617464"/>
                <a:gd name="connsiteX3" fmla="*/ 2488406 w 2488406"/>
                <a:gd name="connsiteY3" fmla="*/ 1617464 h 1617464"/>
                <a:gd name="connsiteX4" fmla="*/ 2488406 w 2488406"/>
                <a:gd name="connsiteY4" fmla="*/ 1617464 h 1617464"/>
                <a:gd name="connsiteX5" fmla="*/ 0 w 2488406"/>
                <a:gd name="connsiteY5" fmla="*/ 1617464 h 1617464"/>
                <a:gd name="connsiteX6" fmla="*/ 0 w 2488406"/>
                <a:gd name="connsiteY6" fmla="*/ 1617464 h 1617464"/>
                <a:gd name="connsiteX7" fmla="*/ 0 w 2488406"/>
                <a:gd name="connsiteY7" fmla="*/ 269583 h 1617464"/>
                <a:gd name="connsiteX8" fmla="*/ 269583 w 2488406"/>
                <a:gd name="connsiteY8" fmla="*/ 0 h 1617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88406" h="1617464">
                  <a:moveTo>
                    <a:pt x="269583" y="0"/>
                  </a:moveTo>
                  <a:lnTo>
                    <a:pt x="2218823" y="0"/>
                  </a:lnTo>
                  <a:cubicBezTo>
                    <a:pt x="2367710" y="0"/>
                    <a:pt x="2488406" y="120696"/>
                    <a:pt x="2488406" y="269583"/>
                  </a:cubicBezTo>
                  <a:lnTo>
                    <a:pt x="2488406" y="1617464"/>
                  </a:lnTo>
                  <a:lnTo>
                    <a:pt x="2488406" y="1617464"/>
                  </a:lnTo>
                  <a:lnTo>
                    <a:pt x="0" y="1617464"/>
                  </a:lnTo>
                  <a:lnTo>
                    <a:pt x="0" y="1617464"/>
                  </a:lnTo>
                  <a:lnTo>
                    <a:pt x="0" y="269583"/>
                  </a:lnTo>
                  <a:cubicBezTo>
                    <a:pt x="0" y="120696"/>
                    <a:pt x="120696" y="0"/>
                    <a:pt x="269583" y="0"/>
                  </a:cubicBezTo>
                  <a:close/>
                </a:path>
              </a:pathLst>
            </a:custGeom>
            <a:solidFill>
              <a:schemeClr val="accent1"/>
            </a:solidFill>
            <a:effectLst/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45720" rIns="91440" bIns="45720" numCol="1" spcCol="1270" anchor="ctr" anchorCtr="0">
              <a:normAutofit/>
            </a:bodyPr>
            <a:lstStyle/>
            <a:p>
              <a:pPr algn="ctr" defTabSz="5689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5600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E9618119-BAC2-4831-BAB0-8C1312086154}"/>
                </a:ext>
              </a:extLst>
            </p:cNvPr>
            <p:cNvSpPr/>
            <p:nvPr/>
          </p:nvSpPr>
          <p:spPr bwMode="auto">
            <a:xfrm>
              <a:off x="5776530" y="3059783"/>
              <a:ext cx="638936" cy="614482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58" name="矩形 57">
            <a:extLst>
              <a:ext uri="{FF2B5EF4-FFF2-40B4-BE49-F238E27FC236}">
                <a16:creationId xmlns:a16="http://schemas.microsoft.com/office/drawing/2014/main" id="{274C8126-0B28-4EC3-BAA3-1705E31D580D}"/>
              </a:ext>
            </a:extLst>
          </p:cNvPr>
          <p:cNvSpPr/>
          <p:nvPr/>
        </p:nvSpPr>
        <p:spPr bwMode="auto">
          <a:xfrm>
            <a:off x="673100" y="5063107"/>
            <a:ext cx="3228944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09F64796-9D79-456A-A923-D04BE7BFC66A}"/>
              </a:ext>
            </a:extLst>
          </p:cNvPr>
          <p:cNvSpPr txBox="1"/>
          <p:nvPr/>
        </p:nvSpPr>
        <p:spPr bwMode="auto">
          <a:xfrm>
            <a:off x="673100" y="4675509"/>
            <a:ext cx="322894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4956132A-D8F0-4198-A5EB-1F74DCCC7BD1}"/>
              </a:ext>
            </a:extLst>
          </p:cNvPr>
          <p:cNvSpPr/>
          <p:nvPr/>
        </p:nvSpPr>
        <p:spPr bwMode="auto">
          <a:xfrm>
            <a:off x="8289956" y="5063107"/>
            <a:ext cx="3228944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marL="171450" indent="-171450" algn="r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25BA84A4-D31D-4E5B-82C1-E3E8073F6871}"/>
              </a:ext>
            </a:extLst>
          </p:cNvPr>
          <p:cNvSpPr txBox="1"/>
          <p:nvPr/>
        </p:nvSpPr>
        <p:spPr bwMode="auto">
          <a:xfrm>
            <a:off x="8289956" y="4675509"/>
            <a:ext cx="322894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274C8126-0B28-4EC3-BAA3-1705E31D580D}"/>
              </a:ext>
            </a:extLst>
          </p:cNvPr>
          <p:cNvSpPr/>
          <p:nvPr/>
        </p:nvSpPr>
        <p:spPr bwMode="auto">
          <a:xfrm>
            <a:off x="4175602" y="4208097"/>
            <a:ext cx="3840798" cy="661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09F64796-9D79-456A-A923-D04BE7BFC66A}"/>
              </a:ext>
            </a:extLst>
          </p:cNvPr>
          <p:cNvSpPr txBox="1"/>
          <p:nvPr/>
        </p:nvSpPr>
        <p:spPr bwMode="auto">
          <a:xfrm>
            <a:off x="4175602" y="3820498"/>
            <a:ext cx="3840798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52" name="直接连接符 51"/>
          <p:cNvCxnSpPr/>
          <p:nvPr/>
        </p:nvCxnSpPr>
        <p:spPr>
          <a:xfrm>
            <a:off x="4038823" y="3803625"/>
            <a:ext cx="0" cy="234000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直接连接符 52"/>
          <p:cNvCxnSpPr/>
          <p:nvPr/>
        </p:nvCxnSpPr>
        <p:spPr>
          <a:xfrm>
            <a:off x="8153178" y="3803625"/>
            <a:ext cx="0" cy="234000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26662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E415767F-20A9-4934-B7E3-4F0D83FA5B09}"/>
              </a:ext>
            </a:extLst>
          </p:cNvPr>
          <p:cNvCxnSpPr/>
          <p:nvPr/>
        </p:nvCxnSpPr>
        <p:spPr>
          <a:xfrm flipH="1">
            <a:off x="669925" y="2880851"/>
            <a:ext cx="611166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1C83192-9E1E-46D4-A18B-29554A80D6B9}"/>
              </a:ext>
            </a:extLst>
          </p:cNvPr>
          <p:cNvCxnSpPr/>
          <p:nvPr/>
        </p:nvCxnSpPr>
        <p:spPr>
          <a:xfrm>
            <a:off x="6322041" y="3541653"/>
            <a:ext cx="519844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93DFE59B-703F-4C03-825D-918ADBAFDAB0}"/>
              </a:ext>
            </a:extLst>
          </p:cNvPr>
          <p:cNvCxnSpPr/>
          <p:nvPr/>
        </p:nvCxnSpPr>
        <p:spPr>
          <a:xfrm flipH="1">
            <a:off x="669925" y="3981450"/>
            <a:ext cx="502411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5512B3F1-D401-4BDE-B480-97335F31CC56}"/>
              </a:ext>
            </a:extLst>
          </p:cNvPr>
          <p:cNvCxnSpPr/>
          <p:nvPr/>
        </p:nvCxnSpPr>
        <p:spPr>
          <a:xfrm>
            <a:off x="5007574" y="4667250"/>
            <a:ext cx="6512914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C91139D7-D773-49E1-8B36-B389A659A198}"/>
              </a:ext>
            </a:extLst>
          </p:cNvPr>
          <p:cNvSpPr/>
          <p:nvPr/>
        </p:nvSpPr>
        <p:spPr bwMode="auto">
          <a:xfrm rot="8100000">
            <a:off x="4472316" y="4680272"/>
            <a:ext cx="567900" cy="720543"/>
          </a:xfrm>
          <a:custGeom>
            <a:avLst/>
            <a:gdLst>
              <a:gd name="T0" fmla="*/ 549186 w 21600"/>
              <a:gd name="T1" fmla="*/ 696611 h 21600"/>
              <a:gd name="T2" fmla="*/ 549186 w 21600"/>
              <a:gd name="T3" fmla="*/ 696611 h 21600"/>
              <a:gd name="T4" fmla="*/ 549186 w 21600"/>
              <a:gd name="T5" fmla="*/ 696611 h 21600"/>
              <a:gd name="T6" fmla="*/ 549186 w 21600"/>
              <a:gd name="T7" fmla="*/ 69661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EBBF653B-E946-457A-9747-8CF2D88CA0AF}"/>
              </a:ext>
            </a:extLst>
          </p:cNvPr>
          <p:cNvSpPr/>
          <p:nvPr/>
        </p:nvSpPr>
        <p:spPr bwMode="auto">
          <a:xfrm rot="2700000">
            <a:off x="4193700" y="5142717"/>
            <a:ext cx="720543" cy="194498"/>
          </a:xfrm>
          <a:custGeom>
            <a:avLst/>
            <a:gdLst>
              <a:gd name="T0" fmla="*/ 696576 w 19679"/>
              <a:gd name="T1" fmla="*/ 206449 h 19679"/>
              <a:gd name="T2" fmla="*/ 696576 w 19679"/>
              <a:gd name="T3" fmla="*/ 206449 h 19679"/>
              <a:gd name="T4" fmla="*/ 696576 w 19679"/>
              <a:gd name="T5" fmla="*/ 206449 h 19679"/>
              <a:gd name="T6" fmla="*/ 696576 w 19679"/>
              <a:gd name="T7" fmla="*/ 206449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50380B9A-D5B9-49C0-9058-02112A36633B}"/>
              </a:ext>
            </a:extLst>
          </p:cNvPr>
          <p:cNvSpPr/>
          <p:nvPr/>
        </p:nvSpPr>
        <p:spPr bwMode="auto">
          <a:xfrm rot="2700000">
            <a:off x="3717305" y="4021279"/>
            <a:ext cx="3122628" cy="1128413"/>
          </a:xfrm>
          <a:custGeom>
            <a:avLst/>
            <a:gdLst>
              <a:gd name="T0" fmla="*/ 3020616 w 21600"/>
              <a:gd name="T1" fmla="*/ 1091249 h 20839"/>
              <a:gd name="T2" fmla="*/ 3020616 w 21600"/>
              <a:gd name="T3" fmla="*/ 1091249 h 20839"/>
              <a:gd name="T4" fmla="*/ 3020616 w 21600"/>
              <a:gd name="T5" fmla="*/ 1091249 h 20839"/>
              <a:gd name="T6" fmla="*/ 3020616 w 21600"/>
              <a:gd name="T7" fmla="*/ 1091249 h 2083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0839">
                <a:moveTo>
                  <a:pt x="0" y="0"/>
                </a:moveTo>
                <a:lnTo>
                  <a:pt x="0" y="13047"/>
                </a:lnTo>
                <a:cubicBezTo>
                  <a:pt x="0" y="15041"/>
                  <a:pt x="1054" y="17035"/>
                  <a:pt x="3162" y="18556"/>
                </a:cubicBezTo>
                <a:cubicBezTo>
                  <a:pt x="7380" y="21600"/>
                  <a:pt x="14219" y="21599"/>
                  <a:pt x="18437" y="18556"/>
                </a:cubicBezTo>
                <a:cubicBezTo>
                  <a:pt x="20545" y="17035"/>
                  <a:pt x="21600" y="15041"/>
                  <a:pt x="21600" y="13047"/>
                </a:cubicBez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F070AE3A-18DE-40A7-B575-95D45402BA89}"/>
              </a:ext>
            </a:extLst>
          </p:cNvPr>
          <p:cNvSpPr/>
          <p:nvPr/>
        </p:nvSpPr>
        <p:spPr bwMode="auto">
          <a:xfrm rot="2700000">
            <a:off x="4117379" y="3764822"/>
            <a:ext cx="3122628" cy="843643"/>
          </a:xfrm>
          <a:custGeom>
            <a:avLst/>
            <a:gdLst>
              <a:gd name="T0" fmla="*/ 3020462 w 19679"/>
              <a:gd name="T1" fmla="*/ 895541 h 19679"/>
              <a:gd name="T2" fmla="*/ 3020462 w 19679"/>
              <a:gd name="T3" fmla="*/ 895541 h 19679"/>
              <a:gd name="T4" fmla="*/ 3020462 w 19679"/>
              <a:gd name="T5" fmla="*/ 895541 h 19679"/>
              <a:gd name="T6" fmla="*/ 3020462 w 19679"/>
              <a:gd name="T7" fmla="*/ 895541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7C23227-551F-4258-82E4-ADC8D627AE6F}"/>
              </a:ext>
            </a:extLst>
          </p:cNvPr>
          <p:cNvSpPr/>
          <p:nvPr/>
        </p:nvSpPr>
        <p:spPr bwMode="auto">
          <a:xfrm rot="2700000">
            <a:off x="4517042" y="3481692"/>
            <a:ext cx="2741018" cy="990542"/>
          </a:xfrm>
          <a:custGeom>
            <a:avLst/>
            <a:gdLst>
              <a:gd name="T0" fmla="*/ 2651125 w 21600"/>
              <a:gd name="T1" fmla="*/ 957901 h 20839"/>
              <a:gd name="T2" fmla="*/ 2651125 w 21600"/>
              <a:gd name="T3" fmla="*/ 957901 h 20839"/>
              <a:gd name="T4" fmla="*/ 2651125 w 21600"/>
              <a:gd name="T5" fmla="*/ 957901 h 20839"/>
              <a:gd name="T6" fmla="*/ 2651125 w 21600"/>
              <a:gd name="T7" fmla="*/ 957901 h 2083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0839">
                <a:moveTo>
                  <a:pt x="0" y="0"/>
                </a:moveTo>
                <a:lnTo>
                  <a:pt x="0" y="13043"/>
                </a:lnTo>
                <a:cubicBezTo>
                  <a:pt x="0" y="15037"/>
                  <a:pt x="1055" y="17035"/>
                  <a:pt x="3164" y="18556"/>
                </a:cubicBezTo>
                <a:cubicBezTo>
                  <a:pt x="7381" y="21600"/>
                  <a:pt x="14218" y="21600"/>
                  <a:pt x="18435" y="18556"/>
                </a:cubicBezTo>
                <a:cubicBezTo>
                  <a:pt x="20544" y="17035"/>
                  <a:pt x="21600" y="15037"/>
                  <a:pt x="21600" y="13043"/>
                </a:cubicBez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D2E3A6DE-C026-4A64-B162-6EDF4CAEBBA9}"/>
              </a:ext>
            </a:extLst>
          </p:cNvPr>
          <p:cNvSpPr/>
          <p:nvPr/>
        </p:nvSpPr>
        <p:spPr bwMode="auto">
          <a:xfrm rot="2700000">
            <a:off x="4867876" y="3256420"/>
            <a:ext cx="2741018" cy="740239"/>
          </a:xfrm>
          <a:custGeom>
            <a:avLst/>
            <a:gdLst>
              <a:gd name="T0" fmla="*/ 2650990 w 19679"/>
              <a:gd name="T1" fmla="*/ 785762 h 19679"/>
              <a:gd name="T2" fmla="*/ 2650990 w 19679"/>
              <a:gd name="T3" fmla="*/ 785762 h 19679"/>
              <a:gd name="T4" fmla="*/ 2650990 w 19679"/>
              <a:gd name="T5" fmla="*/ 785762 h 19679"/>
              <a:gd name="T6" fmla="*/ 2650990 w 19679"/>
              <a:gd name="T7" fmla="*/ 785762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C82C38D4-92F4-48E6-B1AE-96E7170E60D1}"/>
              </a:ext>
            </a:extLst>
          </p:cNvPr>
          <p:cNvSpPr/>
          <p:nvPr/>
        </p:nvSpPr>
        <p:spPr bwMode="auto">
          <a:xfrm rot="2700000">
            <a:off x="5270002" y="2969187"/>
            <a:ext cx="2389774" cy="863338"/>
          </a:xfrm>
          <a:custGeom>
            <a:avLst/>
            <a:gdLst>
              <a:gd name="T0" fmla="*/ 2311155 w 21600"/>
              <a:gd name="T1" fmla="*/ 835100 h 20839"/>
              <a:gd name="T2" fmla="*/ 2311155 w 21600"/>
              <a:gd name="T3" fmla="*/ 835100 h 20839"/>
              <a:gd name="T4" fmla="*/ 2311155 w 21600"/>
              <a:gd name="T5" fmla="*/ 835100 h 20839"/>
              <a:gd name="T6" fmla="*/ 2311155 w 21600"/>
              <a:gd name="T7" fmla="*/ 835100 h 2083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0839">
                <a:moveTo>
                  <a:pt x="0" y="0"/>
                </a:moveTo>
                <a:lnTo>
                  <a:pt x="0" y="13044"/>
                </a:lnTo>
                <a:cubicBezTo>
                  <a:pt x="0" y="15039"/>
                  <a:pt x="1053" y="17035"/>
                  <a:pt x="3162" y="18557"/>
                </a:cubicBezTo>
                <a:cubicBezTo>
                  <a:pt x="7380" y="21600"/>
                  <a:pt x="14219" y="21599"/>
                  <a:pt x="18437" y="18557"/>
                </a:cubicBezTo>
                <a:cubicBezTo>
                  <a:pt x="20546" y="17035"/>
                  <a:pt x="21599" y="15039"/>
                  <a:pt x="21599" y="13044"/>
                </a:cubicBezTo>
                <a:lnTo>
                  <a:pt x="21599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2F58039C-AB94-42EB-81CD-BDB51CAF51EC}"/>
              </a:ext>
            </a:extLst>
          </p:cNvPr>
          <p:cNvSpPr/>
          <p:nvPr/>
        </p:nvSpPr>
        <p:spPr bwMode="auto">
          <a:xfrm rot="2700000">
            <a:off x="5572416" y="2773459"/>
            <a:ext cx="2389774" cy="645863"/>
          </a:xfrm>
          <a:custGeom>
            <a:avLst/>
            <a:gdLst>
              <a:gd name="T0" fmla="*/ 2311038 w 19679"/>
              <a:gd name="T1" fmla="*/ 685756 h 19679"/>
              <a:gd name="T2" fmla="*/ 2311038 w 19679"/>
              <a:gd name="T3" fmla="*/ 685756 h 19679"/>
              <a:gd name="T4" fmla="*/ 2311038 w 19679"/>
              <a:gd name="T5" fmla="*/ 685756 h 19679"/>
              <a:gd name="T6" fmla="*/ 2311038 w 19679"/>
              <a:gd name="T7" fmla="*/ 685756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3F8EE87D-25CE-4401-B0BC-4E71E433071E}"/>
              </a:ext>
            </a:extLst>
          </p:cNvPr>
          <p:cNvSpPr/>
          <p:nvPr/>
        </p:nvSpPr>
        <p:spPr bwMode="auto">
          <a:xfrm rot="2700000">
            <a:off x="5960590" y="2528081"/>
            <a:ext cx="2020475" cy="729570"/>
          </a:xfrm>
          <a:custGeom>
            <a:avLst/>
            <a:gdLst>
              <a:gd name="T0" fmla="*/ 1954250 w 21600"/>
              <a:gd name="T1" fmla="*/ 705582 h 20839"/>
              <a:gd name="T2" fmla="*/ 1954250 w 21600"/>
              <a:gd name="T3" fmla="*/ 705582 h 20839"/>
              <a:gd name="T4" fmla="*/ 1954250 w 21600"/>
              <a:gd name="T5" fmla="*/ 705582 h 20839"/>
              <a:gd name="T6" fmla="*/ 1954250 w 21600"/>
              <a:gd name="T7" fmla="*/ 705582 h 2083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0839">
                <a:moveTo>
                  <a:pt x="0" y="0"/>
                </a:moveTo>
                <a:lnTo>
                  <a:pt x="0" y="13044"/>
                </a:lnTo>
                <a:cubicBezTo>
                  <a:pt x="0" y="15039"/>
                  <a:pt x="1053" y="17035"/>
                  <a:pt x="3162" y="18556"/>
                </a:cubicBezTo>
                <a:cubicBezTo>
                  <a:pt x="7380" y="21599"/>
                  <a:pt x="14219" y="21600"/>
                  <a:pt x="18437" y="18556"/>
                </a:cubicBezTo>
                <a:cubicBezTo>
                  <a:pt x="20546" y="17035"/>
                  <a:pt x="21600" y="15039"/>
                  <a:pt x="21600" y="13044"/>
                </a:cubicBezTo>
                <a:lnTo>
                  <a:pt x="216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C5AC18BA-920B-4698-84DB-DAA0906C64F8}"/>
              </a:ext>
            </a:extLst>
          </p:cNvPr>
          <p:cNvSpPr/>
          <p:nvPr/>
        </p:nvSpPr>
        <p:spPr bwMode="auto">
          <a:xfrm rot="2700000">
            <a:off x="6219099" y="2361487"/>
            <a:ext cx="2020475" cy="545742"/>
          </a:xfrm>
          <a:custGeom>
            <a:avLst/>
            <a:gdLst>
              <a:gd name="T0" fmla="*/ 1954150 w 19679"/>
              <a:gd name="T1" fmla="*/ 579348 h 19679"/>
              <a:gd name="T2" fmla="*/ 1954150 w 19679"/>
              <a:gd name="T3" fmla="*/ 579348 h 19679"/>
              <a:gd name="T4" fmla="*/ 1954150 w 19679"/>
              <a:gd name="T5" fmla="*/ 579348 h 19679"/>
              <a:gd name="T6" fmla="*/ 1954150 w 19679"/>
              <a:gd name="T7" fmla="*/ 579348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9" y="6724"/>
                  <a:pt x="20639" y="12953"/>
                  <a:pt x="16796" y="16796"/>
                </a:cubicBezTo>
                <a:cubicBezTo>
                  <a:pt x="12953" y="20638"/>
                  <a:pt x="6724" y="20638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E0DD1479-6768-434D-B795-E1DF2F5E4FB8}"/>
              </a:ext>
            </a:extLst>
          </p:cNvPr>
          <p:cNvSpPr/>
          <p:nvPr/>
        </p:nvSpPr>
        <p:spPr bwMode="auto">
          <a:xfrm rot="8100000">
            <a:off x="7154246" y="1998342"/>
            <a:ext cx="568720" cy="719722"/>
          </a:xfrm>
          <a:custGeom>
            <a:avLst/>
            <a:gdLst>
              <a:gd name="T0" fmla="*/ 550572 w 21600"/>
              <a:gd name="T1" fmla="*/ 696611 h 21600"/>
              <a:gd name="T2" fmla="*/ 550572 w 21600"/>
              <a:gd name="T3" fmla="*/ 696611 h 21600"/>
              <a:gd name="T4" fmla="*/ 550572 w 21600"/>
              <a:gd name="T5" fmla="*/ 696611 h 21600"/>
              <a:gd name="T6" fmla="*/ 550572 w 21600"/>
              <a:gd name="T7" fmla="*/ 69661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599" y="0"/>
                </a:lnTo>
                <a:lnTo>
                  <a:pt x="21599" y="21600"/>
                </a:lnTo>
                <a:lnTo>
                  <a:pt x="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36718EB5-E04C-40F1-ABDB-1F1090A7E6FA}"/>
              </a:ext>
            </a:extLst>
          </p:cNvPr>
          <p:cNvSpPr/>
          <p:nvPr/>
        </p:nvSpPr>
        <p:spPr bwMode="auto">
          <a:xfrm rot="2700000">
            <a:off x="6876862" y="2460376"/>
            <a:ext cx="719723" cy="194497"/>
          </a:xfrm>
          <a:custGeom>
            <a:avLst/>
            <a:gdLst>
              <a:gd name="T0" fmla="*/ 696576 w 19679"/>
              <a:gd name="T1" fmla="*/ 206671 h 19679"/>
              <a:gd name="T2" fmla="*/ 696576 w 19679"/>
              <a:gd name="T3" fmla="*/ 206671 h 19679"/>
              <a:gd name="T4" fmla="*/ 696576 w 19679"/>
              <a:gd name="T5" fmla="*/ 206671 h 19679"/>
              <a:gd name="T6" fmla="*/ 696576 w 19679"/>
              <a:gd name="T7" fmla="*/ 206671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11D6D9EC-4230-4CDC-8614-BDD775B3A1AE}"/>
              </a:ext>
            </a:extLst>
          </p:cNvPr>
          <p:cNvSpPr/>
          <p:nvPr/>
        </p:nvSpPr>
        <p:spPr bwMode="auto">
          <a:xfrm rot="2700000">
            <a:off x="7278166" y="2059071"/>
            <a:ext cx="719722" cy="194498"/>
          </a:xfrm>
          <a:custGeom>
            <a:avLst/>
            <a:gdLst>
              <a:gd name="T0" fmla="*/ 696576 w 19679"/>
              <a:gd name="T1" fmla="*/ 206671 h 19679"/>
              <a:gd name="T2" fmla="*/ 696576 w 19679"/>
              <a:gd name="T3" fmla="*/ 206671 h 19679"/>
              <a:gd name="T4" fmla="*/ 696576 w 19679"/>
              <a:gd name="T5" fmla="*/ 206671 h 19679"/>
              <a:gd name="T6" fmla="*/ 696576 w 19679"/>
              <a:gd name="T7" fmla="*/ 206671 h 19679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19679" h="19679">
                <a:moveTo>
                  <a:pt x="16796" y="2881"/>
                </a:moveTo>
                <a:cubicBezTo>
                  <a:pt x="20638" y="6724"/>
                  <a:pt x="20638" y="12953"/>
                  <a:pt x="16796" y="16796"/>
                </a:cubicBezTo>
                <a:cubicBezTo>
                  <a:pt x="12953" y="20639"/>
                  <a:pt x="6724" y="20639"/>
                  <a:pt x="2881" y="16796"/>
                </a:cubicBezTo>
                <a:cubicBezTo>
                  <a:pt x="-961" y="12953"/>
                  <a:pt x="-961" y="6724"/>
                  <a:pt x="2881" y="2881"/>
                </a:cubicBezTo>
                <a:cubicBezTo>
                  <a:pt x="6724" y="-961"/>
                  <a:pt x="12953" y="-961"/>
                  <a:pt x="16796" y="28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 flipH="1">
            <a:off x="673100" y="2384381"/>
            <a:ext cx="3102548" cy="496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 flipH="1">
            <a:off x="673101" y="1956549"/>
            <a:ext cx="3102548" cy="40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 flipH="1">
            <a:off x="673100" y="3484980"/>
            <a:ext cx="3102548" cy="496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 flipH="1">
            <a:off x="673101" y="3057148"/>
            <a:ext cx="3102548" cy="40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46" name="矩形 45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 flipH="1">
            <a:off x="8416351" y="3045183"/>
            <a:ext cx="3102548" cy="496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 flipH="1">
            <a:off x="8416352" y="2617351"/>
            <a:ext cx="3102548" cy="40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 flipH="1">
            <a:off x="8416351" y="4170780"/>
            <a:ext cx="3102548" cy="4964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 flipH="1">
            <a:off x="8416352" y="3742948"/>
            <a:ext cx="3102548" cy="407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F060E974-3F5E-4FDE-9EA9-BF5514B91984}"/>
              </a:ext>
            </a:extLst>
          </p:cNvPr>
          <p:cNvSpPr/>
          <p:nvPr/>
        </p:nvSpPr>
        <p:spPr bwMode="auto">
          <a:xfrm rot="2700000">
            <a:off x="4889315" y="4434446"/>
            <a:ext cx="470000" cy="430887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pPr algn="ctr" defTabSz="825500">
              <a:defRPr/>
            </a:pPr>
            <a:r>
              <a:rPr lang="en-US" sz="2000" b="1" dirty="0">
                <a:solidFill>
                  <a:schemeClr val="bg1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22954652-E1DA-4244-8976-1CBDA2ABF9DB}"/>
              </a:ext>
            </a:extLst>
          </p:cNvPr>
          <p:cNvSpPr/>
          <p:nvPr/>
        </p:nvSpPr>
        <p:spPr bwMode="auto">
          <a:xfrm rot="2700000">
            <a:off x="5453384" y="3870239"/>
            <a:ext cx="470000" cy="430887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pPr algn="ctr" defTabSz="825500">
              <a:defRPr/>
            </a:pPr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FD88F179-8D46-48C8-BE31-04D862363C91}"/>
              </a:ext>
            </a:extLst>
          </p:cNvPr>
          <p:cNvSpPr/>
          <p:nvPr/>
        </p:nvSpPr>
        <p:spPr bwMode="auto">
          <a:xfrm rot="2700000">
            <a:off x="6017453" y="3306033"/>
            <a:ext cx="470000" cy="430887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pPr algn="ctr" defTabSz="825500">
              <a:defRPr/>
            </a:pPr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03</a:t>
            </a: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ADE929F2-8594-478B-88CE-EDB5624596D9}"/>
              </a:ext>
            </a:extLst>
          </p:cNvPr>
          <p:cNvSpPr/>
          <p:nvPr/>
        </p:nvSpPr>
        <p:spPr bwMode="auto">
          <a:xfrm rot="2700000">
            <a:off x="6581523" y="2741827"/>
            <a:ext cx="470000" cy="430887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0" y="0"/>
                </a:moveTo>
                <a:lnTo>
                  <a:pt x="21600" y="0"/>
                </a:lnTo>
                <a:lnTo>
                  <a:pt x="21600" y="21600"/>
                </a:lnTo>
                <a:lnTo>
                  <a:pt x="0" y="21600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 w="12700" cap="flat" cmpd="sng">
                <a:solidFill>
                  <a:srgbClr val="000000"/>
                </a:solidFill>
                <a:prstDash val="solid"/>
                <a:miter lim="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14="http://schemas.microsoft.com/office/powerpoint/2010/main" xmlns:a16="http://schemas.microsoft.com/office/drawing/2014/main" xmlns:lc="http://schemas.openxmlformats.org/drawingml/2006/lockedCanvas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1pPr>
            <a:lvl2pPr marL="228600" indent="2286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2pPr>
            <a:lvl3pPr marL="457200" indent="4572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3pPr>
            <a:lvl4pPr marL="685800" indent="6858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4pPr>
            <a:lvl5pPr marL="914400" indent="914400" algn="l" defTabSz="12700" rtl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rgbClr val="53585F"/>
                </a:solidFill>
              </a:defRPr>
            </a:lvl5pPr>
            <a:lvl6pPr marL="22860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6pPr>
            <a:lvl7pPr marL="27432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7pPr>
            <a:lvl8pPr marL="32004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8pPr>
            <a:lvl9pPr marL="3657600" algn="l" defTabSz="914400" rtl="0" eaLnBrk="1" latinLnBrk="0" hangingPunct="1">
              <a:defRPr sz="2400" kern="1200">
                <a:solidFill>
                  <a:srgbClr val="53585F"/>
                </a:solidFill>
              </a:defRPr>
            </a:lvl9pPr>
          </a:lstStyle>
          <a:p>
            <a:pPr algn="ctr" defTabSz="825500">
              <a:defRPr/>
            </a:pPr>
            <a:r>
              <a:rPr lang="en-US" sz="2000" b="1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20386096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8" name="对话气泡: 椭圆形 27">
            <a:extLst>
              <a:ext uri="{FF2B5EF4-FFF2-40B4-BE49-F238E27FC236}">
                <a16:creationId xmlns:a16="http://schemas.microsoft.com/office/drawing/2014/main" id="{B3B7ACDD-97C0-4241-8DBF-1CD59A1A303D}"/>
              </a:ext>
            </a:extLst>
          </p:cNvPr>
          <p:cNvSpPr/>
          <p:nvPr/>
        </p:nvSpPr>
        <p:spPr bwMode="auto">
          <a:xfrm>
            <a:off x="862546" y="1359000"/>
            <a:ext cx="1077312" cy="1065922"/>
          </a:xfrm>
          <a:prstGeom prst="wedgeEllipseCallout">
            <a:avLst>
              <a:gd name="adj1" fmla="val 70151"/>
              <a:gd name="adj2" fmla="val -49545"/>
            </a:avLst>
          </a:prstGeom>
          <a:solidFill>
            <a:schemeClr val="accent1"/>
          </a:solidFill>
          <a:ln w="38100"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dk1"/>
              </a:solidFill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2026C7D8-9578-4767-869A-3DED3952D7A5}"/>
              </a:ext>
            </a:extLst>
          </p:cNvPr>
          <p:cNvSpPr/>
          <p:nvPr/>
        </p:nvSpPr>
        <p:spPr bwMode="auto">
          <a:xfrm>
            <a:off x="1027418" y="3135287"/>
            <a:ext cx="3936334" cy="2516418"/>
          </a:xfrm>
          <a:custGeom>
            <a:avLst/>
            <a:gdLst>
              <a:gd name="T0" fmla="*/ 2042 w 2042"/>
              <a:gd name="T1" fmla="*/ 1233 h 1306"/>
              <a:gd name="T2" fmla="*/ 1970 w 2042"/>
              <a:gd name="T3" fmla="*/ 1306 h 1306"/>
              <a:gd name="T4" fmla="*/ 72 w 2042"/>
              <a:gd name="T5" fmla="*/ 1306 h 1306"/>
              <a:gd name="T6" fmla="*/ 0 w 2042"/>
              <a:gd name="T7" fmla="*/ 1233 h 1306"/>
              <a:gd name="T8" fmla="*/ 0 w 2042"/>
              <a:gd name="T9" fmla="*/ 72 h 1306"/>
              <a:gd name="T10" fmla="*/ 72 w 2042"/>
              <a:gd name="T11" fmla="*/ 0 h 1306"/>
              <a:gd name="T12" fmla="*/ 1970 w 2042"/>
              <a:gd name="T13" fmla="*/ 0 h 1306"/>
              <a:gd name="T14" fmla="*/ 2042 w 2042"/>
              <a:gd name="T15" fmla="*/ 72 h 1306"/>
              <a:gd name="T16" fmla="*/ 2042 w 2042"/>
              <a:gd name="T17" fmla="*/ 1233 h 1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42" h="1306">
                <a:moveTo>
                  <a:pt x="2042" y="1233"/>
                </a:moveTo>
                <a:cubicBezTo>
                  <a:pt x="2042" y="1273"/>
                  <a:pt x="2009" y="1306"/>
                  <a:pt x="1970" y="1306"/>
                </a:cubicBezTo>
                <a:cubicBezTo>
                  <a:pt x="72" y="1306"/>
                  <a:pt x="72" y="1306"/>
                  <a:pt x="72" y="1306"/>
                </a:cubicBezTo>
                <a:cubicBezTo>
                  <a:pt x="33" y="1306"/>
                  <a:pt x="0" y="1273"/>
                  <a:pt x="0" y="1233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32"/>
                  <a:pt x="33" y="0"/>
                  <a:pt x="72" y="0"/>
                </a:cubicBezTo>
                <a:cubicBezTo>
                  <a:pt x="1970" y="0"/>
                  <a:pt x="1970" y="0"/>
                  <a:pt x="1970" y="0"/>
                </a:cubicBezTo>
                <a:cubicBezTo>
                  <a:pt x="2009" y="0"/>
                  <a:pt x="2042" y="32"/>
                  <a:pt x="2042" y="72"/>
                </a:cubicBezTo>
                <a:cubicBezTo>
                  <a:pt x="2042" y="1233"/>
                  <a:pt x="2042" y="1233"/>
                  <a:pt x="2042" y="1233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85B174C5-B1EE-40F3-BDA2-E46880D3DDB2}"/>
              </a:ext>
            </a:extLst>
          </p:cNvPr>
          <p:cNvSpPr/>
          <p:nvPr/>
        </p:nvSpPr>
        <p:spPr bwMode="auto">
          <a:xfrm>
            <a:off x="1981360" y="3135287"/>
            <a:ext cx="2982392" cy="2516418"/>
          </a:xfrm>
          <a:custGeom>
            <a:avLst/>
            <a:gdLst>
              <a:gd name="T0" fmla="*/ 1475 w 1547"/>
              <a:gd name="T1" fmla="*/ 0 h 1306"/>
              <a:gd name="T2" fmla="*/ 858 w 1547"/>
              <a:gd name="T3" fmla="*/ 0 h 1306"/>
              <a:gd name="T4" fmla="*/ 859 w 1547"/>
              <a:gd name="T5" fmla="*/ 46 h 1306"/>
              <a:gd name="T6" fmla="*/ 462 w 1547"/>
              <a:gd name="T7" fmla="*/ 1003 h 1306"/>
              <a:gd name="T8" fmla="*/ 0 w 1547"/>
              <a:gd name="T9" fmla="*/ 1306 h 1306"/>
              <a:gd name="T10" fmla="*/ 1475 w 1547"/>
              <a:gd name="T11" fmla="*/ 1306 h 1306"/>
              <a:gd name="T12" fmla="*/ 1547 w 1547"/>
              <a:gd name="T13" fmla="*/ 1233 h 1306"/>
              <a:gd name="T14" fmla="*/ 1547 w 1547"/>
              <a:gd name="T15" fmla="*/ 72 h 1306"/>
              <a:gd name="T16" fmla="*/ 1475 w 1547"/>
              <a:gd name="T17" fmla="*/ 0 h 13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547" h="1306">
                <a:moveTo>
                  <a:pt x="1475" y="0"/>
                </a:moveTo>
                <a:cubicBezTo>
                  <a:pt x="858" y="0"/>
                  <a:pt x="858" y="0"/>
                  <a:pt x="858" y="0"/>
                </a:cubicBezTo>
                <a:cubicBezTo>
                  <a:pt x="859" y="15"/>
                  <a:pt x="859" y="30"/>
                  <a:pt x="859" y="46"/>
                </a:cubicBezTo>
                <a:cubicBezTo>
                  <a:pt x="859" y="404"/>
                  <a:pt x="715" y="751"/>
                  <a:pt x="462" y="1003"/>
                </a:cubicBezTo>
                <a:cubicBezTo>
                  <a:pt x="330" y="1136"/>
                  <a:pt x="172" y="1238"/>
                  <a:pt x="0" y="1306"/>
                </a:cubicBezTo>
                <a:cubicBezTo>
                  <a:pt x="1475" y="1306"/>
                  <a:pt x="1475" y="1306"/>
                  <a:pt x="1475" y="1306"/>
                </a:cubicBezTo>
                <a:cubicBezTo>
                  <a:pt x="1514" y="1306"/>
                  <a:pt x="1547" y="1273"/>
                  <a:pt x="1547" y="1233"/>
                </a:cubicBezTo>
                <a:cubicBezTo>
                  <a:pt x="1547" y="72"/>
                  <a:pt x="1547" y="72"/>
                  <a:pt x="1547" y="72"/>
                </a:cubicBezTo>
                <a:cubicBezTo>
                  <a:pt x="1547" y="32"/>
                  <a:pt x="1514" y="0"/>
                  <a:pt x="147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799938A7-B465-4665-A711-8031392B91A3}"/>
              </a:ext>
            </a:extLst>
          </p:cNvPr>
          <p:cNvSpPr/>
          <p:nvPr/>
        </p:nvSpPr>
        <p:spPr bwMode="auto">
          <a:xfrm>
            <a:off x="1164277" y="3277849"/>
            <a:ext cx="3662615" cy="222885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5" name="椭圆 54">
            <a:extLst>
              <a:ext uri="{FF2B5EF4-FFF2-40B4-BE49-F238E27FC236}">
                <a16:creationId xmlns:a16="http://schemas.microsoft.com/office/drawing/2014/main" id="{FC8D70FD-EB74-445F-BBF3-D2206C808DD3}"/>
              </a:ext>
            </a:extLst>
          </p:cNvPr>
          <p:cNvSpPr/>
          <p:nvPr/>
        </p:nvSpPr>
        <p:spPr bwMode="auto">
          <a:xfrm>
            <a:off x="2954853" y="3167872"/>
            <a:ext cx="81464" cy="83093"/>
          </a:xfrm>
          <a:prstGeom prst="ellipse">
            <a:avLst/>
          </a:pr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5F541E0A-509E-4B05-ACB3-D7EA17F98757}"/>
              </a:ext>
            </a:extLst>
          </p:cNvPr>
          <p:cNvSpPr/>
          <p:nvPr/>
        </p:nvSpPr>
        <p:spPr bwMode="auto">
          <a:xfrm>
            <a:off x="2943448" y="3156467"/>
            <a:ext cx="104274" cy="104274"/>
          </a:xfrm>
          <a:custGeom>
            <a:avLst/>
            <a:gdLst>
              <a:gd name="T0" fmla="*/ 48 w 54"/>
              <a:gd name="T1" fmla="*/ 27 h 54"/>
              <a:gd name="T2" fmla="*/ 43 w 54"/>
              <a:gd name="T3" fmla="*/ 27 h 54"/>
              <a:gd name="T4" fmla="*/ 39 w 54"/>
              <a:gd name="T5" fmla="*/ 39 h 54"/>
              <a:gd name="T6" fmla="*/ 27 w 54"/>
              <a:gd name="T7" fmla="*/ 43 h 54"/>
              <a:gd name="T8" fmla="*/ 15 w 54"/>
              <a:gd name="T9" fmla="*/ 39 h 54"/>
              <a:gd name="T10" fmla="*/ 11 w 54"/>
              <a:gd name="T11" fmla="*/ 27 h 54"/>
              <a:gd name="T12" fmla="*/ 15 w 54"/>
              <a:gd name="T13" fmla="*/ 16 h 54"/>
              <a:gd name="T14" fmla="*/ 27 w 54"/>
              <a:gd name="T15" fmla="*/ 11 h 54"/>
              <a:gd name="T16" fmla="*/ 39 w 54"/>
              <a:gd name="T17" fmla="*/ 16 h 54"/>
              <a:gd name="T18" fmla="*/ 43 w 54"/>
              <a:gd name="T19" fmla="*/ 27 h 54"/>
              <a:gd name="T20" fmla="*/ 48 w 54"/>
              <a:gd name="T21" fmla="*/ 27 h 54"/>
              <a:gd name="T22" fmla="*/ 54 w 54"/>
              <a:gd name="T23" fmla="*/ 27 h 54"/>
              <a:gd name="T24" fmla="*/ 27 w 54"/>
              <a:gd name="T25" fmla="*/ 0 h 54"/>
              <a:gd name="T26" fmla="*/ 0 w 54"/>
              <a:gd name="T27" fmla="*/ 27 h 54"/>
              <a:gd name="T28" fmla="*/ 27 w 54"/>
              <a:gd name="T29" fmla="*/ 54 h 54"/>
              <a:gd name="T30" fmla="*/ 54 w 54"/>
              <a:gd name="T31" fmla="*/ 27 h 54"/>
              <a:gd name="T32" fmla="*/ 48 w 54"/>
              <a:gd name="T33" fmla="*/ 27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4" h="54">
                <a:moveTo>
                  <a:pt x="48" y="27"/>
                </a:moveTo>
                <a:cubicBezTo>
                  <a:pt x="43" y="27"/>
                  <a:pt x="43" y="27"/>
                  <a:pt x="43" y="27"/>
                </a:cubicBezTo>
                <a:cubicBezTo>
                  <a:pt x="43" y="32"/>
                  <a:pt x="41" y="36"/>
                  <a:pt x="39" y="39"/>
                </a:cubicBezTo>
                <a:cubicBezTo>
                  <a:pt x="36" y="42"/>
                  <a:pt x="32" y="43"/>
                  <a:pt x="27" y="43"/>
                </a:cubicBezTo>
                <a:cubicBezTo>
                  <a:pt x="22" y="43"/>
                  <a:pt x="18" y="42"/>
                  <a:pt x="15" y="39"/>
                </a:cubicBezTo>
                <a:cubicBezTo>
                  <a:pt x="13" y="36"/>
                  <a:pt x="11" y="32"/>
                  <a:pt x="11" y="27"/>
                </a:cubicBezTo>
                <a:cubicBezTo>
                  <a:pt x="11" y="23"/>
                  <a:pt x="13" y="19"/>
                  <a:pt x="15" y="16"/>
                </a:cubicBezTo>
                <a:cubicBezTo>
                  <a:pt x="18" y="13"/>
                  <a:pt x="22" y="11"/>
                  <a:pt x="27" y="11"/>
                </a:cubicBezTo>
                <a:cubicBezTo>
                  <a:pt x="32" y="11"/>
                  <a:pt x="36" y="13"/>
                  <a:pt x="39" y="16"/>
                </a:cubicBezTo>
                <a:cubicBezTo>
                  <a:pt x="41" y="19"/>
                  <a:pt x="43" y="23"/>
                  <a:pt x="43" y="27"/>
                </a:cubicBezTo>
                <a:cubicBezTo>
                  <a:pt x="48" y="27"/>
                  <a:pt x="48" y="27"/>
                  <a:pt x="48" y="27"/>
                </a:cubicBezTo>
                <a:cubicBezTo>
                  <a:pt x="54" y="27"/>
                  <a:pt x="54" y="27"/>
                  <a:pt x="54" y="27"/>
                </a:cubicBezTo>
                <a:cubicBezTo>
                  <a:pt x="54" y="12"/>
                  <a:pt x="42" y="0"/>
                  <a:pt x="27" y="0"/>
                </a:cubicBezTo>
                <a:cubicBezTo>
                  <a:pt x="12" y="0"/>
                  <a:pt x="0" y="12"/>
                  <a:pt x="0" y="27"/>
                </a:cubicBezTo>
                <a:cubicBezTo>
                  <a:pt x="0" y="42"/>
                  <a:pt x="12" y="54"/>
                  <a:pt x="27" y="54"/>
                </a:cubicBezTo>
                <a:cubicBezTo>
                  <a:pt x="42" y="54"/>
                  <a:pt x="54" y="42"/>
                  <a:pt x="54" y="27"/>
                </a:cubicBezTo>
                <a:lnTo>
                  <a:pt x="48" y="27"/>
                </a:lnTo>
                <a:close/>
              </a:path>
            </a:pathLst>
          </a:custGeom>
          <a:solidFill>
            <a:srgbClr val="4D4D4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8B1B2B7B-C622-4AC3-8424-A666C678C38B}"/>
              </a:ext>
            </a:extLst>
          </p:cNvPr>
          <p:cNvSpPr/>
          <p:nvPr/>
        </p:nvSpPr>
        <p:spPr bwMode="auto">
          <a:xfrm>
            <a:off x="1164277" y="2688865"/>
            <a:ext cx="3581152" cy="2817834"/>
          </a:xfrm>
          <a:custGeom>
            <a:avLst/>
            <a:gdLst>
              <a:gd name="T0" fmla="*/ 1775 w 1858"/>
              <a:gd name="T1" fmla="*/ 431 h 1463"/>
              <a:gd name="T2" fmla="*/ 1462 w 1858"/>
              <a:gd name="T3" fmla="*/ 0 h 1463"/>
              <a:gd name="T4" fmla="*/ 1383 w 1858"/>
              <a:gd name="T5" fmla="*/ 79 h 1463"/>
              <a:gd name="T6" fmla="*/ 1673 w 1858"/>
              <a:gd name="T7" fmla="*/ 476 h 1463"/>
              <a:gd name="T8" fmla="*/ 1702 w 1858"/>
              <a:gd name="T9" fmla="*/ 823 h 1463"/>
              <a:gd name="T10" fmla="*/ 1393 w 1858"/>
              <a:gd name="T11" fmla="*/ 1072 h 1463"/>
              <a:gd name="T12" fmla="*/ 1108 w 1858"/>
              <a:gd name="T13" fmla="*/ 1143 h 1463"/>
              <a:gd name="T14" fmla="*/ 1050 w 1858"/>
              <a:gd name="T15" fmla="*/ 1095 h 1463"/>
              <a:gd name="T16" fmla="*/ 1064 w 1858"/>
              <a:gd name="T17" fmla="*/ 1052 h 1463"/>
              <a:gd name="T18" fmla="*/ 1001 w 1858"/>
              <a:gd name="T19" fmla="*/ 976 h 1463"/>
              <a:gd name="T20" fmla="*/ 1005 w 1858"/>
              <a:gd name="T21" fmla="*/ 943 h 1463"/>
              <a:gd name="T22" fmla="*/ 870 w 1858"/>
              <a:gd name="T23" fmla="*/ 809 h 1463"/>
              <a:gd name="T24" fmla="*/ 809 w 1858"/>
              <a:gd name="T25" fmla="*/ 824 h 1463"/>
              <a:gd name="T26" fmla="*/ 819 w 1858"/>
              <a:gd name="T27" fmla="*/ 777 h 1463"/>
              <a:gd name="T28" fmla="*/ 698 w 1858"/>
              <a:gd name="T29" fmla="*/ 656 h 1463"/>
              <a:gd name="T30" fmla="*/ 671 w 1858"/>
              <a:gd name="T31" fmla="*/ 659 h 1463"/>
              <a:gd name="T32" fmla="*/ 671 w 1858"/>
              <a:gd name="T33" fmla="*/ 656 h 1463"/>
              <a:gd name="T34" fmla="*/ 591 w 1858"/>
              <a:gd name="T35" fmla="*/ 547 h 1463"/>
              <a:gd name="T36" fmla="*/ 599 w 1858"/>
              <a:gd name="T37" fmla="*/ 503 h 1463"/>
              <a:gd name="T38" fmla="*/ 474 w 1858"/>
              <a:gd name="T39" fmla="*/ 378 h 1463"/>
              <a:gd name="T40" fmla="*/ 408 w 1858"/>
              <a:gd name="T41" fmla="*/ 397 h 1463"/>
              <a:gd name="T42" fmla="*/ 410 w 1858"/>
              <a:gd name="T43" fmla="*/ 378 h 1463"/>
              <a:gd name="T44" fmla="*/ 386 w 1858"/>
              <a:gd name="T45" fmla="*/ 306 h 1463"/>
              <a:gd name="T46" fmla="*/ 193 w 1858"/>
              <a:gd name="T47" fmla="*/ 306 h 1463"/>
              <a:gd name="T48" fmla="*/ 193 w 1858"/>
              <a:gd name="T49" fmla="*/ 306 h 1463"/>
              <a:gd name="T50" fmla="*/ 0 w 1858"/>
              <a:gd name="T51" fmla="*/ 306 h 1463"/>
              <a:gd name="T52" fmla="*/ 0 w 1858"/>
              <a:gd name="T53" fmla="*/ 1462 h 1463"/>
              <a:gd name="T54" fmla="*/ 991 w 1858"/>
              <a:gd name="T55" fmla="*/ 1463 h 1463"/>
              <a:gd name="T56" fmla="*/ 991 w 1858"/>
              <a:gd name="T57" fmla="*/ 1462 h 1463"/>
              <a:gd name="T58" fmla="*/ 1269 w 1858"/>
              <a:gd name="T59" fmla="*/ 1462 h 1463"/>
              <a:gd name="T60" fmla="*/ 1270 w 1858"/>
              <a:gd name="T61" fmla="*/ 1450 h 1463"/>
              <a:gd name="T62" fmla="*/ 1248 w 1858"/>
              <a:gd name="T63" fmla="*/ 1383 h 1463"/>
              <a:gd name="T64" fmla="*/ 1270 w 1858"/>
              <a:gd name="T65" fmla="*/ 1316 h 1463"/>
              <a:gd name="T66" fmla="*/ 1234 w 1858"/>
              <a:gd name="T67" fmla="*/ 1233 h 1463"/>
              <a:gd name="T68" fmla="*/ 1432 w 1858"/>
              <a:gd name="T69" fmla="*/ 1177 h 1463"/>
              <a:gd name="T70" fmla="*/ 1805 w 1858"/>
              <a:gd name="T71" fmla="*/ 866 h 1463"/>
              <a:gd name="T72" fmla="*/ 1775 w 1858"/>
              <a:gd name="T73" fmla="*/ 431 h 14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58" h="1463">
                <a:moveTo>
                  <a:pt x="1775" y="431"/>
                </a:moveTo>
                <a:cubicBezTo>
                  <a:pt x="1714" y="292"/>
                  <a:pt x="1605" y="143"/>
                  <a:pt x="1462" y="0"/>
                </a:cubicBezTo>
                <a:cubicBezTo>
                  <a:pt x="1383" y="79"/>
                  <a:pt x="1383" y="79"/>
                  <a:pt x="1383" y="79"/>
                </a:cubicBezTo>
                <a:cubicBezTo>
                  <a:pt x="1517" y="212"/>
                  <a:pt x="1617" y="350"/>
                  <a:pt x="1673" y="476"/>
                </a:cubicBezTo>
                <a:cubicBezTo>
                  <a:pt x="1733" y="609"/>
                  <a:pt x="1742" y="726"/>
                  <a:pt x="1702" y="823"/>
                </a:cubicBezTo>
                <a:cubicBezTo>
                  <a:pt x="1658" y="928"/>
                  <a:pt x="1554" y="1012"/>
                  <a:pt x="1393" y="1072"/>
                </a:cubicBezTo>
                <a:cubicBezTo>
                  <a:pt x="1311" y="1102"/>
                  <a:pt x="1216" y="1126"/>
                  <a:pt x="1108" y="1143"/>
                </a:cubicBezTo>
                <a:cubicBezTo>
                  <a:pt x="1095" y="1121"/>
                  <a:pt x="1075" y="1103"/>
                  <a:pt x="1050" y="1095"/>
                </a:cubicBezTo>
                <a:cubicBezTo>
                  <a:pt x="1059" y="1083"/>
                  <a:pt x="1064" y="1068"/>
                  <a:pt x="1064" y="1052"/>
                </a:cubicBezTo>
                <a:cubicBezTo>
                  <a:pt x="1064" y="1014"/>
                  <a:pt x="1037" y="983"/>
                  <a:pt x="1001" y="976"/>
                </a:cubicBezTo>
                <a:cubicBezTo>
                  <a:pt x="1003" y="966"/>
                  <a:pt x="1005" y="955"/>
                  <a:pt x="1005" y="943"/>
                </a:cubicBezTo>
                <a:cubicBezTo>
                  <a:pt x="1005" y="869"/>
                  <a:pt x="945" y="809"/>
                  <a:pt x="870" y="809"/>
                </a:cubicBezTo>
                <a:cubicBezTo>
                  <a:pt x="849" y="809"/>
                  <a:pt x="828" y="814"/>
                  <a:pt x="809" y="824"/>
                </a:cubicBezTo>
                <a:cubicBezTo>
                  <a:pt x="816" y="809"/>
                  <a:pt x="819" y="793"/>
                  <a:pt x="819" y="777"/>
                </a:cubicBezTo>
                <a:cubicBezTo>
                  <a:pt x="819" y="710"/>
                  <a:pt x="765" y="656"/>
                  <a:pt x="698" y="656"/>
                </a:cubicBezTo>
                <a:cubicBezTo>
                  <a:pt x="689" y="656"/>
                  <a:pt x="679" y="657"/>
                  <a:pt x="671" y="659"/>
                </a:cubicBezTo>
                <a:cubicBezTo>
                  <a:pt x="671" y="658"/>
                  <a:pt x="671" y="657"/>
                  <a:pt x="671" y="656"/>
                </a:cubicBezTo>
                <a:cubicBezTo>
                  <a:pt x="671" y="605"/>
                  <a:pt x="637" y="561"/>
                  <a:pt x="591" y="547"/>
                </a:cubicBezTo>
                <a:cubicBezTo>
                  <a:pt x="596" y="533"/>
                  <a:pt x="599" y="518"/>
                  <a:pt x="599" y="503"/>
                </a:cubicBezTo>
                <a:cubicBezTo>
                  <a:pt x="599" y="434"/>
                  <a:pt x="543" y="378"/>
                  <a:pt x="474" y="378"/>
                </a:cubicBezTo>
                <a:cubicBezTo>
                  <a:pt x="450" y="378"/>
                  <a:pt x="427" y="385"/>
                  <a:pt x="408" y="397"/>
                </a:cubicBezTo>
                <a:cubicBezTo>
                  <a:pt x="409" y="390"/>
                  <a:pt x="410" y="384"/>
                  <a:pt x="410" y="378"/>
                </a:cubicBezTo>
                <a:cubicBezTo>
                  <a:pt x="410" y="351"/>
                  <a:pt x="401" y="326"/>
                  <a:pt x="386" y="306"/>
                </a:cubicBezTo>
                <a:cubicBezTo>
                  <a:pt x="193" y="306"/>
                  <a:pt x="193" y="306"/>
                  <a:pt x="193" y="306"/>
                </a:cubicBezTo>
                <a:cubicBezTo>
                  <a:pt x="193" y="306"/>
                  <a:pt x="193" y="306"/>
                  <a:pt x="193" y="306"/>
                </a:cubicBezTo>
                <a:cubicBezTo>
                  <a:pt x="0" y="306"/>
                  <a:pt x="0" y="306"/>
                  <a:pt x="0" y="306"/>
                </a:cubicBezTo>
                <a:cubicBezTo>
                  <a:pt x="0" y="1462"/>
                  <a:pt x="0" y="1462"/>
                  <a:pt x="0" y="1462"/>
                </a:cubicBezTo>
                <a:cubicBezTo>
                  <a:pt x="991" y="1463"/>
                  <a:pt x="991" y="1463"/>
                  <a:pt x="991" y="1463"/>
                </a:cubicBezTo>
                <a:cubicBezTo>
                  <a:pt x="991" y="1462"/>
                  <a:pt x="991" y="1462"/>
                  <a:pt x="991" y="1462"/>
                </a:cubicBezTo>
                <a:cubicBezTo>
                  <a:pt x="1269" y="1462"/>
                  <a:pt x="1269" y="1462"/>
                  <a:pt x="1269" y="1462"/>
                </a:cubicBezTo>
                <a:cubicBezTo>
                  <a:pt x="1270" y="1458"/>
                  <a:pt x="1270" y="1454"/>
                  <a:pt x="1270" y="1450"/>
                </a:cubicBezTo>
                <a:cubicBezTo>
                  <a:pt x="1270" y="1425"/>
                  <a:pt x="1262" y="1402"/>
                  <a:pt x="1248" y="1383"/>
                </a:cubicBezTo>
                <a:cubicBezTo>
                  <a:pt x="1262" y="1365"/>
                  <a:pt x="1270" y="1341"/>
                  <a:pt x="1270" y="1316"/>
                </a:cubicBezTo>
                <a:cubicBezTo>
                  <a:pt x="1270" y="1283"/>
                  <a:pt x="1256" y="1254"/>
                  <a:pt x="1234" y="1233"/>
                </a:cubicBezTo>
                <a:cubicBezTo>
                  <a:pt x="1306" y="1218"/>
                  <a:pt x="1372" y="1199"/>
                  <a:pt x="1432" y="1177"/>
                </a:cubicBezTo>
                <a:cubicBezTo>
                  <a:pt x="1623" y="1106"/>
                  <a:pt x="1749" y="1001"/>
                  <a:pt x="1805" y="866"/>
                </a:cubicBezTo>
                <a:cubicBezTo>
                  <a:pt x="1858" y="739"/>
                  <a:pt x="1848" y="593"/>
                  <a:pt x="1775" y="431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ADA04314-24B7-4668-9B5F-938BB1100F72}"/>
              </a:ext>
            </a:extLst>
          </p:cNvPr>
          <p:cNvSpPr/>
          <p:nvPr/>
        </p:nvSpPr>
        <p:spPr bwMode="auto">
          <a:xfrm>
            <a:off x="1164277" y="2717377"/>
            <a:ext cx="3538790" cy="2789322"/>
          </a:xfrm>
          <a:custGeom>
            <a:avLst/>
            <a:gdLst>
              <a:gd name="T0" fmla="*/ 1756 w 1836"/>
              <a:gd name="T1" fmla="*/ 424 h 1448"/>
              <a:gd name="T2" fmla="*/ 1447 w 1836"/>
              <a:gd name="T3" fmla="*/ 0 h 1448"/>
              <a:gd name="T4" fmla="*/ 1398 w 1836"/>
              <a:gd name="T5" fmla="*/ 49 h 1448"/>
              <a:gd name="T6" fmla="*/ 1693 w 1836"/>
              <a:gd name="T7" fmla="*/ 452 h 1448"/>
              <a:gd name="T8" fmla="*/ 1722 w 1836"/>
              <a:gd name="T9" fmla="*/ 816 h 1448"/>
              <a:gd name="T10" fmla="*/ 981 w 1836"/>
              <a:gd name="T11" fmla="*/ 1166 h 1448"/>
              <a:gd name="T12" fmla="*/ 836 w 1836"/>
              <a:gd name="T13" fmla="*/ 1023 h 1448"/>
              <a:gd name="T14" fmla="*/ 755 w 1836"/>
              <a:gd name="T15" fmla="*/ 1048 h 1448"/>
              <a:gd name="T16" fmla="*/ 706 w 1836"/>
              <a:gd name="T17" fmla="*/ 1026 h 1448"/>
              <a:gd name="T18" fmla="*/ 711 w 1836"/>
              <a:gd name="T19" fmla="*/ 978 h 1448"/>
              <a:gd name="T20" fmla="*/ 505 w 1836"/>
              <a:gd name="T21" fmla="*/ 772 h 1448"/>
              <a:gd name="T22" fmla="*/ 446 w 1836"/>
              <a:gd name="T23" fmla="*/ 780 h 1448"/>
              <a:gd name="T24" fmla="*/ 318 w 1836"/>
              <a:gd name="T25" fmla="*/ 669 h 1448"/>
              <a:gd name="T26" fmla="*/ 135 w 1836"/>
              <a:gd name="T27" fmla="*/ 497 h 1448"/>
              <a:gd name="T28" fmla="*/ 0 w 1836"/>
              <a:gd name="T29" fmla="*/ 557 h 1448"/>
              <a:gd name="T30" fmla="*/ 0 w 1836"/>
              <a:gd name="T31" fmla="*/ 1026 h 1448"/>
              <a:gd name="T32" fmla="*/ 0 w 1836"/>
              <a:gd name="T33" fmla="*/ 1026 h 1448"/>
              <a:gd name="T34" fmla="*/ 0 w 1836"/>
              <a:gd name="T35" fmla="*/ 1448 h 1448"/>
              <a:gd name="T36" fmla="*/ 1113 w 1836"/>
              <a:gd name="T37" fmla="*/ 1448 h 1448"/>
              <a:gd name="T38" fmla="*/ 1126 w 1836"/>
              <a:gd name="T39" fmla="*/ 1378 h 1448"/>
              <a:gd name="T40" fmla="*/ 1054 w 1836"/>
              <a:gd name="T41" fmla="*/ 1227 h 1448"/>
              <a:gd name="T42" fmla="*/ 1424 w 1836"/>
              <a:gd name="T43" fmla="*/ 1142 h 1448"/>
              <a:gd name="T44" fmla="*/ 1786 w 1836"/>
              <a:gd name="T45" fmla="*/ 843 h 1448"/>
              <a:gd name="T46" fmla="*/ 1756 w 1836"/>
              <a:gd name="T47" fmla="*/ 424 h 1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36" h="1448">
                <a:moveTo>
                  <a:pt x="1756" y="424"/>
                </a:moveTo>
                <a:cubicBezTo>
                  <a:pt x="1695" y="288"/>
                  <a:pt x="1589" y="141"/>
                  <a:pt x="1447" y="0"/>
                </a:cubicBezTo>
                <a:cubicBezTo>
                  <a:pt x="1398" y="49"/>
                  <a:pt x="1398" y="49"/>
                  <a:pt x="1398" y="49"/>
                </a:cubicBezTo>
                <a:cubicBezTo>
                  <a:pt x="1534" y="184"/>
                  <a:pt x="1635" y="324"/>
                  <a:pt x="1693" y="452"/>
                </a:cubicBezTo>
                <a:cubicBezTo>
                  <a:pt x="1754" y="591"/>
                  <a:pt x="1764" y="713"/>
                  <a:pt x="1722" y="816"/>
                </a:cubicBezTo>
                <a:cubicBezTo>
                  <a:pt x="1644" y="1004"/>
                  <a:pt x="1390" y="1123"/>
                  <a:pt x="981" y="1166"/>
                </a:cubicBezTo>
                <a:cubicBezTo>
                  <a:pt x="980" y="1087"/>
                  <a:pt x="916" y="1023"/>
                  <a:pt x="836" y="1023"/>
                </a:cubicBezTo>
                <a:cubicBezTo>
                  <a:pt x="806" y="1023"/>
                  <a:pt x="778" y="1032"/>
                  <a:pt x="755" y="1048"/>
                </a:cubicBezTo>
                <a:cubicBezTo>
                  <a:pt x="741" y="1038"/>
                  <a:pt x="724" y="1030"/>
                  <a:pt x="706" y="1026"/>
                </a:cubicBezTo>
                <a:cubicBezTo>
                  <a:pt x="709" y="1011"/>
                  <a:pt x="711" y="995"/>
                  <a:pt x="711" y="978"/>
                </a:cubicBezTo>
                <a:cubicBezTo>
                  <a:pt x="711" y="864"/>
                  <a:pt x="619" y="772"/>
                  <a:pt x="505" y="772"/>
                </a:cubicBezTo>
                <a:cubicBezTo>
                  <a:pt x="485" y="772"/>
                  <a:pt x="465" y="775"/>
                  <a:pt x="446" y="780"/>
                </a:cubicBezTo>
                <a:cubicBezTo>
                  <a:pt x="423" y="725"/>
                  <a:pt x="376" y="684"/>
                  <a:pt x="318" y="669"/>
                </a:cubicBezTo>
                <a:cubicBezTo>
                  <a:pt x="311" y="573"/>
                  <a:pt x="232" y="497"/>
                  <a:pt x="135" y="497"/>
                </a:cubicBezTo>
                <a:cubicBezTo>
                  <a:pt x="81" y="497"/>
                  <a:pt x="33" y="520"/>
                  <a:pt x="0" y="557"/>
                </a:cubicBezTo>
                <a:cubicBezTo>
                  <a:pt x="0" y="1026"/>
                  <a:pt x="0" y="1026"/>
                  <a:pt x="0" y="1026"/>
                </a:cubicBezTo>
                <a:cubicBezTo>
                  <a:pt x="0" y="1026"/>
                  <a:pt x="0" y="1026"/>
                  <a:pt x="0" y="1026"/>
                </a:cubicBezTo>
                <a:cubicBezTo>
                  <a:pt x="0" y="1448"/>
                  <a:pt x="0" y="1448"/>
                  <a:pt x="0" y="1448"/>
                </a:cubicBezTo>
                <a:cubicBezTo>
                  <a:pt x="1113" y="1448"/>
                  <a:pt x="1113" y="1448"/>
                  <a:pt x="1113" y="1448"/>
                </a:cubicBezTo>
                <a:cubicBezTo>
                  <a:pt x="1121" y="1426"/>
                  <a:pt x="1126" y="1403"/>
                  <a:pt x="1126" y="1378"/>
                </a:cubicBezTo>
                <a:cubicBezTo>
                  <a:pt x="1126" y="1317"/>
                  <a:pt x="1098" y="1263"/>
                  <a:pt x="1054" y="1227"/>
                </a:cubicBezTo>
                <a:cubicBezTo>
                  <a:pt x="1197" y="1209"/>
                  <a:pt x="1321" y="1180"/>
                  <a:pt x="1424" y="1142"/>
                </a:cubicBezTo>
                <a:cubicBezTo>
                  <a:pt x="1610" y="1073"/>
                  <a:pt x="1732" y="972"/>
                  <a:pt x="1786" y="843"/>
                </a:cubicBezTo>
                <a:cubicBezTo>
                  <a:pt x="1836" y="722"/>
                  <a:pt x="1826" y="581"/>
                  <a:pt x="1756" y="424"/>
                </a:cubicBez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3D72159A-31E1-41E3-8765-43BF95C9AF23}"/>
              </a:ext>
            </a:extLst>
          </p:cNvPr>
          <p:cNvSpPr/>
          <p:nvPr/>
        </p:nvSpPr>
        <p:spPr bwMode="auto">
          <a:xfrm>
            <a:off x="1175682" y="2727153"/>
            <a:ext cx="3589298" cy="2790951"/>
          </a:xfrm>
          <a:custGeom>
            <a:avLst/>
            <a:gdLst>
              <a:gd name="T0" fmla="*/ 1429 w 1862"/>
              <a:gd name="T1" fmla="*/ 0 h 1449"/>
              <a:gd name="T2" fmla="*/ 1400 w 1862"/>
              <a:gd name="T3" fmla="*/ 30 h 1449"/>
              <a:gd name="T4" fmla="*/ 1733 w 1862"/>
              <a:gd name="T5" fmla="*/ 809 h 1449"/>
              <a:gd name="T6" fmla="*/ 653 w 1862"/>
              <a:gd name="T7" fmla="*/ 1195 h 1449"/>
              <a:gd name="T8" fmla="*/ 653 w 1862"/>
              <a:gd name="T9" fmla="*/ 1187 h 1449"/>
              <a:gd name="T10" fmla="*/ 526 w 1862"/>
              <a:gd name="T11" fmla="*/ 1062 h 1449"/>
              <a:gd name="T12" fmla="*/ 465 w 1862"/>
              <a:gd name="T13" fmla="*/ 1078 h 1449"/>
              <a:gd name="T14" fmla="*/ 361 w 1862"/>
              <a:gd name="T15" fmla="*/ 1018 h 1449"/>
              <a:gd name="T16" fmla="*/ 361 w 1862"/>
              <a:gd name="T17" fmla="*/ 1017 h 1449"/>
              <a:gd name="T18" fmla="*/ 232 w 1862"/>
              <a:gd name="T19" fmla="*/ 891 h 1449"/>
              <a:gd name="T20" fmla="*/ 116 w 1862"/>
              <a:gd name="T21" fmla="*/ 968 h 1449"/>
              <a:gd name="T22" fmla="*/ 79 w 1862"/>
              <a:gd name="T23" fmla="*/ 962 h 1449"/>
              <a:gd name="T24" fmla="*/ 0 w 1862"/>
              <a:gd name="T25" fmla="*/ 998 h 1449"/>
              <a:gd name="T26" fmla="*/ 4 w 1862"/>
              <a:gd name="T27" fmla="*/ 1449 h 1449"/>
              <a:gd name="T28" fmla="*/ 773 w 1862"/>
              <a:gd name="T29" fmla="*/ 1443 h 1449"/>
              <a:gd name="T30" fmla="*/ 822 w 1862"/>
              <a:gd name="T31" fmla="*/ 1339 h 1449"/>
              <a:gd name="T32" fmla="*/ 768 w 1862"/>
              <a:gd name="T33" fmla="*/ 1233 h 1449"/>
              <a:gd name="T34" fmla="*/ 1421 w 1862"/>
              <a:gd name="T35" fmla="*/ 1120 h 1449"/>
              <a:gd name="T36" fmla="*/ 1772 w 1862"/>
              <a:gd name="T37" fmla="*/ 825 h 1449"/>
              <a:gd name="T38" fmla="*/ 1429 w 1862"/>
              <a:gd name="T39" fmla="*/ 0 h 14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862" h="1449">
                <a:moveTo>
                  <a:pt x="1429" y="0"/>
                </a:moveTo>
                <a:cubicBezTo>
                  <a:pt x="1400" y="30"/>
                  <a:pt x="1400" y="30"/>
                  <a:pt x="1400" y="30"/>
                </a:cubicBezTo>
                <a:cubicBezTo>
                  <a:pt x="1694" y="320"/>
                  <a:pt x="1816" y="604"/>
                  <a:pt x="1733" y="809"/>
                </a:cubicBezTo>
                <a:cubicBezTo>
                  <a:pt x="1636" y="1050"/>
                  <a:pt x="1263" y="1183"/>
                  <a:pt x="653" y="1195"/>
                </a:cubicBezTo>
                <a:cubicBezTo>
                  <a:pt x="653" y="1192"/>
                  <a:pt x="653" y="1190"/>
                  <a:pt x="653" y="1187"/>
                </a:cubicBezTo>
                <a:cubicBezTo>
                  <a:pt x="653" y="1117"/>
                  <a:pt x="596" y="1061"/>
                  <a:pt x="526" y="1062"/>
                </a:cubicBezTo>
                <a:cubicBezTo>
                  <a:pt x="504" y="1062"/>
                  <a:pt x="483" y="1068"/>
                  <a:pt x="465" y="1078"/>
                </a:cubicBezTo>
                <a:cubicBezTo>
                  <a:pt x="442" y="1044"/>
                  <a:pt x="404" y="1021"/>
                  <a:pt x="361" y="1018"/>
                </a:cubicBezTo>
                <a:cubicBezTo>
                  <a:pt x="361" y="1017"/>
                  <a:pt x="361" y="1017"/>
                  <a:pt x="361" y="1017"/>
                </a:cubicBezTo>
                <a:cubicBezTo>
                  <a:pt x="360" y="947"/>
                  <a:pt x="303" y="890"/>
                  <a:pt x="232" y="891"/>
                </a:cubicBezTo>
                <a:cubicBezTo>
                  <a:pt x="180" y="891"/>
                  <a:pt x="136" y="923"/>
                  <a:pt x="116" y="968"/>
                </a:cubicBezTo>
                <a:cubicBezTo>
                  <a:pt x="105" y="964"/>
                  <a:pt x="92" y="961"/>
                  <a:pt x="79" y="962"/>
                </a:cubicBezTo>
                <a:cubicBezTo>
                  <a:pt x="47" y="962"/>
                  <a:pt x="19" y="976"/>
                  <a:pt x="0" y="998"/>
                </a:cubicBezTo>
                <a:cubicBezTo>
                  <a:pt x="4" y="1449"/>
                  <a:pt x="4" y="1449"/>
                  <a:pt x="4" y="1449"/>
                </a:cubicBezTo>
                <a:cubicBezTo>
                  <a:pt x="773" y="1443"/>
                  <a:pt x="773" y="1443"/>
                  <a:pt x="773" y="1443"/>
                </a:cubicBezTo>
                <a:cubicBezTo>
                  <a:pt x="803" y="1418"/>
                  <a:pt x="822" y="1381"/>
                  <a:pt x="822" y="1339"/>
                </a:cubicBezTo>
                <a:cubicBezTo>
                  <a:pt x="822" y="1296"/>
                  <a:pt x="801" y="1257"/>
                  <a:pt x="768" y="1233"/>
                </a:cubicBezTo>
                <a:cubicBezTo>
                  <a:pt x="1037" y="1221"/>
                  <a:pt x="1255" y="1183"/>
                  <a:pt x="1421" y="1120"/>
                </a:cubicBezTo>
                <a:cubicBezTo>
                  <a:pt x="1603" y="1051"/>
                  <a:pt x="1721" y="952"/>
                  <a:pt x="1772" y="825"/>
                </a:cubicBezTo>
                <a:cubicBezTo>
                  <a:pt x="1862" y="603"/>
                  <a:pt x="1737" y="302"/>
                  <a:pt x="1429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997C5F1C-9CD4-4317-B8C9-BEBC5E5A6346}"/>
              </a:ext>
            </a:extLst>
          </p:cNvPr>
          <p:cNvSpPr/>
          <p:nvPr/>
        </p:nvSpPr>
        <p:spPr bwMode="auto">
          <a:xfrm>
            <a:off x="3656257" y="2578889"/>
            <a:ext cx="434202" cy="365773"/>
          </a:xfrm>
          <a:custGeom>
            <a:avLst/>
            <a:gdLst>
              <a:gd name="T0" fmla="*/ 0 w 225"/>
              <a:gd name="T1" fmla="*/ 34 h 190"/>
              <a:gd name="T2" fmla="*/ 65 w 225"/>
              <a:gd name="T3" fmla="*/ 153 h 190"/>
              <a:gd name="T4" fmla="*/ 225 w 225"/>
              <a:gd name="T5" fmla="*/ 190 h 190"/>
              <a:gd name="T6" fmla="*/ 34 w 225"/>
              <a:gd name="T7" fmla="*/ 0 h 190"/>
              <a:gd name="T8" fmla="*/ 0 w 225"/>
              <a:gd name="T9" fmla="*/ 34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5" h="190">
                <a:moveTo>
                  <a:pt x="0" y="34"/>
                </a:moveTo>
                <a:cubicBezTo>
                  <a:pt x="0" y="34"/>
                  <a:pt x="4" y="124"/>
                  <a:pt x="65" y="153"/>
                </a:cubicBezTo>
                <a:cubicBezTo>
                  <a:pt x="127" y="183"/>
                  <a:pt x="225" y="190"/>
                  <a:pt x="225" y="190"/>
                </a:cubicBezTo>
                <a:cubicBezTo>
                  <a:pt x="34" y="0"/>
                  <a:pt x="34" y="0"/>
                  <a:pt x="34" y="0"/>
                </a:cubicBezTo>
                <a:lnTo>
                  <a:pt x="0" y="34"/>
                </a:lnTo>
                <a:close/>
              </a:path>
            </a:pathLst>
          </a:custGeom>
          <a:solidFill>
            <a:srgbClr val="FF64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3164F4D1-2957-4538-ABC5-A4068B92BDFC}"/>
              </a:ext>
            </a:extLst>
          </p:cNvPr>
          <p:cNvSpPr/>
          <p:nvPr/>
        </p:nvSpPr>
        <p:spPr bwMode="auto">
          <a:xfrm>
            <a:off x="3681511" y="2578889"/>
            <a:ext cx="273719" cy="232987"/>
          </a:xfrm>
          <a:custGeom>
            <a:avLst/>
            <a:gdLst>
              <a:gd name="T0" fmla="*/ 0 w 142"/>
              <a:gd name="T1" fmla="*/ 22 h 121"/>
              <a:gd name="T2" fmla="*/ 41 w 142"/>
              <a:gd name="T3" fmla="*/ 98 h 121"/>
              <a:gd name="T4" fmla="*/ 142 w 142"/>
              <a:gd name="T5" fmla="*/ 121 h 121"/>
              <a:gd name="T6" fmla="*/ 21 w 142"/>
              <a:gd name="T7" fmla="*/ 0 h 121"/>
              <a:gd name="T8" fmla="*/ 0 w 142"/>
              <a:gd name="T9" fmla="*/ 22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2" h="121">
                <a:moveTo>
                  <a:pt x="0" y="22"/>
                </a:moveTo>
                <a:cubicBezTo>
                  <a:pt x="0" y="22"/>
                  <a:pt x="2" y="79"/>
                  <a:pt x="41" y="98"/>
                </a:cubicBezTo>
                <a:cubicBezTo>
                  <a:pt x="80" y="117"/>
                  <a:pt x="142" y="121"/>
                  <a:pt x="142" y="121"/>
                </a:cubicBezTo>
                <a:cubicBezTo>
                  <a:pt x="21" y="0"/>
                  <a:pt x="21" y="0"/>
                  <a:pt x="21" y="0"/>
                </a:cubicBezTo>
                <a:lnTo>
                  <a:pt x="0" y="22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049F4C66-C938-4511-8C55-A7933F1974DA}"/>
              </a:ext>
            </a:extLst>
          </p:cNvPr>
          <p:cNvSpPr/>
          <p:nvPr/>
        </p:nvSpPr>
        <p:spPr bwMode="auto">
          <a:xfrm>
            <a:off x="3722243" y="2512903"/>
            <a:ext cx="368217" cy="431758"/>
          </a:xfrm>
          <a:custGeom>
            <a:avLst/>
            <a:gdLst>
              <a:gd name="T0" fmla="*/ 34 w 191"/>
              <a:gd name="T1" fmla="*/ 0 h 224"/>
              <a:gd name="T2" fmla="*/ 153 w 191"/>
              <a:gd name="T3" fmla="*/ 65 h 224"/>
              <a:gd name="T4" fmla="*/ 191 w 191"/>
              <a:gd name="T5" fmla="*/ 224 h 224"/>
              <a:gd name="T6" fmla="*/ 0 w 191"/>
              <a:gd name="T7" fmla="*/ 34 h 224"/>
              <a:gd name="T8" fmla="*/ 34 w 191"/>
              <a:gd name="T9" fmla="*/ 0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91" h="224">
                <a:moveTo>
                  <a:pt x="34" y="0"/>
                </a:moveTo>
                <a:cubicBezTo>
                  <a:pt x="34" y="0"/>
                  <a:pt x="124" y="3"/>
                  <a:pt x="153" y="65"/>
                </a:cubicBezTo>
                <a:cubicBezTo>
                  <a:pt x="183" y="126"/>
                  <a:pt x="191" y="224"/>
                  <a:pt x="191" y="224"/>
                </a:cubicBezTo>
                <a:cubicBezTo>
                  <a:pt x="0" y="34"/>
                  <a:pt x="0" y="34"/>
                  <a:pt x="0" y="34"/>
                </a:cubicBezTo>
                <a:lnTo>
                  <a:pt x="34" y="0"/>
                </a:lnTo>
                <a:close/>
              </a:path>
            </a:pathLst>
          </a:custGeom>
          <a:solidFill>
            <a:srgbClr val="FF64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DC1C6EA6-E176-4042-A794-3D1696DA76A4}"/>
              </a:ext>
            </a:extLst>
          </p:cNvPr>
          <p:cNvSpPr/>
          <p:nvPr/>
        </p:nvSpPr>
        <p:spPr bwMode="auto">
          <a:xfrm>
            <a:off x="3722243" y="2536528"/>
            <a:ext cx="232987" cy="275348"/>
          </a:xfrm>
          <a:custGeom>
            <a:avLst/>
            <a:gdLst>
              <a:gd name="T0" fmla="*/ 22 w 121"/>
              <a:gd name="T1" fmla="*/ 0 h 143"/>
              <a:gd name="T2" fmla="*/ 98 w 121"/>
              <a:gd name="T3" fmla="*/ 42 h 143"/>
              <a:gd name="T4" fmla="*/ 121 w 121"/>
              <a:gd name="T5" fmla="*/ 143 h 143"/>
              <a:gd name="T6" fmla="*/ 0 w 121"/>
              <a:gd name="T7" fmla="*/ 22 h 143"/>
              <a:gd name="T8" fmla="*/ 22 w 121"/>
              <a:gd name="T9" fmla="*/ 0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1" h="143">
                <a:moveTo>
                  <a:pt x="22" y="0"/>
                </a:moveTo>
                <a:cubicBezTo>
                  <a:pt x="22" y="0"/>
                  <a:pt x="79" y="3"/>
                  <a:pt x="98" y="42"/>
                </a:cubicBezTo>
                <a:cubicBezTo>
                  <a:pt x="117" y="81"/>
                  <a:pt x="121" y="143"/>
                  <a:pt x="121" y="143"/>
                </a:cubicBezTo>
                <a:cubicBezTo>
                  <a:pt x="0" y="22"/>
                  <a:pt x="0" y="22"/>
                  <a:pt x="0" y="22"/>
                </a:cubicBezTo>
                <a:lnTo>
                  <a:pt x="22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3AF66E2E-7982-42B5-8965-128C4B9E40A1}"/>
              </a:ext>
            </a:extLst>
          </p:cNvPr>
          <p:cNvSpPr/>
          <p:nvPr/>
        </p:nvSpPr>
        <p:spPr bwMode="auto">
          <a:xfrm>
            <a:off x="2105185" y="944724"/>
            <a:ext cx="1543740" cy="1559218"/>
          </a:xfrm>
          <a:custGeom>
            <a:avLst/>
            <a:gdLst>
              <a:gd name="T0" fmla="*/ 789 w 801"/>
              <a:gd name="T1" fmla="*/ 809 h 809"/>
              <a:gd name="T2" fmla="*/ 785 w 801"/>
              <a:gd name="T3" fmla="*/ 808 h 809"/>
              <a:gd name="T4" fmla="*/ 775 w 801"/>
              <a:gd name="T5" fmla="*/ 805 h 809"/>
              <a:gd name="T6" fmla="*/ 739 w 801"/>
              <a:gd name="T7" fmla="*/ 791 h 809"/>
              <a:gd name="T8" fmla="*/ 686 w 801"/>
              <a:gd name="T9" fmla="*/ 766 h 809"/>
              <a:gd name="T10" fmla="*/ 623 w 801"/>
              <a:gd name="T11" fmla="*/ 729 h 809"/>
              <a:gd name="T12" fmla="*/ 588 w 801"/>
              <a:gd name="T13" fmla="*/ 706 h 809"/>
              <a:gd name="T14" fmla="*/ 553 w 801"/>
              <a:gd name="T15" fmla="*/ 679 h 809"/>
              <a:gd name="T16" fmla="*/ 482 w 801"/>
              <a:gd name="T17" fmla="*/ 617 h 809"/>
              <a:gd name="T18" fmla="*/ 450 w 801"/>
              <a:gd name="T19" fmla="*/ 580 h 809"/>
              <a:gd name="T20" fmla="*/ 418 w 801"/>
              <a:gd name="T21" fmla="*/ 539 h 809"/>
              <a:gd name="T22" fmla="*/ 354 w 801"/>
              <a:gd name="T23" fmla="*/ 457 h 809"/>
              <a:gd name="T24" fmla="*/ 287 w 801"/>
              <a:gd name="T25" fmla="*/ 377 h 809"/>
              <a:gd name="T26" fmla="*/ 223 w 801"/>
              <a:gd name="T27" fmla="*/ 299 h 809"/>
              <a:gd name="T28" fmla="*/ 164 w 801"/>
              <a:gd name="T29" fmla="*/ 225 h 809"/>
              <a:gd name="T30" fmla="*/ 137 w 801"/>
              <a:gd name="T31" fmla="*/ 190 h 809"/>
              <a:gd name="T32" fmla="*/ 112 w 801"/>
              <a:gd name="T33" fmla="*/ 158 h 809"/>
              <a:gd name="T34" fmla="*/ 68 w 801"/>
              <a:gd name="T35" fmla="*/ 101 h 809"/>
              <a:gd name="T36" fmla="*/ 50 w 801"/>
              <a:gd name="T37" fmla="*/ 77 h 809"/>
              <a:gd name="T38" fmla="*/ 35 w 801"/>
              <a:gd name="T39" fmla="*/ 57 h 809"/>
              <a:gd name="T40" fmla="*/ 14 w 801"/>
              <a:gd name="T41" fmla="*/ 28 h 809"/>
              <a:gd name="T42" fmla="*/ 6 w 801"/>
              <a:gd name="T43" fmla="*/ 18 h 809"/>
              <a:gd name="T44" fmla="*/ 6 w 801"/>
              <a:gd name="T45" fmla="*/ 5 h 809"/>
              <a:gd name="T46" fmla="*/ 19 w 801"/>
              <a:gd name="T47" fmla="*/ 6 h 809"/>
              <a:gd name="T48" fmla="*/ 29 w 801"/>
              <a:gd name="T49" fmla="*/ 13 h 809"/>
              <a:gd name="T50" fmla="*/ 57 w 801"/>
              <a:gd name="T51" fmla="*/ 35 h 809"/>
              <a:gd name="T52" fmla="*/ 78 w 801"/>
              <a:gd name="T53" fmla="*/ 50 h 809"/>
              <a:gd name="T54" fmla="*/ 101 w 801"/>
              <a:gd name="T55" fmla="*/ 69 h 809"/>
              <a:gd name="T56" fmla="*/ 158 w 801"/>
              <a:gd name="T57" fmla="*/ 113 h 809"/>
              <a:gd name="T58" fmla="*/ 190 w 801"/>
              <a:gd name="T59" fmla="*/ 139 h 809"/>
              <a:gd name="T60" fmla="*/ 224 w 801"/>
              <a:gd name="T61" fmla="*/ 166 h 809"/>
              <a:gd name="T62" fmla="*/ 297 w 801"/>
              <a:gd name="T63" fmla="*/ 226 h 809"/>
              <a:gd name="T64" fmla="*/ 375 w 801"/>
              <a:gd name="T65" fmla="*/ 290 h 809"/>
              <a:gd name="T66" fmla="*/ 454 w 801"/>
              <a:gd name="T67" fmla="*/ 358 h 809"/>
              <a:gd name="T68" fmla="*/ 536 w 801"/>
              <a:gd name="T69" fmla="*/ 423 h 809"/>
              <a:gd name="T70" fmla="*/ 576 w 801"/>
              <a:gd name="T71" fmla="*/ 455 h 809"/>
              <a:gd name="T72" fmla="*/ 613 w 801"/>
              <a:gd name="T73" fmla="*/ 488 h 809"/>
              <a:gd name="T74" fmla="*/ 674 w 801"/>
              <a:gd name="T75" fmla="*/ 559 h 809"/>
              <a:gd name="T76" fmla="*/ 700 w 801"/>
              <a:gd name="T77" fmla="*/ 595 h 809"/>
              <a:gd name="T78" fmla="*/ 723 w 801"/>
              <a:gd name="T79" fmla="*/ 629 h 809"/>
              <a:gd name="T80" fmla="*/ 760 w 801"/>
              <a:gd name="T81" fmla="*/ 693 h 809"/>
              <a:gd name="T82" fmla="*/ 784 w 801"/>
              <a:gd name="T83" fmla="*/ 746 h 809"/>
              <a:gd name="T84" fmla="*/ 797 w 801"/>
              <a:gd name="T85" fmla="*/ 783 h 809"/>
              <a:gd name="T86" fmla="*/ 800 w 801"/>
              <a:gd name="T87" fmla="*/ 793 h 809"/>
              <a:gd name="T88" fmla="*/ 801 w 801"/>
              <a:gd name="T89" fmla="*/ 796 h 809"/>
              <a:gd name="T90" fmla="*/ 789 w 801"/>
              <a:gd name="T91" fmla="*/ 809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01" h="809">
                <a:moveTo>
                  <a:pt x="789" y="809"/>
                </a:moveTo>
                <a:cubicBezTo>
                  <a:pt x="789" y="809"/>
                  <a:pt x="788" y="809"/>
                  <a:pt x="785" y="808"/>
                </a:cubicBezTo>
                <a:cubicBezTo>
                  <a:pt x="783" y="807"/>
                  <a:pt x="780" y="806"/>
                  <a:pt x="775" y="805"/>
                </a:cubicBezTo>
                <a:cubicBezTo>
                  <a:pt x="767" y="802"/>
                  <a:pt x="754" y="797"/>
                  <a:pt x="739" y="791"/>
                </a:cubicBezTo>
                <a:cubicBezTo>
                  <a:pt x="724" y="785"/>
                  <a:pt x="706" y="776"/>
                  <a:pt x="686" y="766"/>
                </a:cubicBezTo>
                <a:cubicBezTo>
                  <a:pt x="667" y="756"/>
                  <a:pt x="645" y="743"/>
                  <a:pt x="623" y="729"/>
                </a:cubicBezTo>
                <a:cubicBezTo>
                  <a:pt x="611" y="722"/>
                  <a:pt x="600" y="714"/>
                  <a:pt x="588" y="706"/>
                </a:cubicBezTo>
                <a:cubicBezTo>
                  <a:pt x="577" y="697"/>
                  <a:pt x="565" y="689"/>
                  <a:pt x="553" y="679"/>
                </a:cubicBezTo>
                <a:cubicBezTo>
                  <a:pt x="529" y="661"/>
                  <a:pt x="505" y="641"/>
                  <a:pt x="482" y="617"/>
                </a:cubicBezTo>
                <a:cubicBezTo>
                  <a:pt x="471" y="605"/>
                  <a:pt x="460" y="593"/>
                  <a:pt x="450" y="580"/>
                </a:cubicBezTo>
                <a:cubicBezTo>
                  <a:pt x="439" y="567"/>
                  <a:pt x="429" y="553"/>
                  <a:pt x="418" y="539"/>
                </a:cubicBezTo>
                <a:cubicBezTo>
                  <a:pt x="398" y="511"/>
                  <a:pt x="376" y="483"/>
                  <a:pt x="354" y="457"/>
                </a:cubicBezTo>
                <a:cubicBezTo>
                  <a:pt x="331" y="430"/>
                  <a:pt x="309" y="404"/>
                  <a:pt x="287" y="377"/>
                </a:cubicBezTo>
                <a:cubicBezTo>
                  <a:pt x="265" y="351"/>
                  <a:pt x="244" y="324"/>
                  <a:pt x="223" y="299"/>
                </a:cubicBezTo>
                <a:cubicBezTo>
                  <a:pt x="203" y="273"/>
                  <a:pt x="183" y="248"/>
                  <a:pt x="164" y="225"/>
                </a:cubicBezTo>
                <a:cubicBezTo>
                  <a:pt x="155" y="213"/>
                  <a:pt x="146" y="201"/>
                  <a:pt x="137" y="190"/>
                </a:cubicBezTo>
                <a:cubicBezTo>
                  <a:pt x="129" y="179"/>
                  <a:pt x="120" y="168"/>
                  <a:pt x="112" y="158"/>
                </a:cubicBezTo>
                <a:cubicBezTo>
                  <a:pt x="96" y="137"/>
                  <a:pt x="81" y="118"/>
                  <a:pt x="68" y="101"/>
                </a:cubicBezTo>
                <a:cubicBezTo>
                  <a:pt x="62" y="93"/>
                  <a:pt x="56" y="85"/>
                  <a:pt x="50" y="77"/>
                </a:cubicBezTo>
                <a:cubicBezTo>
                  <a:pt x="45" y="70"/>
                  <a:pt x="40" y="63"/>
                  <a:pt x="35" y="57"/>
                </a:cubicBezTo>
                <a:cubicBezTo>
                  <a:pt x="26" y="45"/>
                  <a:pt x="19" y="35"/>
                  <a:pt x="14" y="28"/>
                </a:cubicBezTo>
                <a:cubicBezTo>
                  <a:pt x="9" y="22"/>
                  <a:pt x="6" y="18"/>
                  <a:pt x="6" y="18"/>
                </a:cubicBezTo>
                <a:cubicBezTo>
                  <a:pt x="6" y="18"/>
                  <a:pt x="0" y="10"/>
                  <a:pt x="6" y="5"/>
                </a:cubicBezTo>
                <a:cubicBezTo>
                  <a:pt x="11" y="0"/>
                  <a:pt x="19" y="6"/>
                  <a:pt x="19" y="6"/>
                </a:cubicBezTo>
                <a:cubicBezTo>
                  <a:pt x="19" y="6"/>
                  <a:pt x="22" y="8"/>
                  <a:pt x="29" y="13"/>
                </a:cubicBezTo>
                <a:cubicBezTo>
                  <a:pt x="36" y="18"/>
                  <a:pt x="45" y="26"/>
                  <a:pt x="57" y="35"/>
                </a:cubicBezTo>
                <a:cubicBezTo>
                  <a:pt x="63" y="40"/>
                  <a:pt x="70" y="45"/>
                  <a:pt x="78" y="50"/>
                </a:cubicBezTo>
                <a:cubicBezTo>
                  <a:pt x="85" y="56"/>
                  <a:pt x="93" y="62"/>
                  <a:pt x="101" y="69"/>
                </a:cubicBezTo>
                <a:cubicBezTo>
                  <a:pt x="118" y="82"/>
                  <a:pt x="137" y="97"/>
                  <a:pt x="158" y="113"/>
                </a:cubicBezTo>
                <a:cubicBezTo>
                  <a:pt x="168" y="121"/>
                  <a:pt x="179" y="130"/>
                  <a:pt x="190" y="139"/>
                </a:cubicBezTo>
                <a:cubicBezTo>
                  <a:pt x="201" y="147"/>
                  <a:pt x="212" y="157"/>
                  <a:pt x="224" y="166"/>
                </a:cubicBezTo>
                <a:cubicBezTo>
                  <a:pt x="247" y="185"/>
                  <a:pt x="272" y="205"/>
                  <a:pt x="297" y="226"/>
                </a:cubicBezTo>
                <a:cubicBezTo>
                  <a:pt x="322" y="246"/>
                  <a:pt x="349" y="268"/>
                  <a:pt x="375" y="290"/>
                </a:cubicBezTo>
                <a:cubicBezTo>
                  <a:pt x="401" y="312"/>
                  <a:pt x="427" y="335"/>
                  <a:pt x="454" y="358"/>
                </a:cubicBezTo>
                <a:cubicBezTo>
                  <a:pt x="480" y="381"/>
                  <a:pt x="508" y="402"/>
                  <a:pt x="536" y="423"/>
                </a:cubicBezTo>
                <a:cubicBezTo>
                  <a:pt x="549" y="434"/>
                  <a:pt x="563" y="444"/>
                  <a:pt x="576" y="455"/>
                </a:cubicBezTo>
                <a:cubicBezTo>
                  <a:pt x="589" y="466"/>
                  <a:pt x="601" y="477"/>
                  <a:pt x="613" y="488"/>
                </a:cubicBezTo>
                <a:cubicBezTo>
                  <a:pt x="636" y="511"/>
                  <a:pt x="656" y="535"/>
                  <a:pt x="674" y="559"/>
                </a:cubicBezTo>
                <a:cubicBezTo>
                  <a:pt x="684" y="571"/>
                  <a:pt x="692" y="583"/>
                  <a:pt x="700" y="595"/>
                </a:cubicBezTo>
                <a:cubicBezTo>
                  <a:pt x="708" y="607"/>
                  <a:pt x="716" y="618"/>
                  <a:pt x="723" y="629"/>
                </a:cubicBezTo>
                <a:cubicBezTo>
                  <a:pt x="737" y="652"/>
                  <a:pt x="749" y="674"/>
                  <a:pt x="760" y="693"/>
                </a:cubicBezTo>
                <a:cubicBezTo>
                  <a:pt x="770" y="713"/>
                  <a:pt x="778" y="731"/>
                  <a:pt x="784" y="746"/>
                </a:cubicBezTo>
                <a:cubicBezTo>
                  <a:pt x="790" y="762"/>
                  <a:pt x="795" y="774"/>
                  <a:pt x="797" y="783"/>
                </a:cubicBezTo>
                <a:cubicBezTo>
                  <a:pt x="799" y="787"/>
                  <a:pt x="800" y="791"/>
                  <a:pt x="800" y="793"/>
                </a:cubicBezTo>
                <a:cubicBezTo>
                  <a:pt x="801" y="795"/>
                  <a:pt x="801" y="796"/>
                  <a:pt x="801" y="796"/>
                </a:cubicBezTo>
                <a:lnTo>
                  <a:pt x="789" y="80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037756F5-C25C-49DE-8110-57522FCA84E7}"/>
              </a:ext>
            </a:extLst>
          </p:cNvPr>
          <p:cNvSpPr/>
          <p:nvPr/>
        </p:nvSpPr>
        <p:spPr bwMode="auto">
          <a:xfrm>
            <a:off x="3613896" y="2261180"/>
            <a:ext cx="465159" cy="336446"/>
          </a:xfrm>
          <a:custGeom>
            <a:avLst/>
            <a:gdLst>
              <a:gd name="T0" fmla="*/ 0 w 241"/>
              <a:gd name="T1" fmla="*/ 0 h 175"/>
              <a:gd name="T2" fmla="*/ 160 w 241"/>
              <a:gd name="T3" fmla="*/ 58 h 175"/>
              <a:gd name="T4" fmla="*/ 241 w 241"/>
              <a:gd name="T5" fmla="*/ 175 h 175"/>
              <a:gd name="T6" fmla="*/ 74 w 241"/>
              <a:gd name="T7" fmla="*/ 98 h 175"/>
              <a:gd name="T8" fmla="*/ 0 w 241"/>
              <a:gd name="T9" fmla="*/ 0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1" h="175">
                <a:moveTo>
                  <a:pt x="0" y="0"/>
                </a:moveTo>
                <a:cubicBezTo>
                  <a:pt x="0" y="0"/>
                  <a:pt x="120" y="23"/>
                  <a:pt x="160" y="58"/>
                </a:cubicBezTo>
                <a:cubicBezTo>
                  <a:pt x="200" y="92"/>
                  <a:pt x="241" y="175"/>
                  <a:pt x="241" y="175"/>
                </a:cubicBezTo>
                <a:cubicBezTo>
                  <a:pt x="74" y="98"/>
                  <a:pt x="74" y="98"/>
                  <a:pt x="74" y="98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E0734743-3AE4-41DA-B20E-6F30F4954807}"/>
              </a:ext>
            </a:extLst>
          </p:cNvPr>
          <p:cNvSpPr/>
          <p:nvPr/>
        </p:nvSpPr>
        <p:spPr bwMode="auto">
          <a:xfrm>
            <a:off x="3406163" y="2464839"/>
            <a:ext cx="333187" cy="468417"/>
          </a:xfrm>
          <a:custGeom>
            <a:avLst/>
            <a:gdLst>
              <a:gd name="T0" fmla="*/ 0 w 173"/>
              <a:gd name="T1" fmla="*/ 0 h 243"/>
              <a:gd name="T2" fmla="*/ 57 w 173"/>
              <a:gd name="T3" fmla="*/ 161 h 243"/>
              <a:gd name="T4" fmla="*/ 173 w 173"/>
              <a:gd name="T5" fmla="*/ 243 h 243"/>
              <a:gd name="T6" fmla="*/ 98 w 173"/>
              <a:gd name="T7" fmla="*/ 75 h 243"/>
              <a:gd name="T8" fmla="*/ 0 w 173"/>
              <a:gd name="T9" fmla="*/ 0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243">
                <a:moveTo>
                  <a:pt x="0" y="0"/>
                </a:moveTo>
                <a:cubicBezTo>
                  <a:pt x="0" y="0"/>
                  <a:pt x="23" y="121"/>
                  <a:pt x="57" y="161"/>
                </a:cubicBezTo>
                <a:cubicBezTo>
                  <a:pt x="91" y="201"/>
                  <a:pt x="173" y="243"/>
                  <a:pt x="173" y="243"/>
                </a:cubicBezTo>
                <a:cubicBezTo>
                  <a:pt x="98" y="75"/>
                  <a:pt x="98" y="75"/>
                  <a:pt x="98" y="75"/>
                </a:cubicBezTo>
                <a:lnTo>
                  <a:pt x="0" y="0"/>
                </a:lnTo>
                <a:close/>
              </a:path>
            </a:pathLst>
          </a:custGeom>
          <a:solidFill>
            <a:srgbClr val="2E39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F6E1B278-0988-4C79-9F67-1904CE407A23}"/>
              </a:ext>
            </a:extLst>
          </p:cNvPr>
          <p:cNvSpPr/>
          <p:nvPr/>
        </p:nvSpPr>
        <p:spPr bwMode="auto">
          <a:xfrm>
            <a:off x="3554427" y="2409444"/>
            <a:ext cx="281050" cy="279421"/>
          </a:xfrm>
          <a:custGeom>
            <a:avLst/>
            <a:gdLst>
              <a:gd name="T0" fmla="*/ 138 w 146"/>
              <a:gd name="T1" fmla="*/ 9 h 145"/>
              <a:gd name="T2" fmla="*/ 138 w 146"/>
              <a:gd name="T3" fmla="*/ 39 h 145"/>
              <a:gd name="T4" fmla="*/ 38 w 146"/>
              <a:gd name="T5" fmla="*/ 137 h 145"/>
              <a:gd name="T6" fmla="*/ 8 w 146"/>
              <a:gd name="T7" fmla="*/ 137 h 145"/>
              <a:gd name="T8" fmla="*/ 8 w 146"/>
              <a:gd name="T9" fmla="*/ 107 h 145"/>
              <a:gd name="T10" fmla="*/ 107 w 146"/>
              <a:gd name="T11" fmla="*/ 8 h 145"/>
              <a:gd name="T12" fmla="*/ 138 w 146"/>
              <a:gd name="T13" fmla="*/ 9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46" h="145">
                <a:moveTo>
                  <a:pt x="138" y="9"/>
                </a:moveTo>
                <a:cubicBezTo>
                  <a:pt x="146" y="17"/>
                  <a:pt x="146" y="31"/>
                  <a:pt x="138" y="39"/>
                </a:cubicBezTo>
                <a:cubicBezTo>
                  <a:pt x="38" y="137"/>
                  <a:pt x="38" y="137"/>
                  <a:pt x="38" y="137"/>
                </a:cubicBezTo>
                <a:cubicBezTo>
                  <a:pt x="30" y="145"/>
                  <a:pt x="17" y="145"/>
                  <a:pt x="8" y="137"/>
                </a:cubicBezTo>
                <a:cubicBezTo>
                  <a:pt x="0" y="128"/>
                  <a:pt x="0" y="115"/>
                  <a:pt x="8" y="107"/>
                </a:cubicBezTo>
                <a:cubicBezTo>
                  <a:pt x="107" y="8"/>
                  <a:pt x="107" y="8"/>
                  <a:pt x="107" y="8"/>
                </a:cubicBezTo>
                <a:cubicBezTo>
                  <a:pt x="116" y="0"/>
                  <a:pt x="129" y="0"/>
                  <a:pt x="138" y="9"/>
                </a:cubicBez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97617906-875E-43A2-A598-E96E619BE8E9}"/>
              </a:ext>
            </a:extLst>
          </p:cNvPr>
          <p:cNvSpPr/>
          <p:nvPr/>
        </p:nvSpPr>
        <p:spPr bwMode="auto">
          <a:xfrm>
            <a:off x="3248123" y="2100696"/>
            <a:ext cx="325855" cy="324226"/>
          </a:xfrm>
          <a:custGeom>
            <a:avLst/>
            <a:gdLst>
              <a:gd name="T0" fmla="*/ 159 w 169"/>
              <a:gd name="T1" fmla="*/ 10 h 168"/>
              <a:gd name="T2" fmla="*/ 160 w 169"/>
              <a:gd name="T3" fmla="*/ 45 h 168"/>
              <a:gd name="T4" fmla="*/ 45 w 169"/>
              <a:gd name="T5" fmla="*/ 158 h 168"/>
              <a:gd name="T6" fmla="*/ 10 w 169"/>
              <a:gd name="T7" fmla="*/ 158 h 168"/>
              <a:gd name="T8" fmla="*/ 10 w 169"/>
              <a:gd name="T9" fmla="*/ 123 h 168"/>
              <a:gd name="T10" fmla="*/ 125 w 169"/>
              <a:gd name="T11" fmla="*/ 10 h 168"/>
              <a:gd name="T12" fmla="*/ 159 w 169"/>
              <a:gd name="T13" fmla="*/ 1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69" h="168">
                <a:moveTo>
                  <a:pt x="159" y="10"/>
                </a:moveTo>
                <a:cubicBezTo>
                  <a:pt x="169" y="20"/>
                  <a:pt x="169" y="36"/>
                  <a:pt x="160" y="45"/>
                </a:cubicBezTo>
                <a:cubicBezTo>
                  <a:pt x="45" y="158"/>
                  <a:pt x="45" y="158"/>
                  <a:pt x="45" y="158"/>
                </a:cubicBezTo>
                <a:cubicBezTo>
                  <a:pt x="35" y="168"/>
                  <a:pt x="20" y="167"/>
                  <a:pt x="10" y="158"/>
                </a:cubicBezTo>
                <a:cubicBezTo>
                  <a:pt x="1" y="148"/>
                  <a:pt x="0" y="132"/>
                  <a:pt x="10" y="123"/>
                </a:cubicBezTo>
                <a:cubicBezTo>
                  <a:pt x="125" y="10"/>
                  <a:pt x="125" y="10"/>
                  <a:pt x="125" y="10"/>
                </a:cubicBezTo>
                <a:cubicBezTo>
                  <a:pt x="134" y="0"/>
                  <a:pt x="150" y="1"/>
                  <a:pt x="159" y="10"/>
                </a:cubicBezTo>
                <a:close/>
              </a:path>
            </a:pathLst>
          </a:custGeom>
          <a:solidFill>
            <a:srgbClr val="E5E5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6931FA73-FC3A-42E7-AD48-3527C2FEF3E6}"/>
              </a:ext>
            </a:extLst>
          </p:cNvPr>
          <p:cNvSpPr/>
          <p:nvPr/>
        </p:nvSpPr>
        <p:spPr bwMode="auto">
          <a:xfrm>
            <a:off x="3334475" y="2187862"/>
            <a:ext cx="426056" cy="427685"/>
          </a:xfrm>
          <a:custGeom>
            <a:avLst/>
            <a:gdLst>
              <a:gd name="T0" fmla="*/ 0 w 523"/>
              <a:gd name="T1" fmla="*/ 267 h 525"/>
              <a:gd name="T2" fmla="*/ 289 w 523"/>
              <a:gd name="T3" fmla="*/ 525 h 525"/>
              <a:gd name="T4" fmla="*/ 523 w 523"/>
              <a:gd name="T5" fmla="*/ 291 h 525"/>
              <a:gd name="T6" fmla="*/ 272 w 523"/>
              <a:gd name="T7" fmla="*/ 0 h 525"/>
              <a:gd name="T8" fmla="*/ 0 w 523"/>
              <a:gd name="T9" fmla="*/ 267 h 5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23" h="525">
                <a:moveTo>
                  <a:pt x="0" y="267"/>
                </a:moveTo>
                <a:lnTo>
                  <a:pt x="289" y="525"/>
                </a:lnTo>
                <a:lnTo>
                  <a:pt x="523" y="291"/>
                </a:lnTo>
                <a:lnTo>
                  <a:pt x="272" y="0"/>
                </a:lnTo>
                <a:lnTo>
                  <a:pt x="0" y="267"/>
                </a:lnTo>
                <a:close/>
              </a:path>
            </a:pathLst>
          </a:custGeom>
          <a:solidFill>
            <a:srgbClr val="CBCB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0" name="任意多边形: 形状 69">
            <a:extLst>
              <a:ext uri="{FF2B5EF4-FFF2-40B4-BE49-F238E27FC236}">
                <a16:creationId xmlns:a16="http://schemas.microsoft.com/office/drawing/2014/main" id="{B483CA0E-9458-4F55-BEC6-6723E99D95C9}"/>
              </a:ext>
            </a:extLst>
          </p:cNvPr>
          <p:cNvSpPr/>
          <p:nvPr/>
        </p:nvSpPr>
        <p:spPr bwMode="auto">
          <a:xfrm>
            <a:off x="3496588" y="2353234"/>
            <a:ext cx="416280" cy="416280"/>
          </a:xfrm>
          <a:custGeom>
            <a:avLst/>
            <a:gdLst>
              <a:gd name="T0" fmla="*/ 3 w 216"/>
              <a:gd name="T1" fmla="*/ 0 h 216"/>
              <a:gd name="T2" fmla="*/ 6 w 216"/>
              <a:gd name="T3" fmla="*/ 2 h 216"/>
              <a:gd name="T4" fmla="*/ 15 w 216"/>
              <a:gd name="T5" fmla="*/ 6 h 216"/>
              <a:gd name="T6" fmla="*/ 44 w 216"/>
              <a:gd name="T7" fmla="*/ 25 h 216"/>
              <a:gd name="T8" fmla="*/ 53 w 216"/>
              <a:gd name="T9" fmla="*/ 32 h 216"/>
              <a:gd name="T10" fmla="*/ 63 w 216"/>
              <a:gd name="T11" fmla="*/ 39 h 216"/>
              <a:gd name="T12" fmla="*/ 81 w 216"/>
              <a:gd name="T13" fmla="*/ 57 h 216"/>
              <a:gd name="T14" fmla="*/ 91 w 216"/>
              <a:gd name="T15" fmla="*/ 67 h 216"/>
              <a:gd name="T16" fmla="*/ 100 w 216"/>
              <a:gd name="T17" fmla="*/ 77 h 216"/>
              <a:gd name="T18" fmla="*/ 118 w 216"/>
              <a:gd name="T19" fmla="*/ 99 h 216"/>
              <a:gd name="T20" fmla="*/ 137 w 216"/>
              <a:gd name="T21" fmla="*/ 120 h 216"/>
              <a:gd name="T22" fmla="*/ 155 w 216"/>
              <a:gd name="T23" fmla="*/ 140 h 216"/>
              <a:gd name="T24" fmla="*/ 171 w 216"/>
              <a:gd name="T25" fmla="*/ 160 h 216"/>
              <a:gd name="T26" fmla="*/ 186 w 216"/>
              <a:gd name="T27" fmla="*/ 177 h 216"/>
              <a:gd name="T28" fmla="*/ 199 w 216"/>
              <a:gd name="T29" fmla="*/ 192 h 216"/>
              <a:gd name="T30" fmla="*/ 208 w 216"/>
              <a:gd name="T31" fmla="*/ 204 h 216"/>
              <a:gd name="T32" fmla="*/ 216 w 216"/>
              <a:gd name="T33" fmla="*/ 214 h 216"/>
              <a:gd name="T34" fmla="*/ 214 w 216"/>
              <a:gd name="T35" fmla="*/ 216 h 216"/>
              <a:gd name="T36" fmla="*/ 204 w 216"/>
              <a:gd name="T37" fmla="*/ 208 h 216"/>
              <a:gd name="T38" fmla="*/ 192 w 216"/>
              <a:gd name="T39" fmla="*/ 198 h 216"/>
              <a:gd name="T40" fmla="*/ 178 w 216"/>
              <a:gd name="T41" fmla="*/ 186 h 216"/>
              <a:gd name="T42" fmla="*/ 160 w 216"/>
              <a:gd name="T43" fmla="*/ 171 h 216"/>
              <a:gd name="T44" fmla="*/ 141 w 216"/>
              <a:gd name="T45" fmla="*/ 154 h 216"/>
              <a:gd name="T46" fmla="*/ 120 w 216"/>
              <a:gd name="T47" fmla="*/ 136 h 216"/>
              <a:gd name="T48" fmla="*/ 99 w 216"/>
              <a:gd name="T49" fmla="*/ 118 h 216"/>
              <a:gd name="T50" fmla="*/ 77 w 216"/>
              <a:gd name="T51" fmla="*/ 99 h 216"/>
              <a:gd name="T52" fmla="*/ 67 w 216"/>
              <a:gd name="T53" fmla="*/ 91 h 216"/>
              <a:gd name="T54" fmla="*/ 57 w 216"/>
              <a:gd name="T55" fmla="*/ 81 h 216"/>
              <a:gd name="T56" fmla="*/ 39 w 216"/>
              <a:gd name="T57" fmla="*/ 63 h 216"/>
              <a:gd name="T58" fmla="*/ 32 w 216"/>
              <a:gd name="T59" fmla="*/ 53 h 216"/>
              <a:gd name="T60" fmla="*/ 25 w 216"/>
              <a:gd name="T61" fmla="*/ 44 h 216"/>
              <a:gd name="T62" fmla="*/ 6 w 216"/>
              <a:gd name="T63" fmla="*/ 15 h 216"/>
              <a:gd name="T64" fmla="*/ 2 w 216"/>
              <a:gd name="T65" fmla="*/ 6 h 216"/>
              <a:gd name="T66" fmla="*/ 0 w 216"/>
              <a:gd name="T67" fmla="*/ 3 h 216"/>
              <a:gd name="T68" fmla="*/ 3 w 216"/>
              <a:gd name="T69" fmla="*/ 0 h 2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16" h="216">
                <a:moveTo>
                  <a:pt x="3" y="0"/>
                </a:moveTo>
                <a:cubicBezTo>
                  <a:pt x="3" y="0"/>
                  <a:pt x="4" y="1"/>
                  <a:pt x="6" y="2"/>
                </a:cubicBezTo>
                <a:cubicBezTo>
                  <a:pt x="8" y="3"/>
                  <a:pt x="11" y="4"/>
                  <a:pt x="15" y="6"/>
                </a:cubicBezTo>
                <a:cubicBezTo>
                  <a:pt x="22" y="11"/>
                  <a:pt x="33" y="17"/>
                  <a:pt x="44" y="25"/>
                </a:cubicBezTo>
                <a:cubicBezTo>
                  <a:pt x="47" y="27"/>
                  <a:pt x="50" y="30"/>
                  <a:pt x="53" y="32"/>
                </a:cubicBezTo>
                <a:cubicBezTo>
                  <a:pt x="56" y="34"/>
                  <a:pt x="59" y="37"/>
                  <a:pt x="63" y="39"/>
                </a:cubicBezTo>
                <a:cubicBezTo>
                  <a:pt x="69" y="45"/>
                  <a:pt x="75" y="50"/>
                  <a:pt x="81" y="57"/>
                </a:cubicBezTo>
                <a:cubicBezTo>
                  <a:pt x="85" y="60"/>
                  <a:pt x="88" y="63"/>
                  <a:pt x="91" y="67"/>
                </a:cubicBezTo>
                <a:cubicBezTo>
                  <a:pt x="94" y="70"/>
                  <a:pt x="97" y="74"/>
                  <a:pt x="100" y="77"/>
                </a:cubicBezTo>
                <a:cubicBezTo>
                  <a:pt x="105" y="84"/>
                  <a:pt x="112" y="92"/>
                  <a:pt x="118" y="99"/>
                </a:cubicBezTo>
                <a:cubicBezTo>
                  <a:pt x="124" y="106"/>
                  <a:pt x="130" y="113"/>
                  <a:pt x="137" y="120"/>
                </a:cubicBezTo>
                <a:cubicBezTo>
                  <a:pt x="143" y="127"/>
                  <a:pt x="149" y="134"/>
                  <a:pt x="155" y="140"/>
                </a:cubicBezTo>
                <a:cubicBezTo>
                  <a:pt x="160" y="147"/>
                  <a:pt x="166" y="154"/>
                  <a:pt x="171" y="160"/>
                </a:cubicBezTo>
                <a:cubicBezTo>
                  <a:pt x="177" y="166"/>
                  <a:pt x="182" y="172"/>
                  <a:pt x="186" y="177"/>
                </a:cubicBezTo>
                <a:cubicBezTo>
                  <a:pt x="191" y="183"/>
                  <a:pt x="195" y="188"/>
                  <a:pt x="199" y="192"/>
                </a:cubicBezTo>
                <a:cubicBezTo>
                  <a:pt x="202" y="197"/>
                  <a:pt x="206" y="200"/>
                  <a:pt x="208" y="204"/>
                </a:cubicBezTo>
                <a:cubicBezTo>
                  <a:pt x="213" y="210"/>
                  <a:pt x="216" y="214"/>
                  <a:pt x="216" y="214"/>
                </a:cubicBezTo>
                <a:cubicBezTo>
                  <a:pt x="214" y="216"/>
                  <a:pt x="214" y="216"/>
                  <a:pt x="214" y="216"/>
                </a:cubicBezTo>
                <a:cubicBezTo>
                  <a:pt x="214" y="216"/>
                  <a:pt x="210" y="213"/>
                  <a:pt x="204" y="208"/>
                </a:cubicBezTo>
                <a:cubicBezTo>
                  <a:pt x="201" y="205"/>
                  <a:pt x="197" y="202"/>
                  <a:pt x="192" y="198"/>
                </a:cubicBezTo>
                <a:cubicBezTo>
                  <a:pt x="188" y="195"/>
                  <a:pt x="183" y="190"/>
                  <a:pt x="178" y="186"/>
                </a:cubicBezTo>
                <a:cubicBezTo>
                  <a:pt x="172" y="181"/>
                  <a:pt x="166" y="176"/>
                  <a:pt x="160" y="171"/>
                </a:cubicBezTo>
                <a:cubicBezTo>
                  <a:pt x="154" y="166"/>
                  <a:pt x="147" y="160"/>
                  <a:pt x="141" y="154"/>
                </a:cubicBezTo>
                <a:cubicBezTo>
                  <a:pt x="134" y="149"/>
                  <a:pt x="127" y="143"/>
                  <a:pt x="120" y="136"/>
                </a:cubicBezTo>
                <a:cubicBezTo>
                  <a:pt x="113" y="130"/>
                  <a:pt x="106" y="124"/>
                  <a:pt x="99" y="118"/>
                </a:cubicBezTo>
                <a:cubicBezTo>
                  <a:pt x="92" y="111"/>
                  <a:pt x="84" y="105"/>
                  <a:pt x="77" y="99"/>
                </a:cubicBezTo>
                <a:cubicBezTo>
                  <a:pt x="74" y="96"/>
                  <a:pt x="70" y="94"/>
                  <a:pt x="67" y="91"/>
                </a:cubicBezTo>
                <a:cubicBezTo>
                  <a:pt x="63" y="88"/>
                  <a:pt x="60" y="85"/>
                  <a:pt x="57" y="81"/>
                </a:cubicBezTo>
                <a:cubicBezTo>
                  <a:pt x="50" y="75"/>
                  <a:pt x="45" y="69"/>
                  <a:pt x="39" y="63"/>
                </a:cubicBezTo>
                <a:cubicBezTo>
                  <a:pt x="37" y="59"/>
                  <a:pt x="34" y="56"/>
                  <a:pt x="32" y="53"/>
                </a:cubicBezTo>
                <a:cubicBezTo>
                  <a:pt x="30" y="50"/>
                  <a:pt x="27" y="47"/>
                  <a:pt x="25" y="44"/>
                </a:cubicBezTo>
                <a:cubicBezTo>
                  <a:pt x="17" y="33"/>
                  <a:pt x="11" y="23"/>
                  <a:pt x="6" y="15"/>
                </a:cubicBezTo>
                <a:cubicBezTo>
                  <a:pt x="4" y="11"/>
                  <a:pt x="3" y="8"/>
                  <a:pt x="2" y="6"/>
                </a:cubicBezTo>
                <a:cubicBezTo>
                  <a:pt x="1" y="4"/>
                  <a:pt x="0" y="3"/>
                  <a:pt x="0" y="3"/>
                </a:cubicBezTo>
                <a:lnTo>
                  <a:pt x="3" y="0"/>
                </a:lnTo>
                <a:close/>
              </a:path>
            </a:pathLst>
          </a:custGeom>
          <a:solidFill>
            <a:srgbClr val="2E39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A3490314-79A6-4EC8-A582-0CEDA4558337}"/>
              </a:ext>
            </a:extLst>
          </p:cNvPr>
          <p:cNvSpPr/>
          <p:nvPr/>
        </p:nvSpPr>
        <p:spPr bwMode="auto">
          <a:xfrm>
            <a:off x="2106814" y="958573"/>
            <a:ext cx="1528262" cy="1545369"/>
          </a:xfrm>
          <a:custGeom>
            <a:avLst/>
            <a:gdLst>
              <a:gd name="T0" fmla="*/ 4 w 793"/>
              <a:gd name="T1" fmla="*/ 0 h 802"/>
              <a:gd name="T2" fmla="*/ 5 w 793"/>
              <a:gd name="T3" fmla="*/ 11 h 802"/>
              <a:gd name="T4" fmla="*/ 13 w 793"/>
              <a:gd name="T5" fmla="*/ 21 h 802"/>
              <a:gd name="T6" fmla="*/ 34 w 793"/>
              <a:gd name="T7" fmla="*/ 50 h 802"/>
              <a:gd name="T8" fmla="*/ 49 w 793"/>
              <a:gd name="T9" fmla="*/ 70 h 802"/>
              <a:gd name="T10" fmla="*/ 67 w 793"/>
              <a:gd name="T11" fmla="*/ 94 h 802"/>
              <a:gd name="T12" fmla="*/ 111 w 793"/>
              <a:gd name="T13" fmla="*/ 151 h 802"/>
              <a:gd name="T14" fmla="*/ 136 w 793"/>
              <a:gd name="T15" fmla="*/ 183 h 802"/>
              <a:gd name="T16" fmla="*/ 163 w 793"/>
              <a:gd name="T17" fmla="*/ 218 h 802"/>
              <a:gd name="T18" fmla="*/ 222 w 793"/>
              <a:gd name="T19" fmla="*/ 292 h 802"/>
              <a:gd name="T20" fmla="*/ 286 w 793"/>
              <a:gd name="T21" fmla="*/ 370 h 802"/>
              <a:gd name="T22" fmla="*/ 353 w 793"/>
              <a:gd name="T23" fmla="*/ 450 h 802"/>
              <a:gd name="T24" fmla="*/ 417 w 793"/>
              <a:gd name="T25" fmla="*/ 532 h 802"/>
              <a:gd name="T26" fmla="*/ 449 w 793"/>
              <a:gd name="T27" fmla="*/ 573 h 802"/>
              <a:gd name="T28" fmla="*/ 481 w 793"/>
              <a:gd name="T29" fmla="*/ 610 h 802"/>
              <a:gd name="T30" fmla="*/ 552 w 793"/>
              <a:gd name="T31" fmla="*/ 672 h 802"/>
              <a:gd name="T32" fmla="*/ 587 w 793"/>
              <a:gd name="T33" fmla="*/ 699 h 802"/>
              <a:gd name="T34" fmla="*/ 622 w 793"/>
              <a:gd name="T35" fmla="*/ 722 h 802"/>
              <a:gd name="T36" fmla="*/ 685 w 793"/>
              <a:gd name="T37" fmla="*/ 759 h 802"/>
              <a:gd name="T38" fmla="*/ 738 w 793"/>
              <a:gd name="T39" fmla="*/ 784 h 802"/>
              <a:gd name="T40" fmla="*/ 774 w 793"/>
              <a:gd name="T41" fmla="*/ 798 h 802"/>
              <a:gd name="T42" fmla="*/ 784 w 793"/>
              <a:gd name="T43" fmla="*/ 801 h 802"/>
              <a:gd name="T44" fmla="*/ 788 w 793"/>
              <a:gd name="T45" fmla="*/ 802 h 802"/>
              <a:gd name="T46" fmla="*/ 793 w 793"/>
              <a:gd name="T47" fmla="*/ 797 h 802"/>
              <a:gd name="T48" fmla="*/ 4 w 793"/>
              <a:gd name="T49" fmla="*/ 0 h 8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3" h="802">
                <a:moveTo>
                  <a:pt x="4" y="0"/>
                </a:moveTo>
                <a:cubicBezTo>
                  <a:pt x="0" y="5"/>
                  <a:pt x="5" y="11"/>
                  <a:pt x="5" y="11"/>
                </a:cubicBezTo>
                <a:cubicBezTo>
                  <a:pt x="5" y="11"/>
                  <a:pt x="8" y="15"/>
                  <a:pt x="13" y="21"/>
                </a:cubicBezTo>
                <a:cubicBezTo>
                  <a:pt x="18" y="28"/>
                  <a:pt x="25" y="38"/>
                  <a:pt x="34" y="50"/>
                </a:cubicBezTo>
                <a:cubicBezTo>
                  <a:pt x="39" y="56"/>
                  <a:pt x="44" y="63"/>
                  <a:pt x="49" y="70"/>
                </a:cubicBezTo>
                <a:cubicBezTo>
                  <a:pt x="55" y="78"/>
                  <a:pt x="61" y="86"/>
                  <a:pt x="67" y="94"/>
                </a:cubicBezTo>
                <a:cubicBezTo>
                  <a:pt x="80" y="111"/>
                  <a:pt x="95" y="130"/>
                  <a:pt x="111" y="151"/>
                </a:cubicBezTo>
                <a:cubicBezTo>
                  <a:pt x="119" y="161"/>
                  <a:pt x="128" y="172"/>
                  <a:pt x="136" y="183"/>
                </a:cubicBezTo>
                <a:cubicBezTo>
                  <a:pt x="145" y="194"/>
                  <a:pt x="154" y="206"/>
                  <a:pt x="163" y="218"/>
                </a:cubicBezTo>
                <a:cubicBezTo>
                  <a:pt x="182" y="241"/>
                  <a:pt x="202" y="266"/>
                  <a:pt x="222" y="292"/>
                </a:cubicBezTo>
                <a:cubicBezTo>
                  <a:pt x="243" y="317"/>
                  <a:pt x="264" y="344"/>
                  <a:pt x="286" y="370"/>
                </a:cubicBezTo>
                <a:cubicBezTo>
                  <a:pt x="308" y="397"/>
                  <a:pt x="330" y="423"/>
                  <a:pt x="353" y="450"/>
                </a:cubicBezTo>
                <a:cubicBezTo>
                  <a:pt x="375" y="476"/>
                  <a:pt x="397" y="504"/>
                  <a:pt x="417" y="532"/>
                </a:cubicBezTo>
                <a:cubicBezTo>
                  <a:pt x="428" y="546"/>
                  <a:pt x="438" y="560"/>
                  <a:pt x="449" y="573"/>
                </a:cubicBezTo>
                <a:cubicBezTo>
                  <a:pt x="459" y="586"/>
                  <a:pt x="470" y="598"/>
                  <a:pt x="481" y="610"/>
                </a:cubicBezTo>
                <a:cubicBezTo>
                  <a:pt x="504" y="634"/>
                  <a:pt x="528" y="654"/>
                  <a:pt x="552" y="672"/>
                </a:cubicBezTo>
                <a:cubicBezTo>
                  <a:pt x="564" y="682"/>
                  <a:pt x="576" y="690"/>
                  <a:pt x="587" y="699"/>
                </a:cubicBezTo>
                <a:cubicBezTo>
                  <a:pt x="599" y="707"/>
                  <a:pt x="610" y="715"/>
                  <a:pt x="622" y="722"/>
                </a:cubicBezTo>
                <a:cubicBezTo>
                  <a:pt x="644" y="736"/>
                  <a:pt x="666" y="749"/>
                  <a:pt x="685" y="759"/>
                </a:cubicBezTo>
                <a:cubicBezTo>
                  <a:pt x="705" y="769"/>
                  <a:pt x="723" y="778"/>
                  <a:pt x="738" y="784"/>
                </a:cubicBezTo>
                <a:cubicBezTo>
                  <a:pt x="753" y="790"/>
                  <a:pt x="766" y="795"/>
                  <a:pt x="774" y="798"/>
                </a:cubicBezTo>
                <a:cubicBezTo>
                  <a:pt x="779" y="799"/>
                  <a:pt x="782" y="800"/>
                  <a:pt x="784" y="801"/>
                </a:cubicBezTo>
                <a:cubicBezTo>
                  <a:pt x="787" y="802"/>
                  <a:pt x="788" y="802"/>
                  <a:pt x="788" y="802"/>
                </a:cubicBezTo>
                <a:cubicBezTo>
                  <a:pt x="793" y="797"/>
                  <a:pt x="793" y="797"/>
                  <a:pt x="793" y="797"/>
                </a:cubicBezTo>
                <a:lnTo>
                  <a:pt x="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2" name="任意多边形: 形状 71">
            <a:extLst>
              <a:ext uri="{FF2B5EF4-FFF2-40B4-BE49-F238E27FC236}">
                <a16:creationId xmlns:a16="http://schemas.microsoft.com/office/drawing/2014/main" id="{8E858E0C-1450-4A25-982E-A5645430C31D}"/>
              </a:ext>
            </a:extLst>
          </p:cNvPr>
          <p:cNvSpPr/>
          <p:nvPr/>
        </p:nvSpPr>
        <p:spPr bwMode="auto">
          <a:xfrm>
            <a:off x="3406163" y="2464839"/>
            <a:ext cx="333187" cy="468417"/>
          </a:xfrm>
          <a:custGeom>
            <a:avLst/>
            <a:gdLst>
              <a:gd name="T0" fmla="*/ 0 w 173"/>
              <a:gd name="T1" fmla="*/ 0 h 243"/>
              <a:gd name="T2" fmla="*/ 57 w 173"/>
              <a:gd name="T3" fmla="*/ 161 h 243"/>
              <a:gd name="T4" fmla="*/ 173 w 173"/>
              <a:gd name="T5" fmla="*/ 243 h 243"/>
              <a:gd name="T6" fmla="*/ 98 w 173"/>
              <a:gd name="T7" fmla="*/ 75 h 243"/>
              <a:gd name="T8" fmla="*/ 0 w 173"/>
              <a:gd name="T9" fmla="*/ 0 h 2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3" h="243">
                <a:moveTo>
                  <a:pt x="0" y="0"/>
                </a:moveTo>
                <a:cubicBezTo>
                  <a:pt x="0" y="0"/>
                  <a:pt x="23" y="121"/>
                  <a:pt x="57" y="161"/>
                </a:cubicBezTo>
                <a:cubicBezTo>
                  <a:pt x="91" y="201"/>
                  <a:pt x="173" y="243"/>
                  <a:pt x="173" y="243"/>
                </a:cubicBezTo>
                <a:cubicBezTo>
                  <a:pt x="98" y="75"/>
                  <a:pt x="98" y="75"/>
                  <a:pt x="98" y="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3" name="任意多边形: 形状 72">
            <a:extLst>
              <a:ext uri="{FF2B5EF4-FFF2-40B4-BE49-F238E27FC236}">
                <a16:creationId xmlns:a16="http://schemas.microsoft.com/office/drawing/2014/main" id="{4C8C5E50-A7A8-4172-903D-08B212002E45}"/>
              </a:ext>
            </a:extLst>
          </p:cNvPr>
          <p:cNvSpPr/>
          <p:nvPr/>
        </p:nvSpPr>
        <p:spPr bwMode="auto">
          <a:xfrm>
            <a:off x="3554427" y="2522679"/>
            <a:ext cx="167816" cy="166186"/>
          </a:xfrm>
          <a:custGeom>
            <a:avLst/>
            <a:gdLst>
              <a:gd name="T0" fmla="*/ 56 w 87"/>
              <a:gd name="T1" fmla="*/ 0 h 86"/>
              <a:gd name="T2" fmla="*/ 8 w 87"/>
              <a:gd name="T3" fmla="*/ 48 h 86"/>
              <a:gd name="T4" fmla="*/ 8 w 87"/>
              <a:gd name="T5" fmla="*/ 78 h 86"/>
              <a:gd name="T6" fmla="*/ 38 w 87"/>
              <a:gd name="T7" fmla="*/ 78 h 86"/>
              <a:gd name="T8" fmla="*/ 87 w 87"/>
              <a:gd name="T9" fmla="*/ 30 h 86"/>
              <a:gd name="T10" fmla="*/ 56 w 87"/>
              <a:gd name="T11" fmla="*/ 0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" h="86">
                <a:moveTo>
                  <a:pt x="56" y="0"/>
                </a:moveTo>
                <a:cubicBezTo>
                  <a:pt x="8" y="48"/>
                  <a:pt x="8" y="48"/>
                  <a:pt x="8" y="48"/>
                </a:cubicBezTo>
                <a:cubicBezTo>
                  <a:pt x="0" y="56"/>
                  <a:pt x="0" y="69"/>
                  <a:pt x="8" y="78"/>
                </a:cubicBezTo>
                <a:cubicBezTo>
                  <a:pt x="17" y="86"/>
                  <a:pt x="30" y="86"/>
                  <a:pt x="38" y="78"/>
                </a:cubicBezTo>
                <a:cubicBezTo>
                  <a:pt x="87" y="30"/>
                  <a:pt x="87" y="30"/>
                  <a:pt x="87" y="30"/>
                </a:cubicBezTo>
                <a:lnTo>
                  <a:pt x="56" y="0"/>
                </a:lnTo>
                <a:close/>
              </a:path>
            </a:pathLst>
          </a:custGeom>
          <a:solidFill>
            <a:srgbClr val="CBCB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4" name="任意多边形: 形状 73">
            <a:extLst>
              <a:ext uri="{FF2B5EF4-FFF2-40B4-BE49-F238E27FC236}">
                <a16:creationId xmlns:a16="http://schemas.microsoft.com/office/drawing/2014/main" id="{7E54766F-A87E-4B2C-B385-44E0D01884D8}"/>
              </a:ext>
            </a:extLst>
          </p:cNvPr>
          <p:cNvSpPr/>
          <p:nvPr/>
        </p:nvSpPr>
        <p:spPr bwMode="auto">
          <a:xfrm>
            <a:off x="3248123" y="2231853"/>
            <a:ext cx="194699" cy="193069"/>
          </a:xfrm>
          <a:custGeom>
            <a:avLst/>
            <a:gdLst>
              <a:gd name="T0" fmla="*/ 66 w 101"/>
              <a:gd name="T1" fmla="*/ 0 h 100"/>
              <a:gd name="T2" fmla="*/ 10 w 101"/>
              <a:gd name="T3" fmla="*/ 55 h 100"/>
              <a:gd name="T4" fmla="*/ 10 w 101"/>
              <a:gd name="T5" fmla="*/ 90 h 100"/>
              <a:gd name="T6" fmla="*/ 45 w 101"/>
              <a:gd name="T7" fmla="*/ 90 h 100"/>
              <a:gd name="T8" fmla="*/ 101 w 101"/>
              <a:gd name="T9" fmla="*/ 35 h 100"/>
              <a:gd name="T10" fmla="*/ 66 w 101"/>
              <a:gd name="T11" fmla="*/ 0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01" h="100">
                <a:moveTo>
                  <a:pt x="66" y="0"/>
                </a:moveTo>
                <a:cubicBezTo>
                  <a:pt x="10" y="55"/>
                  <a:pt x="10" y="55"/>
                  <a:pt x="10" y="55"/>
                </a:cubicBezTo>
                <a:cubicBezTo>
                  <a:pt x="0" y="64"/>
                  <a:pt x="1" y="80"/>
                  <a:pt x="10" y="90"/>
                </a:cubicBezTo>
                <a:cubicBezTo>
                  <a:pt x="20" y="99"/>
                  <a:pt x="35" y="100"/>
                  <a:pt x="45" y="90"/>
                </a:cubicBezTo>
                <a:cubicBezTo>
                  <a:pt x="101" y="35"/>
                  <a:pt x="101" y="35"/>
                  <a:pt x="101" y="35"/>
                </a:cubicBezTo>
                <a:lnTo>
                  <a:pt x="66" y="0"/>
                </a:lnTo>
                <a:close/>
              </a:path>
            </a:pathLst>
          </a:custGeom>
          <a:solidFill>
            <a:srgbClr val="CBCBC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B718E4BB-2952-4912-81DC-A66F01899A7E}"/>
              </a:ext>
            </a:extLst>
          </p:cNvPr>
          <p:cNvSpPr/>
          <p:nvPr/>
        </p:nvSpPr>
        <p:spPr bwMode="auto">
          <a:xfrm>
            <a:off x="3334475" y="2299468"/>
            <a:ext cx="327485" cy="316080"/>
          </a:xfrm>
          <a:custGeom>
            <a:avLst/>
            <a:gdLst>
              <a:gd name="T0" fmla="*/ 133 w 402"/>
              <a:gd name="T1" fmla="*/ 0 h 388"/>
              <a:gd name="T2" fmla="*/ 0 w 402"/>
              <a:gd name="T3" fmla="*/ 130 h 388"/>
              <a:gd name="T4" fmla="*/ 289 w 402"/>
              <a:gd name="T5" fmla="*/ 388 h 388"/>
              <a:gd name="T6" fmla="*/ 402 w 402"/>
              <a:gd name="T7" fmla="*/ 274 h 388"/>
              <a:gd name="T8" fmla="*/ 133 w 402"/>
              <a:gd name="T9" fmla="*/ 0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02" h="388">
                <a:moveTo>
                  <a:pt x="133" y="0"/>
                </a:moveTo>
                <a:lnTo>
                  <a:pt x="0" y="130"/>
                </a:lnTo>
                <a:lnTo>
                  <a:pt x="289" y="388"/>
                </a:lnTo>
                <a:lnTo>
                  <a:pt x="402" y="274"/>
                </a:lnTo>
                <a:lnTo>
                  <a:pt x="133" y="0"/>
                </a:lnTo>
                <a:close/>
              </a:path>
            </a:pathLst>
          </a:custGeom>
          <a:solidFill>
            <a:srgbClr val="B1B1B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4E3652B0-B563-4E63-B8FD-E82F0F12B744}"/>
              </a:ext>
            </a:extLst>
          </p:cNvPr>
          <p:cNvSpPr/>
          <p:nvPr/>
        </p:nvSpPr>
        <p:spPr bwMode="auto">
          <a:xfrm>
            <a:off x="3496588" y="2357307"/>
            <a:ext cx="406505" cy="406505"/>
          </a:xfrm>
          <a:custGeom>
            <a:avLst/>
            <a:gdLst>
              <a:gd name="T0" fmla="*/ 1 w 211"/>
              <a:gd name="T1" fmla="*/ 0 h 211"/>
              <a:gd name="T2" fmla="*/ 0 w 211"/>
              <a:gd name="T3" fmla="*/ 1 h 211"/>
              <a:gd name="T4" fmla="*/ 2 w 211"/>
              <a:gd name="T5" fmla="*/ 4 h 211"/>
              <a:gd name="T6" fmla="*/ 6 w 211"/>
              <a:gd name="T7" fmla="*/ 13 h 211"/>
              <a:gd name="T8" fmla="*/ 25 w 211"/>
              <a:gd name="T9" fmla="*/ 42 h 211"/>
              <a:gd name="T10" fmla="*/ 32 w 211"/>
              <a:gd name="T11" fmla="*/ 51 h 211"/>
              <a:gd name="T12" fmla="*/ 39 w 211"/>
              <a:gd name="T13" fmla="*/ 61 h 211"/>
              <a:gd name="T14" fmla="*/ 57 w 211"/>
              <a:gd name="T15" fmla="*/ 79 h 211"/>
              <a:gd name="T16" fmla="*/ 67 w 211"/>
              <a:gd name="T17" fmla="*/ 89 h 211"/>
              <a:gd name="T18" fmla="*/ 77 w 211"/>
              <a:gd name="T19" fmla="*/ 97 h 211"/>
              <a:gd name="T20" fmla="*/ 99 w 211"/>
              <a:gd name="T21" fmla="*/ 116 h 211"/>
              <a:gd name="T22" fmla="*/ 120 w 211"/>
              <a:gd name="T23" fmla="*/ 134 h 211"/>
              <a:gd name="T24" fmla="*/ 141 w 211"/>
              <a:gd name="T25" fmla="*/ 152 h 211"/>
              <a:gd name="T26" fmla="*/ 160 w 211"/>
              <a:gd name="T27" fmla="*/ 169 h 211"/>
              <a:gd name="T28" fmla="*/ 178 w 211"/>
              <a:gd name="T29" fmla="*/ 184 h 211"/>
              <a:gd name="T30" fmla="*/ 192 w 211"/>
              <a:gd name="T31" fmla="*/ 196 h 211"/>
              <a:gd name="T32" fmla="*/ 204 w 211"/>
              <a:gd name="T33" fmla="*/ 206 h 211"/>
              <a:gd name="T34" fmla="*/ 211 w 211"/>
              <a:gd name="T35" fmla="*/ 211 h 211"/>
              <a:gd name="T36" fmla="*/ 1 w 211"/>
              <a:gd name="T37" fmla="*/ 0 h 2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11" h="211">
                <a:moveTo>
                  <a:pt x="1" y="0"/>
                </a:moveTo>
                <a:cubicBezTo>
                  <a:pt x="0" y="1"/>
                  <a:pt x="0" y="1"/>
                  <a:pt x="0" y="1"/>
                </a:cubicBezTo>
                <a:cubicBezTo>
                  <a:pt x="0" y="1"/>
                  <a:pt x="1" y="2"/>
                  <a:pt x="2" y="4"/>
                </a:cubicBezTo>
                <a:cubicBezTo>
                  <a:pt x="3" y="6"/>
                  <a:pt x="4" y="9"/>
                  <a:pt x="6" y="13"/>
                </a:cubicBezTo>
                <a:cubicBezTo>
                  <a:pt x="11" y="21"/>
                  <a:pt x="17" y="31"/>
                  <a:pt x="25" y="42"/>
                </a:cubicBezTo>
                <a:cubicBezTo>
                  <a:pt x="27" y="45"/>
                  <a:pt x="30" y="48"/>
                  <a:pt x="32" y="51"/>
                </a:cubicBezTo>
                <a:cubicBezTo>
                  <a:pt x="34" y="54"/>
                  <a:pt x="37" y="57"/>
                  <a:pt x="39" y="61"/>
                </a:cubicBezTo>
                <a:cubicBezTo>
                  <a:pt x="45" y="67"/>
                  <a:pt x="50" y="73"/>
                  <a:pt x="57" y="79"/>
                </a:cubicBezTo>
                <a:cubicBezTo>
                  <a:pt x="60" y="83"/>
                  <a:pt x="63" y="86"/>
                  <a:pt x="67" y="89"/>
                </a:cubicBezTo>
                <a:cubicBezTo>
                  <a:pt x="70" y="92"/>
                  <a:pt x="74" y="94"/>
                  <a:pt x="77" y="97"/>
                </a:cubicBezTo>
                <a:cubicBezTo>
                  <a:pt x="84" y="103"/>
                  <a:pt x="92" y="109"/>
                  <a:pt x="99" y="116"/>
                </a:cubicBezTo>
                <a:cubicBezTo>
                  <a:pt x="106" y="122"/>
                  <a:pt x="113" y="128"/>
                  <a:pt x="120" y="134"/>
                </a:cubicBezTo>
                <a:cubicBezTo>
                  <a:pt x="127" y="141"/>
                  <a:pt x="134" y="147"/>
                  <a:pt x="141" y="152"/>
                </a:cubicBezTo>
                <a:cubicBezTo>
                  <a:pt x="147" y="158"/>
                  <a:pt x="154" y="164"/>
                  <a:pt x="160" y="169"/>
                </a:cubicBezTo>
                <a:cubicBezTo>
                  <a:pt x="166" y="174"/>
                  <a:pt x="172" y="179"/>
                  <a:pt x="178" y="184"/>
                </a:cubicBezTo>
                <a:cubicBezTo>
                  <a:pt x="183" y="188"/>
                  <a:pt x="188" y="193"/>
                  <a:pt x="192" y="196"/>
                </a:cubicBezTo>
                <a:cubicBezTo>
                  <a:pt x="197" y="200"/>
                  <a:pt x="201" y="203"/>
                  <a:pt x="204" y="206"/>
                </a:cubicBezTo>
                <a:cubicBezTo>
                  <a:pt x="207" y="208"/>
                  <a:pt x="209" y="210"/>
                  <a:pt x="211" y="211"/>
                </a:cubicBezTo>
                <a:lnTo>
                  <a:pt x="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7" name="椭圆 76">
            <a:extLst>
              <a:ext uri="{FF2B5EF4-FFF2-40B4-BE49-F238E27FC236}">
                <a16:creationId xmlns:a16="http://schemas.microsoft.com/office/drawing/2014/main" id="{30E57798-7AF4-4D9B-9BDA-A4D65B4458C0}"/>
              </a:ext>
            </a:extLst>
          </p:cNvPr>
          <p:cNvSpPr/>
          <p:nvPr/>
        </p:nvSpPr>
        <p:spPr bwMode="auto">
          <a:xfrm>
            <a:off x="3355655" y="4520172"/>
            <a:ext cx="158040" cy="158040"/>
          </a:xfrm>
          <a:prstGeom prst="ellipse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261ADA42-F7C6-4BC0-9025-D17844E871AD}"/>
              </a:ext>
            </a:extLst>
          </p:cNvPr>
          <p:cNvSpPr/>
          <p:nvPr/>
        </p:nvSpPr>
        <p:spPr bwMode="auto">
          <a:xfrm>
            <a:off x="3492515" y="4393089"/>
            <a:ext cx="67615" cy="67615"/>
          </a:xfrm>
          <a:prstGeom prst="ellipse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9" name="椭圆 78">
            <a:extLst>
              <a:ext uri="{FF2B5EF4-FFF2-40B4-BE49-F238E27FC236}">
                <a16:creationId xmlns:a16="http://schemas.microsoft.com/office/drawing/2014/main" id="{3DC4EA8D-1656-481D-97E1-A1EE1F809475}"/>
              </a:ext>
            </a:extLst>
          </p:cNvPr>
          <p:cNvSpPr/>
          <p:nvPr/>
        </p:nvSpPr>
        <p:spPr bwMode="auto">
          <a:xfrm>
            <a:off x="4369880" y="4934823"/>
            <a:ext cx="269645" cy="271275"/>
          </a:xfrm>
          <a:prstGeom prst="ellipse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9204202E-E472-4A87-9C83-4832ABAB2891}"/>
              </a:ext>
            </a:extLst>
          </p:cNvPr>
          <p:cNvSpPr txBox="1"/>
          <p:nvPr/>
        </p:nvSpPr>
        <p:spPr>
          <a:xfrm>
            <a:off x="898500" y="1603087"/>
            <a:ext cx="1005404" cy="584775"/>
          </a:xfrm>
          <a:prstGeom prst="rect">
            <a:avLst/>
          </a:prstGeom>
          <a:noFill/>
        </p:spPr>
        <p:txBody>
          <a:bodyPr wrap="none">
            <a:normAutofit/>
          </a:bodyPr>
          <a:lstStyle/>
          <a:p>
            <a:pPr algn="ctr"/>
            <a:r>
              <a:rPr lang="en-US" sz="3200" dirty="0">
                <a:solidFill>
                  <a:schemeClr val="bg1"/>
                </a:solidFill>
                <a:cs typeface="+mn-ea"/>
                <a:sym typeface="+mn-lt"/>
              </a:rPr>
              <a:t>95</a:t>
            </a:r>
            <a:r>
              <a:rPr lang="en-US" sz="3200" b="1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50" name="椭圆 49">
            <a:extLst>
              <a:ext uri="{FF2B5EF4-FFF2-40B4-BE49-F238E27FC236}">
                <a16:creationId xmlns:a16="http://schemas.microsoft.com/office/drawing/2014/main" id="{160AEB73-2200-4147-9F9F-9CECB8B0AD8B}"/>
              </a:ext>
            </a:extLst>
          </p:cNvPr>
          <p:cNvSpPr/>
          <p:nvPr/>
        </p:nvSpPr>
        <p:spPr>
          <a:xfrm>
            <a:off x="5790027" y="3511735"/>
            <a:ext cx="942666" cy="942666"/>
          </a:xfrm>
          <a:prstGeom prst="ellipse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6C8F0235-AD8E-44FE-BC2D-6DD8181C62C4}"/>
              </a:ext>
            </a:extLst>
          </p:cNvPr>
          <p:cNvSpPr/>
          <p:nvPr/>
        </p:nvSpPr>
        <p:spPr bwMode="auto">
          <a:xfrm>
            <a:off x="6111559" y="3763614"/>
            <a:ext cx="299602" cy="438908"/>
          </a:xfrm>
          <a:custGeom>
            <a:avLst/>
            <a:gdLst>
              <a:gd name="T0" fmla="*/ 16 w 73"/>
              <a:gd name="T1" fmla="*/ 77 h 107"/>
              <a:gd name="T2" fmla="*/ 57 w 73"/>
              <a:gd name="T3" fmla="*/ 77 h 107"/>
              <a:gd name="T4" fmla="*/ 52 w 73"/>
              <a:gd name="T5" fmla="*/ 101 h 107"/>
              <a:gd name="T6" fmla="*/ 45 w 73"/>
              <a:gd name="T7" fmla="*/ 101 h 107"/>
              <a:gd name="T8" fmla="*/ 37 w 73"/>
              <a:gd name="T9" fmla="*/ 107 h 107"/>
              <a:gd name="T10" fmla="*/ 29 w 73"/>
              <a:gd name="T11" fmla="*/ 101 h 107"/>
              <a:gd name="T12" fmla="*/ 21 w 73"/>
              <a:gd name="T13" fmla="*/ 101 h 107"/>
              <a:gd name="T14" fmla="*/ 16 w 73"/>
              <a:gd name="T15" fmla="*/ 77 h 107"/>
              <a:gd name="T16" fmla="*/ 51 w 73"/>
              <a:gd name="T17" fmla="*/ 29 h 107"/>
              <a:gd name="T18" fmla="*/ 52 w 73"/>
              <a:gd name="T19" fmla="*/ 35 h 107"/>
              <a:gd name="T20" fmla="*/ 51 w 73"/>
              <a:gd name="T21" fmla="*/ 37 h 107"/>
              <a:gd name="T22" fmla="*/ 53 w 73"/>
              <a:gd name="T23" fmla="*/ 38 h 107"/>
              <a:gd name="T24" fmla="*/ 52 w 73"/>
              <a:gd name="T25" fmla="*/ 42 h 107"/>
              <a:gd name="T26" fmla="*/ 50 w 73"/>
              <a:gd name="T27" fmla="*/ 42 h 107"/>
              <a:gd name="T28" fmla="*/ 52 w 73"/>
              <a:gd name="T29" fmla="*/ 44 h 107"/>
              <a:gd name="T30" fmla="*/ 51 w 73"/>
              <a:gd name="T31" fmla="*/ 47 h 107"/>
              <a:gd name="T32" fmla="*/ 50 w 73"/>
              <a:gd name="T33" fmla="*/ 48 h 107"/>
              <a:gd name="T34" fmla="*/ 51 w 73"/>
              <a:gd name="T35" fmla="*/ 49 h 107"/>
              <a:gd name="T36" fmla="*/ 50 w 73"/>
              <a:gd name="T37" fmla="*/ 53 h 107"/>
              <a:gd name="T38" fmla="*/ 47 w 73"/>
              <a:gd name="T39" fmla="*/ 54 h 107"/>
              <a:gd name="T40" fmla="*/ 29 w 73"/>
              <a:gd name="T41" fmla="*/ 49 h 107"/>
              <a:gd name="T42" fmla="*/ 21 w 73"/>
              <a:gd name="T43" fmla="*/ 49 h 107"/>
              <a:gd name="T44" fmla="*/ 21 w 73"/>
              <a:gd name="T45" fmla="*/ 32 h 107"/>
              <a:gd name="T46" fmla="*/ 28 w 73"/>
              <a:gd name="T47" fmla="*/ 31 h 107"/>
              <a:gd name="T48" fmla="*/ 42 w 73"/>
              <a:gd name="T49" fmla="*/ 16 h 107"/>
              <a:gd name="T50" fmla="*/ 38 w 73"/>
              <a:gd name="T51" fmla="*/ 30 h 107"/>
              <a:gd name="T52" fmla="*/ 51 w 73"/>
              <a:gd name="T53" fmla="*/ 29 h 107"/>
              <a:gd name="T54" fmla="*/ 15 w 73"/>
              <a:gd name="T55" fmla="*/ 71 h 107"/>
              <a:gd name="T56" fmla="*/ 25 w 73"/>
              <a:gd name="T57" fmla="*/ 71 h 107"/>
              <a:gd name="T58" fmla="*/ 17 w 73"/>
              <a:gd name="T59" fmla="*/ 48 h 107"/>
              <a:gd name="T60" fmla="*/ 11 w 73"/>
              <a:gd name="T61" fmla="*/ 29 h 107"/>
              <a:gd name="T62" fmla="*/ 23 w 73"/>
              <a:gd name="T63" fmla="*/ 13 h 107"/>
              <a:gd name="T64" fmla="*/ 37 w 73"/>
              <a:gd name="T65" fmla="*/ 11 h 107"/>
              <a:gd name="T66" fmla="*/ 50 w 73"/>
              <a:gd name="T67" fmla="*/ 14 h 107"/>
              <a:gd name="T68" fmla="*/ 62 w 73"/>
              <a:gd name="T69" fmla="*/ 29 h 107"/>
              <a:gd name="T70" fmla="*/ 56 w 73"/>
              <a:gd name="T71" fmla="*/ 48 h 107"/>
              <a:gd name="T72" fmla="*/ 48 w 73"/>
              <a:gd name="T73" fmla="*/ 71 h 107"/>
              <a:gd name="T74" fmla="*/ 58 w 73"/>
              <a:gd name="T75" fmla="*/ 71 h 107"/>
              <a:gd name="T76" fmla="*/ 65 w 73"/>
              <a:gd name="T77" fmla="*/ 52 h 107"/>
              <a:gd name="T78" fmla="*/ 71 w 73"/>
              <a:gd name="T79" fmla="*/ 27 h 107"/>
              <a:gd name="T80" fmla="*/ 55 w 73"/>
              <a:gd name="T81" fmla="*/ 5 h 107"/>
              <a:gd name="T82" fmla="*/ 37 w 73"/>
              <a:gd name="T83" fmla="*/ 1 h 107"/>
              <a:gd name="T84" fmla="*/ 19 w 73"/>
              <a:gd name="T85" fmla="*/ 5 h 107"/>
              <a:gd name="T86" fmla="*/ 2 w 73"/>
              <a:gd name="T87" fmla="*/ 27 h 107"/>
              <a:gd name="T88" fmla="*/ 8 w 73"/>
              <a:gd name="T89" fmla="*/ 53 h 107"/>
              <a:gd name="T90" fmla="*/ 15 w 73"/>
              <a:gd name="T91" fmla="*/ 71 h 1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73" h="107">
                <a:moveTo>
                  <a:pt x="16" y="77"/>
                </a:moveTo>
                <a:cubicBezTo>
                  <a:pt x="57" y="77"/>
                  <a:pt x="57" y="77"/>
                  <a:pt x="57" y="77"/>
                </a:cubicBezTo>
                <a:cubicBezTo>
                  <a:pt x="52" y="101"/>
                  <a:pt x="52" y="101"/>
                  <a:pt x="52" y="101"/>
                </a:cubicBezTo>
                <a:cubicBezTo>
                  <a:pt x="45" y="101"/>
                  <a:pt x="45" y="101"/>
                  <a:pt x="45" y="101"/>
                </a:cubicBezTo>
                <a:cubicBezTo>
                  <a:pt x="44" y="104"/>
                  <a:pt x="41" y="107"/>
                  <a:pt x="37" y="107"/>
                </a:cubicBezTo>
                <a:cubicBezTo>
                  <a:pt x="33" y="107"/>
                  <a:pt x="30" y="104"/>
                  <a:pt x="29" y="101"/>
                </a:cubicBezTo>
                <a:cubicBezTo>
                  <a:pt x="21" y="101"/>
                  <a:pt x="21" y="101"/>
                  <a:pt x="21" y="101"/>
                </a:cubicBezTo>
                <a:cubicBezTo>
                  <a:pt x="16" y="77"/>
                  <a:pt x="16" y="77"/>
                  <a:pt x="16" y="77"/>
                </a:cubicBezTo>
                <a:close/>
                <a:moveTo>
                  <a:pt x="51" y="29"/>
                </a:moveTo>
                <a:cubicBezTo>
                  <a:pt x="52" y="35"/>
                  <a:pt x="52" y="35"/>
                  <a:pt x="52" y="35"/>
                </a:cubicBezTo>
                <a:cubicBezTo>
                  <a:pt x="51" y="37"/>
                  <a:pt x="51" y="37"/>
                  <a:pt x="51" y="37"/>
                </a:cubicBezTo>
                <a:cubicBezTo>
                  <a:pt x="53" y="38"/>
                  <a:pt x="53" y="38"/>
                  <a:pt x="53" y="38"/>
                </a:cubicBezTo>
                <a:cubicBezTo>
                  <a:pt x="52" y="42"/>
                  <a:pt x="52" y="42"/>
                  <a:pt x="52" y="42"/>
                </a:cubicBezTo>
                <a:cubicBezTo>
                  <a:pt x="50" y="42"/>
                  <a:pt x="50" y="42"/>
                  <a:pt x="50" y="42"/>
                </a:cubicBezTo>
                <a:cubicBezTo>
                  <a:pt x="52" y="44"/>
                  <a:pt x="52" y="44"/>
                  <a:pt x="52" y="44"/>
                </a:cubicBezTo>
                <a:cubicBezTo>
                  <a:pt x="51" y="47"/>
                  <a:pt x="51" y="47"/>
                  <a:pt x="51" y="47"/>
                </a:cubicBezTo>
                <a:cubicBezTo>
                  <a:pt x="50" y="48"/>
                  <a:pt x="50" y="48"/>
                  <a:pt x="50" y="48"/>
                </a:cubicBezTo>
                <a:cubicBezTo>
                  <a:pt x="51" y="49"/>
                  <a:pt x="51" y="49"/>
                  <a:pt x="51" y="49"/>
                </a:cubicBezTo>
                <a:cubicBezTo>
                  <a:pt x="50" y="53"/>
                  <a:pt x="50" y="53"/>
                  <a:pt x="50" y="53"/>
                </a:cubicBezTo>
                <a:cubicBezTo>
                  <a:pt x="47" y="54"/>
                  <a:pt x="47" y="54"/>
                  <a:pt x="47" y="54"/>
                </a:cubicBezTo>
                <a:cubicBezTo>
                  <a:pt x="29" y="49"/>
                  <a:pt x="29" y="49"/>
                  <a:pt x="29" y="49"/>
                </a:cubicBezTo>
                <a:cubicBezTo>
                  <a:pt x="21" y="49"/>
                  <a:pt x="21" y="49"/>
                  <a:pt x="21" y="49"/>
                </a:cubicBezTo>
                <a:cubicBezTo>
                  <a:pt x="21" y="32"/>
                  <a:pt x="21" y="32"/>
                  <a:pt x="21" y="32"/>
                </a:cubicBezTo>
                <a:cubicBezTo>
                  <a:pt x="28" y="31"/>
                  <a:pt x="28" y="31"/>
                  <a:pt x="28" y="31"/>
                </a:cubicBezTo>
                <a:cubicBezTo>
                  <a:pt x="42" y="16"/>
                  <a:pt x="42" y="16"/>
                  <a:pt x="42" y="16"/>
                </a:cubicBezTo>
                <a:cubicBezTo>
                  <a:pt x="50" y="21"/>
                  <a:pt x="43" y="27"/>
                  <a:pt x="38" y="30"/>
                </a:cubicBezTo>
                <a:cubicBezTo>
                  <a:pt x="51" y="29"/>
                  <a:pt x="51" y="29"/>
                  <a:pt x="51" y="29"/>
                </a:cubicBezTo>
                <a:close/>
                <a:moveTo>
                  <a:pt x="15" y="71"/>
                </a:moveTo>
                <a:cubicBezTo>
                  <a:pt x="25" y="71"/>
                  <a:pt x="25" y="71"/>
                  <a:pt x="25" y="71"/>
                </a:cubicBezTo>
                <a:cubicBezTo>
                  <a:pt x="24" y="62"/>
                  <a:pt x="20" y="55"/>
                  <a:pt x="17" y="48"/>
                </a:cubicBezTo>
                <a:cubicBezTo>
                  <a:pt x="13" y="41"/>
                  <a:pt x="10" y="34"/>
                  <a:pt x="11" y="29"/>
                </a:cubicBezTo>
                <a:cubicBezTo>
                  <a:pt x="13" y="21"/>
                  <a:pt x="17" y="16"/>
                  <a:pt x="23" y="13"/>
                </a:cubicBezTo>
                <a:cubicBezTo>
                  <a:pt x="27" y="11"/>
                  <a:pt x="32" y="10"/>
                  <a:pt x="37" y="11"/>
                </a:cubicBezTo>
                <a:cubicBezTo>
                  <a:pt x="42" y="11"/>
                  <a:pt x="46" y="12"/>
                  <a:pt x="50" y="14"/>
                </a:cubicBezTo>
                <a:cubicBezTo>
                  <a:pt x="56" y="17"/>
                  <a:pt x="60" y="22"/>
                  <a:pt x="62" y="29"/>
                </a:cubicBezTo>
                <a:cubicBezTo>
                  <a:pt x="63" y="34"/>
                  <a:pt x="59" y="41"/>
                  <a:pt x="56" y="48"/>
                </a:cubicBezTo>
                <a:cubicBezTo>
                  <a:pt x="53" y="55"/>
                  <a:pt x="49" y="62"/>
                  <a:pt x="48" y="71"/>
                </a:cubicBezTo>
                <a:cubicBezTo>
                  <a:pt x="58" y="71"/>
                  <a:pt x="58" y="71"/>
                  <a:pt x="58" y="71"/>
                </a:cubicBezTo>
                <a:cubicBezTo>
                  <a:pt x="59" y="64"/>
                  <a:pt x="62" y="58"/>
                  <a:pt x="65" y="52"/>
                </a:cubicBezTo>
                <a:cubicBezTo>
                  <a:pt x="69" y="44"/>
                  <a:pt x="73" y="36"/>
                  <a:pt x="71" y="27"/>
                </a:cubicBezTo>
                <a:cubicBezTo>
                  <a:pt x="70" y="17"/>
                  <a:pt x="63" y="9"/>
                  <a:pt x="55" y="5"/>
                </a:cubicBezTo>
                <a:cubicBezTo>
                  <a:pt x="49" y="2"/>
                  <a:pt x="43" y="1"/>
                  <a:pt x="37" y="1"/>
                </a:cubicBezTo>
                <a:cubicBezTo>
                  <a:pt x="31" y="0"/>
                  <a:pt x="24" y="2"/>
                  <a:pt x="19" y="5"/>
                </a:cubicBezTo>
                <a:cubicBezTo>
                  <a:pt x="10" y="9"/>
                  <a:pt x="4" y="16"/>
                  <a:pt x="2" y="27"/>
                </a:cubicBezTo>
                <a:cubicBezTo>
                  <a:pt x="0" y="36"/>
                  <a:pt x="4" y="44"/>
                  <a:pt x="8" y="53"/>
                </a:cubicBezTo>
                <a:cubicBezTo>
                  <a:pt x="11" y="58"/>
                  <a:pt x="13" y="64"/>
                  <a:pt x="15" y="7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236BE28B-67D8-48F2-B6ED-4D88EB38CF9C}"/>
              </a:ext>
            </a:extLst>
          </p:cNvPr>
          <p:cNvSpPr/>
          <p:nvPr/>
        </p:nvSpPr>
        <p:spPr>
          <a:xfrm>
            <a:off x="7875499" y="3511735"/>
            <a:ext cx="942666" cy="942666"/>
          </a:xfrm>
          <a:prstGeom prst="ellipse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3596C019-B099-4FE3-AE32-A02F97FED19C}"/>
              </a:ext>
            </a:extLst>
          </p:cNvPr>
          <p:cNvSpPr/>
          <p:nvPr/>
        </p:nvSpPr>
        <p:spPr bwMode="auto">
          <a:xfrm>
            <a:off x="8122608" y="3801780"/>
            <a:ext cx="448449" cy="362576"/>
          </a:xfrm>
          <a:custGeom>
            <a:avLst/>
            <a:gdLst>
              <a:gd name="T0" fmla="*/ 86 w 109"/>
              <a:gd name="T1" fmla="*/ 88 h 88"/>
              <a:gd name="T2" fmla="*/ 84 w 109"/>
              <a:gd name="T3" fmla="*/ 44 h 88"/>
              <a:gd name="T4" fmla="*/ 80 w 109"/>
              <a:gd name="T5" fmla="*/ 71 h 88"/>
              <a:gd name="T6" fmla="*/ 109 w 109"/>
              <a:gd name="T7" fmla="*/ 0 h 88"/>
              <a:gd name="T8" fmla="*/ 92 w 109"/>
              <a:gd name="T9" fmla="*/ 33 h 88"/>
              <a:gd name="T10" fmla="*/ 80 w 109"/>
              <a:gd name="T11" fmla="*/ 25 h 88"/>
              <a:gd name="T12" fmla="*/ 67 w 109"/>
              <a:gd name="T13" fmla="*/ 68 h 88"/>
              <a:gd name="T14" fmla="*/ 37 w 109"/>
              <a:gd name="T15" fmla="*/ 73 h 88"/>
              <a:gd name="T16" fmla="*/ 19 w 109"/>
              <a:gd name="T17" fmla="*/ 63 h 88"/>
              <a:gd name="T18" fmla="*/ 0 w 109"/>
              <a:gd name="T19" fmla="*/ 56 h 88"/>
              <a:gd name="T20" fmla="*/ 25 w 109"/>
              <a:gd name="T21" fmla="*/ 48 h 88"/>
              <a:gd name="T22" fmla="*/ 30 w 109"/>
              <a:gd name="T23" fmla="*/ 57 h 88"/>
              <a:gd name="T24" fmla="*/ 44 w 109"/>
              <a:gd name="T25" fmla="*/ 29 h 88"/>
              <a:gd name="T26" fmla="*/ 66 w 109"/>
              <a:gd name="T27" fmla="*/ 50 h 88"/>
              <a:gd name="T28" fmla="*/ 68 w 109"/>
              <a:gd name="T29" fmla="*/ 18 h 88"/>
              <a:gd name="T30" fmla="*/ 78 w 109"/>
              <a:gd name="T31" fmla="*/ 12 h 88"/>
              <a:gd name="T32" fmla="*/ 90 w 109"/>
              <a:gd name="T33" fmla="*/ 1 h 88"/>
              <a:gd name="T34" fmla="*/ 22 w 109"/>
              <a:gd name="T35" fmla="*/ 88 h 88"/>
              <a:gd name="T36" fmla="*/ 29 w 109"/>
              <a:gd name="T37" fmla="*/ 80 h 88"/>
              <a:gd name="T38" fmla="*/ 22 w 109"/>
              <a:gd name="T39" fmla="*/ 79 h 88"/>
              <a:gd name="T40" fmla="*/ 11 w 109"/>
              <a:gd name="T41" fmla="*/ 88 h 88"/>
              <a:gd name="T42" fmla="*/ 17 w 109"/>
              <a:gd name="T43" fmla="*/ 71 h 88"/>
              <a:gd name="T44" fmla="*/ 11 w 109"/>
              <a:gd name="T45" fmla="*/ 73 h 88"/>
              <a:gd name="T46" fmla="*/ 34 w 109"/>
              <a:gd name="T47" fmla="*/ 88 h 88"/>
              <a:gd name="T48" fmla="*/ 40 w 109"/>
              <a:gd name="T49" fmla="*/ 79 h 88"/>
              <a:gd name="T50" fmla="*/ 34 w 109"/>
              <a:gd name="T51" fmla="*/ 80 h 88"/>
              <a:gd name="T52" fmla="*/ 45 w 109"/>
              <a:gd name="T53" fmla="*/ 88 h 88"/>
              <a:gd name="T54" fmla="*/ 52 w 109"/>
              <a:gd name="T55" fmla="*/ 63 h 88"/>
              <a:gd name="T56" fmla="*/ 45 w 109"/>
              <a:gd name="T57" fmla="*/ 69 h 88"/>
              <a:gd name="T58" fmla="*/ 57 w 109"/>
              <a:gd name="T59" fmla="*/ 88 h 88"/>
              <a:gd name="T60" fmla="*/ 63 w 109"/>
              <a:gd name="T61" fmla="*/ 73 h 88"/>
              <a:gd name="T62" fmla="*/ 57 w 109"/>
              <a:gd name="T63" fmla="*/ 88 h 88"/>
              <a:gd name="T64" fmla="*/ 75 w 109"/>
              <a:gd name="T65" fmla="*/ 88 h 88"/>
              <a:gd name="T66" fmla="*/ 68 w 109"/>
              <a:gd name="T67" fmla="*/ 75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09" h="88">
                <a:moveTo>
                  <a:pt x="80" y="88"/>
                </a:moveTo>
                <a:cubicBezTo>
                  <a:pt x="86" y="88"/>
                  <a:pt x="86" y="88"/>
                  <a:pt x="86" y="88"/>
                </a:cubicBezTo>
                <a:cubicBezTo>
                  <a:pt x="86" y="44"/>
                  <a:pt x="86" y="44"/>
                  <a:pt x="86" y="44"/>
                </a:cubicBezTo>
                <a:cubicBezTo>
                  <a:pt x="84" y="44"/>
                  <a:pt x="84" y="44"/>
                  <a:pt x="84" y="44"/>
                </a:cubicBezTo>
                <a:cubicBezTo>
                  <a:pt x="82" y="70"/>
                  <a:pt x="82" y="70"/>
                  <a:pt x="82" y="70"/>
                </a:cubicBezTo>
                <a:cubicBezTo>
                  <a:pt x="80" y="71"/>
                  <a:pt x="80" y="71"/>
                  <a:pt x="80" y="71"/>
                </a:cubicBezTo>
                <a:cubicBezTo>
                  <a:pt x="80" y="88"/>
                  <a:pt x="80" y="88"/>
                  <a:pt x="80" y="88"/>
                </a:cubicBezTo>
                <a:close/>
                <a:moveTo>
                  <a:pt x="109" y="0"/>
                </a:moveTo>
                <a:cubicBezTo>
                  <a:pt x="100" y="17"/>
                  <a:pt x="100" y="17"/>
                  <a:pt x="100" y="17"/>
                </a:cubicBezTo>
                <a:cubicBezTo>
                  <a:pt x="92" y="33"/>
                  <a:pt x="92" y="33"/>
                  <a:pt x="92" y="33"/>
                </a:cubicBezTo>
                <a:cubicBezTo>
                  <a:pt x="84" y="22"/>
                  <a:pt x="84" y="22"/>
                  <a:pt x="84" y="22"/>
                </a:cubicBezTo>
                <a:cubicBezTo>
                  <a:pt x="80" y="25"/>
                  <a:pt x="80" y="25"/>
                  <a:pt x="80" y="25"/>
                </a:cubicBezTo>
                <a:cubicBezTo>
                  <a:pt x="77" y="64"/>
                  <a:pt x="77" y="64"/>
                  <a:pt x="77" y="64"/>
                </a:cubicBezTo>
                <a:cubicBezTo>
                  <a:pt x="67" y="68"/>
                  <a:pt x="67" y="68"/>
                  <a:pt x="67" y="68"/>
                </a:cubicBezTo>
                <a:cubicBezTo>
                  <a:pt x="48" y="50"/>
                  <a:pt x="48" y="50"/>
                  <a:pt x="48" y="50"/>
                </a:cubicBezTo>
                <a:cubicBezTo>
                  <a:pt x="37" y="73"/>
                  <a:pt x="37" y="73"/>
                  <a:pt x="37" y="73"/>
                </a:cubicBezTo>
                <a:cubicBezTo>
                  <a:pt x="26" y="73"/>
                  <a:pt x="26" y="73"/>
                  <a:pt x="26" y="73"/>
                </a:cubicBezTo>
                <a:cubicBezTo>
                  <a:pt x="19" y="63"/>
                  <a:pt x="19" y="63"/>
                  <a:pt x="19" y="63"/>
                </a:cubicBezTo>
                <a:cubicBezTo>
                  <a:pt x="4" y="67"/>
                  <a:pt x="4" y="67"/>
                  <a:pt x="4" y="67"/>
                </a:cubicBezTo>
                <a:cubicBezTo>
                  <a:pt x="0" y="56"/>
                  <a:pt x="0" y="56"/>
                  <a:pt x="0" y="56"/>
                </a:cubicBezTo>
                <a:cubicBezTo>
                  <a:pt x="20" y="50"/>
                  <a:pt x="20" y="50"/>
                  <a:pt x="20" y="50"/>
                </a:cubicBezTo>
                <a:cubicBezTo>
                  <a:pt x="25" y="48"/>
                  <a:pt x="25" y="48"/>
                  <a:pt x="25" y="48"/>
                </a:cubicBezTo>
                <a:cubicBezTo>
                  <a:pt x="27" y="52"/>
                  <a:pt x="27" y="52"/>
                  <a:pt x="27" y="52"/>
                </a:cubicBezTo>
                <a:cubicBezTo>
                  <a:pt x="30" y="57"/>
                  <a:pt x="30" y="57"/>
                  <a:pt x="30" y="57"/>
                </a:cubicBezTo>
                <a:cubicBezTo>
                  <a:pt x="40" y="37"/>
                  <a:pt x="40" y="37"/>
                  <a:pt x="40" y="37"/>
                </a:cubicBezTo>
                <a:cubicBezTo>
                  <a:pt x="44" y="29"/>
                  <a:pt x="44" y="29"/>
                  <a:pt x="44" y="29"/>
                </a:cubicBezTo>
                <a:cubicBezTo>
                  <a:pt x="50" y="35"/>
                  <a:pt x="50" y="35"/>
                  <a:pt x="50" y="35"/>
                </a:cubicBezTo>
                <a:cubicBezTo>
                  <a:pt x="66" y="50"/>
                  <a:pt x="66" y="50"/>
                  <a:pt x="66" y="50"/>
                </a:cubicBezTo>
                <a:cubicBezTo>
                  <a:pt x="68" y="21"/>
                  <a:pt x="68" y="21"/>
                  <a:pt x="68" y="21"/>
                </a:cubicBezTo>
                <a:cubicBezTo>
                  <a:pt x="68" y="18"/>
                  <a:pt x="68" y="18"/>
                  <a:pt x="68" y="18"/>
                </a:cubicBezTo>
                <a:cubicBezTo>
                  <a:pt x="71" y="16"/>
                  <a:pt x="71" y="16"/>
                  <a:pt x="71" y="16"/>
                </a:cubicBezTo>
                <a:cubicBezTo>
                  <a:pt x="78" y="12"/>
                  <a:pt x="78" y="12"/>
                  <a:pt x="78" y="12"/>
                </a:cubicBezTo>
                <a:cubicBezTo>
                  <a:pt x="72" y="2"/>
                  <a:pt x="72" y="2"/>
                  <a:pt x="72" y="2"/>
                </a:cubicBezTo>
                <a:cubicBezTo>
                  <a:pt x="90" y="1"/>
                  <a:pt x="90" y="1"/>
                  <a:pt x="90" y="1"/>
                </a:cubicBezTo>
                <a:cubicBezTo>
                  <a:pt x="109" y="0"/>
                  <a:pt x="109" y="0"/>
                  <a:pt x="109" y="0"/>
                </a:cubicBezTo>
                <a:close/>
                <a:moveTo>
                  <a:pt x="22" y="88"/>
                </a:moveTo>
                <a:cubicBezTo>
                  <a:pt x="24" y="88"/>
                  <a:pt x="27" y="88"/>
                  <a:pt x="29" y="88"/>
                </a:cubicBezTo>
                <a:cubicBezTo>
                  <a:pt x="29" y="80"/>
                  <a:pt x="29" y="80"/>
                  <a:pt x="29" y="80"/>
                </a:cubicBezTo>
                <a:cubicBezTo>
                  <a:pt x="23" y="81"/>
                  <a:pt x="23" y="81"/>
                  <a:pt x="23" y="81"/>
                </a:cubicBezTo>
                <a:cubicBezTo>
                  <a:pt x="22" y="79"/>
                  <a:pt x="22" y="79"/>
                  <a:pt x="22" y="79"/>
                </a:cubicBezTo>
                <a:cubicBezTo>
                  <a:pt x="22" y="88"/>
                  <a:pt x="22" y="88"/>
                  <a:pt x="22" y="88"/>
                </a:cubicBezTo>
                <a:close/>
                <a:moveTo>
                  <a:pt x="11" y="88"/>
                </a:moveTo>
                <a:cubicBezTo>
                  <a:pt x="17" y="88"/>
                  <a:pt x="17" y="88"/>
                  <a:pt x="17" y="88"/>
                </a:cubicBezTo>
                <a:cubicBezTo>
                  <a:pt x="17" y="71"/>
                  <a:pt x="17" y="71"/>
                  <a:pt x="17" y="71"/>
                </a:cubicBezTo>
                <a:cubicBezTo>
                  <a:pt x="17" y="71"/>
                  <a:pt x="17" y="71"/>
                  <a:pt x="17" y="71"/>
                </a:cubicBezTo>
                <a:cubicBezTo>
                  <a:pt x="11" y="73"/>
                  <a:pt x="11" y="73"/>
                  <a:pt x="11" y="73"/>
                </a:cubicBezTo>
                <a:cubicBezTo>
                  <a:pt x="11" y="88"/>
                  <a:pt x="11" y="88"/>
                  <a:pt x="11" y="88"/>
                </a:cubicBezTo>
                <a:close/>
                <a:moveTo>
                  <a:pt x="34" y="88"/>
                </a:moveTo>
                <a:cubicBezTo>
                  <a:pt x="36" y="88"/>
                  <a:pt x="38" y="88"/>
                  <a:pt x="40" y="88"/>
                </a:cubicBezTo>
                <a:cubicBezTo>
                  <a:pt x="40" y="79"/>
                  <a:pt x="40" y="79"/>
                  <a:pt x="40" y="79"/>
                </a:cubicBezTo>
                <a:cubicBezTo>
                  <a:pt x="40" y="80"/>
                  <a:pt x="40" y="80"/>
                  <a:pt x="40" y="80"/>
                </a:cubicBezTo>
                <a:cubicBezTo>
                  <a:pt x="34" y="80"/>
                  <a:pt x="34" y="80"/>
                  <a:pt x="34" y="80"/>
                </a:cubicBezTo>
                <a:cubicBezTo>
                  <a:pt x="34" y="88"/>
                  <a:pt x="34" y="88"/>
                  <a:pt x="34" y="88"/>
                </a:cubicBezTo>
                <a:close/>
                <a:moveTo>
                  <a:pt x="45" y="88"/>
                </a:moveTo>
                <a:cubicBezTo>
                  <a:pt x="47" y="88"/>
                  <a:pt x="50" y="88"/>
                  <a:pt x="52" y="88"/>
                </a:cubicBezTo>
                <a:cubicBezTo>
                  <a:pt x="52" y="63"/>
                  <a:pt x="52" y="63"/>
                  <a:pt x="52" y="63"/>
                </a:cubicBezTo>
                <a:cubicBezTo>
                  <a:pt x="49" y="60"/>
                  <a:pt x="49" y="60"/>
                  <a:pt x="49" y="60"/>
                </a:cubicBezTo>
                <a:cubicBezTo>
                  <a:pt x="45" y="69"/>
                  <a:pt x="45" y="69"/>
                  <a:pt x="45" y="69"/>
                </a:cubicBezTo>
                <a:cubicBezTo>
                  <a:pt x="45" y="88"/>
                  <a:pt x="45" y="88"/>
                  <a:pt x="45" y="88"/>
                </a:cubicBezTo>
                <a:close/>
                <a:moveTo>
                  <a:pt x="57" y="88"/>
                </a:moveTo>
                <a:cubicBezTo>
                  <a:pt x="59" y="88"/>
                  <a:pt x="61" y="88"/>
                  <a:pt x="63" y="88"/>
                </a:cubicBezTo>
                <a:cubicBezTo>
                  <a:pt x="63" y="73"/>
                  <a:pt x="63" y="73"/>
                  <a:pt x="63" y="73"/>
                </a:cubicBezTo>
                <a:cubicBezTo>
                  <a:pt x="57" y="67"/>
                  <a:pt x="57" y="67"/>
                  <a:pt x="57" y="67"/>
                </a:cubicBezTo>
                <a:cubicBezTo>
                  <a:pt x="57" y="88"/>
                  <a:pt x="57" y="88"/>
                  <a:pt x="57" y="88"/>
                </a:cubicBezTo>
                <a:close/>
                <a:moveTo>
                  <a:pt x="68" y="88"/>
                </a:moveTo>
                <a:cubicBezTo>
                  <a:pt x="70" y="88"/>
                  <a:pt x="73" y="88"/>
                  <a:pt x="75" y="88"/>
                </a:cubicBezTo>
                <a:cubicBezTo>
                  <a:pt x="75" y="72"/>
                  <a:pt x="75" y="72"/>
                  <a:pt x="75" y="72"/>
                </a:cubicBezTo>
                <a:cubicBezTo>
                  <a:pt x="68" y="75"/>
                  <a:pt x="68" y="75"/>
                  <a:pt x="68" y="75"/>
                </a:cubicBezTo>
                <a:lnTo>
                  <a:pt x="68" y="88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38016766-7BEB-4E2F-AA6C-7F02CBF3EC1D}"/>
              </a:ext>
            </a:extLst>
          </p:cNvPr>
          <p:cNvSpPr/>
          <p:nvPr/>
        </p:nvSpPr>
        <p:spPr>
          <a:xfrm>
            <a:off x="9960971" y="3518763"/>
            <a:ext cx="942666" cy="942666"/>
          </a:xfrm>
          <a:prstGeom prst="ellipse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55E62B33-8905-479D-9CAB-9DCEA2103C58}"/>
              </a:ext>
            </a:extLst>
          </p:cNvPr>
          <p:cNvSpPr/>
          <p:nvPr/>
        </p:nvSpPr>
        <p:spPr bwMode="auto">
          <a:xfrm>
            <a:off x="10272007" y="3808808"/>
            <a:ext cx="320594" cy="362576"/>
          </a:xfrm>
          <a:custGeom>
            <a:avLst/>
            <a:gdLst>
              <a:gd name="T0" fmla="*/ 20 w 78"/>
              <a:gd name="T1" fmla="*/ 7 h 88"/>
              <a:gd name="T2" fmla="*/ 20 w 78"/>
              <a:gd name="T3" fmla="*/ 11 h 88"/>
              <a:gd name="T4" fmla="*/ 5 w 78"/>
              <a:gd name="T5" fmla="*/ 6 h 88"/>
              <a:gd name="T6" fmla="*/ 1 w 78"/>
              <a:gd name="T7" fmla="*/ 8 h 88"/>
              <a:gd name="T8" fmla="*/ 0 w 78"/>
              <a:gd name="T9" fmla="*/ 20 h 88"/>
              <a:gd name="T10" fmla="*/ 3 w 78"/>
              <a:gd name="T11" fmla="*/ 38 h 88"/>
              <a:gd name="T12" fmla="*/ 17 w 78"/>
              <a:gd name="T13" fmla="*/ 49 h 88"/>
              <a:gd name="T14" fmla="*/ 20 w 78"/>
              <a:gd name="T15" fmla="*/ 50 h 88"/>
              <a:gd name="T16" fmla="*/ 20 w 78"/>
              <a:gd name="T17" fmla="*/ 49 h 88"/>
              <a:gd name="T18" fmla="*/ 31 w 78"/>
              <a:gd name="T19" fmla="*/ 52 h 88"/>
              <a:gd name="T20" fmla="*/ 31 w 78"/>
              <a:gd name="T21" fmla="*/ 64 h 88"/>
              <a:gd name="T22" fmla="*/ 27 w 78"/>
              <a:gd name="T23" fmla="*/ 64 h 88"/>
              <a:gd name="T24" fmla="*/ 27 w 78"/>
              <a:gd name="T25" fmla="*/ 68 h 88"/>
              <a:gd name="T26" fmla="*/ 15 w 78"/>
              <a:gd name="T27" fmla="*/ 68 h 88"/>
              <a:gd name="T28" fmla="*/ 15 w 78"/>
              <a:gd name="T29" fmla="*/ 88 h 88"/>
              <a:gd name="T30" fmla="*/ 64 w 78"/>
              <a:gd name="T31" fmla="*/ 88 h 88"/>
              <a:gd name="T32" fmla="*/ 64 w 78"/>
              <a:gd name="T33" fmla="*/ 68 h 88"/>
              <a:gd name="T34" fmla="*/ 52 w 78"/>
              <a:gd name="T35" fmla="*/ 68 h 88"/>
              <a:gd name="T36" fmla="*/ 52 w 78"/>
              <a:gd name="T37" fmla="*/ 64 h 88"/>
              <a:gd name="T38" fmla="*/ 47 w 78"/>
              <a:gd name="T39" fmla="*/ 64 h 88"/>
              <a:gd name="T40" fmla="*/ 47 w 78"/>
              <a:gd name="T41" fmla="*/ 52 h 88"/>
              <a:gd name="T42" fmla="*/ 58 w 78"/>
              <a:gd name="T43" fmla="*/ 49 h 88"/>
              <a:gd name="T44" fmla="*/ 58 w 78"/>
              <a:gd name="T45" fmla="*/ 50 h 88"/>
              <a:gd name="T46" fmla="*/ 61 w 78"/>
              <a:gd name="T47" fmla="*/ 49 h 88"/>
              <a:gd name="T48" fmla="*/ 75 w 78"/>
              <a:gd name="T49" fmla="*/ 38 h 88"/>
              <a:gd name="T50" fmla="*/ 78 w 78"/>
              <a:gd name="T51" fmla="*/ 20 h 88"/>
              <a:gd name="T52" fmla="*/ 77 w 78"/>
              <a:gd name="T53" fmla="*/ 8 h 88"/>
              <a:gd name="T54" fmla="*/ 73 w 78"/>
              <a:gd name="T55" fmla="*/ 6 h 88"/>
              <a:gd name="T56" fmla="*/ 58 w 78"/>
              <a:gd name="T57" fmla="*/ 11 h 88"/>
              <a:gd name="T58" fmla="*/ 58 w 78"/>
              <a:gd name="T59" fmla="*/ 7 h 88"/>
              <a:gd name="T60" fmla="*/ 60 w 78"/>
              <a:gd name="T61" fmla="*/ 7 h 88"/>
              <a:gd name="T62" fmla="*/ 60 w 78"/>
              <a:gd name="T63" fmla="*/ 0 h 88"/>
              <a:gd name="T64" fmla="*/ 17 w 78"/>
              <a:gd name="T65" fmla="*/ 0 h 88"/>
              <a:gd name="T66" fmla="*/ 17 w 78"/>
              <a:gd name="T67" fmla="*/ 7 h 88"/>
              <a:gd name="T68" fmla="*/ 20 w 78"/>
              <a:gd name="T69" fmla="*/ 7 h 88"/>
              <a:gd name="T70" fmla="*/ 63 w 78"/>
              <a:gd name="T71" fmla="*/ 42 h 88"/>
              <a:gd name="T72" fmla="*/ 59 w 78"/>
              <a:gd name="T73" fmla="*/ 20 h 88"/>
              <a:gd name="T74" fmla="*/ 61 w 78"/>
              <a:gd name="T75" fmla="*/ 22 h 88"/>
              <a:gd name="T76" fmla="*/ 66 w 78"/>
              <a:gd name="T77" fmla="*/ 18 h 88"/>
              <a:gd name="T78" fmla="*/ 64 w 78"/>
              <a:gd name="T79" fmla="*/ 16 h 88"/>
              <a:gd name="T80" fmla="*/ 71 w 78"/>
              <a:gd name="T81" fmla="*/ 13 h 88"/>
              <a:gd name="T82" fmla="*/ 72 w 78"/>
              <a:gd name="T83" fmla="*/ 20 h 88"/>
              <a:gd name="T84" fmla="*/ 69 w 78"/>
              <a:gd name="T85" fmla="*/ 36 h 88"/>
              <a:gd name="T86" fmla="*/ 63 w 78"/>
              <a:gd name="T87" fmla="*/ 42 h 88"/>
              <a:gd name="T88" fmla="*/ 19 w 78"/>
              <a:gd name="T89" fmla="*/ 20 h 88"/>
              <a:gd name="T90" fmla="*/ 15 w 78"/>
              <a:gd name="T91" fmla="*/ 42 h 88"/>
              <a:gd name="T92" fmla="*/ 9 w 78"/>
              <a:gd name="T93" fmla="*/ 36 h 88"/>
              <a:gd name="T94" fmla="*/ 6 w 78"/>
              <a:gd name="T95" fmla="*/ 20 h 88"/>
              <a:gd name="T96" fmla="*/ 7 w 78"/>
              <a:gd name="T97" fmla="*/ 13 h 88"/>
              <a:gd name="T98" fmla="*/ 14 w 78"/>
              <a:gd name="T99" fmla="*/ 16 h 88"/>
              <a:gd name="T100" fmla="*/ 12 w 78"/>
              <a:gd name="T101" fmla="*/ 18 h 88"/>
              <a:gd name="T102" fmla="*/ 17 w 78"/>
              <a:gd name="T103" fmla="*/ 22 h 88"/>
              <a:gd name="T104" fmla="*/ 19 w 78"/>
              <a:gd name="T105" fmla="*/ 20 h 88"/>
              <a:gd name="T106" fmla="*/ 32 w 78"/>
              <a:gd name="T107" fmla="*/ 10 h 88"/>
              <a:gd name="T108" fmla="*/ 32 w 78"/>
              <a:gd name="T109" fmla="*/ 45 h 88"/>
              <a:gd name="T110" fmla="*/ 25 w 78"/>
              <a:gd name="T111" fmla="*/ 41 h 88"/>
              <a:gd name="T112" fmla="*/ 28 w 78"/>
              <a:gd name="T113" fmla="*/ 14 h 88"/>
              <a:gd name="T114" fmla="*/ 28 w 78"/>
              <a:gd name="T115" fmla="*/ 10 h 88"/>
              <a:gd name="T116" fmla="*/ 32 w 78"/>
              <a:gd name="T117" fmla="*/ 10 h 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78" h="88">
                <a:moveTo>
                  <a:pt x="20" y="7"/>
                </a:moveTo>
                <a:cubicBezTo>
                  <a:pt x="20" y="8"/>
                  <a:pt x="21" y="10"/>
                  <a:pt x="20" y="11"/>
                </a:cubicBezTo>
                <a:cubicBezTo>
                  <a:pt x="5" y="6"/>
                  <a:pt x="5" y="6"/>
                  <a:pt x="5" y="6"/>
                </a:cubicBezTo>
                <a:cubicBezTo>
                  <a:pt x="1" y="8"/>
                  <a:pt x="1" y="8"/>
                  <a:pt x="1" y="8"/>
                </a:cubicBezTo>
                <a:cubicBezTo>
                  <a:pt x="0" y="11"/>
                  <a:pt x="0" y="16"/>
                  <a:pt x="0" y="20"/>
                </a:cubicBezTo>
                <a:cubicBezTo>
                  <a:pt x="0" y="26"/>
                  <a:pt x="1" y="33"/>
                  <a:pt x="3" y="38"/>
                </a:cubicBezTo>
                <a:cubicBezTo>
                  <a:pt x="6" y="44"/>
                  <a:pt x="10" y="48"/>
                  <a:pt x="17" y="49"/>
                </a:cubicBezTo>
                <a:cubicBezTo>
                  <a:pt x="18" y="50"/>
                  <a:pt x="19" y="50"/>
                  <a:pt x="20" y="50"/>
                </a:cubicBezTo>
                <a:cubicBezTo>
                  <a:pt x="20" y="49"/>
                  <a:pt x="20" y="49"/>
                  <a:pt x="20" y="49"/>
                </a:cubicBezTo>
                <a:cubicBezTo>
                  <a:pt x="22" y="51"/>
                  <a:pt x="26" y="52"/>
                  <a:pt x="31" y="52"/>
                </a:cubicBezTo>
                <a:cubicBezTo>
                  <a:pt x="31" y="64"/>
                  <a:pt x="31" y="64"/>
                  <a:pt x="31" y="64"/>
                </a:cubicBezTo>
                <a:cubicBezTo>
                  <a:pt x="27" y="64"/>
                  <a:pt x="27" y="64"/>
                  <a:pt x="27" y="64"/>
                </a:cubicBezTo>
                <a:cubicBezTo>
                  <a:pt x="27" y="68"/>
                  <a:pt x="27" y="68"/>
                  <a:pt x="27" y="68"/>
                </a:cubicBezTo>
                <a:cubicBezTo>
                  <a:pt x="15" y="68"/>
                  <a:pt x="15" y="68"/>
                  <a:pt x="15" y="68"/>
                </a:cubicBezTo>
                <a:cubicBezTo>
                  <a:pt x="15" y="88"/>
                  <a:pt x="15" y="88"/>
                  <a:pt x="15" y="88"/>
                </a:cubicBezTo>
                <a:cubicBezTo>
                  <a:pt x="64" y="88"/>
                  <a:pt x="64" y="88"/>
                  <a:pt x="64" y="88"/>
                </a:cubicBezTo>
                <a:cubicBezTo>
                  <a:pt x="64" y="68"/>
                  <a:pt x="64" y="68"/>
                  <a:pt x="64" y="68"/>
                </a:cubicBezTo>
                <a:cubicBezTo>
                  <a:pt x="52" y="68"/>
                  <a:pt x="52" y="68"/>
                  <a:pt x="52" y="68"/>
                </a:cubicBezTo>
                <a:cubicBezTo>
                  <a:pt x="52" y="64"/>
                  <a:pt x="52" y="64"/>
                  <a:pt x="52" y="64"/>
                </a:cubicBezTo>
                <a:cubicBezTo>
                  <a:pt x="47" y="64"/>
                  <a:pt x="47" y="64"/>
                  <a:pt x="47" y="64"/>
                </a:cubicBezTo>
                <a:cubicBezTo>
                  <a:pt x="47" y="52"/>
                  <a:pt x="47" y="52"/>
                  <a:pt x="47" y="52"/>
                </a:cubicBezTo>
                <a:cubicBezTo>
                  <a:pt x="52" y="52"/>
                  <a:pt x="56" y="51"/>
                  <a:pt x="58" y="49"/>
                </a:cubicBezTo>
                <a:cubicBezTo>
                  <a:pt x="58" y="50"/>
                  <a:pt x="58" y="50"/>
                  <a:pt x="58" y="50"/>
                </a:cubicBezTo>
                <a:cubicBezTo>
                  <a:pt x="59" y="50"/>
                  <a:pt x="60" y="50"/>
                  <a:pt x="61" y="49"/>
                </a:cubicBezTo>
                <a:cubicBezTo>
                  <a:pt x="68" y="48"/>
                  <a:pt x="72" y="44"/>
                  <a:pt x="75" y="38"/>
                </a:cubicBezTo>
                <a:cubicBezTo>
                  <a:pt x="77" y="33"/>
                  <a:pt x="78" y="26"/>
                  <a:pt x="78" y="20"/>
                </a:cubicBezTo>
                <a:cubicBezTo>
                  <a:pt x="78" y="16"/>
                  <a:pt x="78" y="11"/>
                  <a:pt x="77" y="8"/>
                </a:cubicBezTo>
                <a:cubicBezTo>
                  <a:pt x="73" y="6"/>
                  <a:pt x="73" y="6"/>
                  <a:pt x="73" y="6"/>
                </a:cubicBezTo>
                <a:cubicBezTo>
                  <a:pt x="58" y="11"/>
                  <a:pt x="58" y="11"/>
                  <a:pt x="58" y="11"/>
                </a:cubicBezTo>
                <a:cubicBezTo>
                  <a:pt x="57" y="10"/>
                  <a:pt x="58" y="8"/>
                  <a:pt x="58" y="7"/>
                </a:cubicBezTo>
                <a:cubicBezTo>
                  <a:pt x="60" y="7"/>
                  <a:pt x="60" y="7"/>
                  <a:pt x="60" y="7"/>
                </a:cubicBezTo>
                <a:cubicBezTo>
                  <a:pt x="60" y="0"/>
                  <a:pt x="60" y="0"/>
                  <a:pt x="60" y="0"/>
                </a:cubicBezTo>
                <a:cubicBezTo>
                  <a:pt x="17" y="0"/>
                  <a:pt x="17" y="0"/>
                  <a:pt x="17" y="0"/>
                </a:cubicBezTo>
                <a:cubicBezTo>
                  <a:pt x="17" y="7"/>
                  <a:pt x="17" y="7"/>
                  <a:pt x="17" y="7"/>
                </a:cubicBezTo>
                <a:cubicBezTo>
                  <a:pt x="20" y="7"/>
                  <a:pt x="20" y="7"/>
                  <a:pt x="20" y="7"/>
                </a:cubicBezTo>
                <a:close/>
                <a:moveTo>
                  <a:pt x="63" y="42"/>
                </a:moveTo>
                <a:cubicBezTo>
                  <a:pt x="64" y="36"/>
                  <a:pt x="60" y="28"/>
                  <a:pt x="59" y="20"/>
                </a:cubicBezTo>
                <a:cubicBezTo>
                  <a:pt x="61" y="22"/>
                  <a:pt x="61" y="22"/>
                  <a:pt x="61" y="22"/>
                </a:cubicBezTo>
                <a:cubicBezTo>
                  <a:pt x="66" y="18"/>
                  <a:pt x="66" y="18"/>
                  <a:pt x="66" y="18"/>
                </a:cubicBezTo>
                <a:cubicBezTo>
                  <a:pt x="64" y="16"/>
                  <a:pt x="64" y="16"/>
                  <a:pt x="64" y="16"/>
                </a:cubicBezTo>
                <a:cubicBezTo>
                  <a:pt x="71" y="13"/>
                  <a:pt x="71" y="13"/>
                  <a:pt x="71" y="13"/>
                </a:cubicBezTo>
                <a:cubicBezTo>
                  <a:pt x="72" y="15"/>
                  <a:pt x="72" y="18"/>
                  <a:pt x="72" y="20"/>
                </a:cubicBezTo>
                <a:cubicBezTo>
                  <a:pt x="71" y="26"/>
                  <a:pt x="71" y="31"/>
                  <a:pt x="69" y="36"/>
                </a:cubicBezTo>
                <a:cubicBezTo>
                  <a:pt x="67" y="39"/>
                  <a:pt x="65" y="41"/>
                  <a:pt x="63" y="42"/>
                </a:cubicBezTo>
                <a:close/>
                <a:moveTo>
                  <a:pt x="19" y="20"/>
                </a:moveTo>
                <a:cubicBezTo>
                  <a:pt x="17" y="28"/>
                  <a:pt x="14" y="36"/>
                  <a:pt x="15" y="42"/>
                </a:cubicBezTo>
                <a:cubicBezTo>
                  <a:pt x="13" y="41"/>
                  <a:pt x="11" y="39"/>
                  <a:pt x="9" y="36"/>
                </a:cubicBezTo>
                <a:cubicBezTo>
                  <a:pt x="7" y="31"/>
                  <a:pt x="6" y="26"/>
                  <a:pt x="6" y="20"/>
                </a:cubicBezTo>
                <a:cubicBezTo>
                  <a:pt x="6" y="18"/>
                  <a:pt x="6" y="15"/>
                  <a:pt x="7" y="13"/>
                </a:cubicBezTo>
                <a:cubicBezTo>
                  <a:pt x="14" y="16"/>
                  <a:pt x="14" y="16"/>
                  <a:pt x="14" y="16"/>
                </a:cubicBezTo>
                <a:cubicBezTo>
                  <a:pt x="12" y="18"/>
                  <a:pt x="12" y="18"/>
                  <a:pt x="12" y="18"/>
                </a:cubicBezTo>
                <a:cubicBezTo>
                  <a:pt x="17" y="22"/>
                  <a:pt x="17" y="22"/>
                  <a:pt x="17" y="22"/>
                </a:cubicBezTo>
                <a:cubicBezTo>
                  <a:pt x="19" y="20"/>
                  <a:pt x="19" y="20"/>
                  <a:pt x="19" y="20"/>
                </a:cubicBezTo>
                <a:close/>
                <a:moveTo>
                  <a:pt x="32" y="10"/>
                </a:moveTo>
                <a:cubicBezTo>
                  <a:pt x="32" y="45"/>
                  <a:pt x="32" y="45"/>
                  <a:pt x="32" y="45"/>
                </a:cubicBezTo>
                <a:cubicBezTo>
                  <a:pt x="32" y="45"/>
                  <a:pt x="27" y="45"/>
                  <a:pt x="25" y="41"/>
                </a:cubicBezTo>
                <a:cubicBezTo>
                  <a:pt x="24" y="37"/>
                  <a:pt x="28" y="16"/>
                  <a:pt x="28" y="14"/>
                </a:cubicBezTo>
                <a:cubicBezTo>
                  <a:pt x="28" y="13"/>
                  <a:pt x="28" y="10"/>
                  <a:pt x="28" y="10"/>
                </a:cubicBezTo>
                <a:lnTo>
                  <a:pt x="32" y="1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F6AA560-1931-4FF3-A7B2-F45175184553}"/>
              </a:ext>
            </a:extLst>
          </p:cNvPr>
          <p:cNvSpPr/>
          <p:nvPr/>
        </p:nvSpPr>
        <p:spPr>
          <a:xfrm>
            <a:off x="5172345" y="4600963"/>
            <a:ext cx="2172945" cy="328243"/>
          </a:xfrm>
          <a:prstGeom prst="rect">
            <a:avLst/>
          </a:prstGeom>
        </p:spPr>
        <p:txBody>
          <a:bodyPr wrap="none" lIns="90000" tIns="46800" rIns="90000" bIns="46800" anchor="ctr">
            <a:normAutofit lnSpcReduction="10000"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chemeClr val="accent2"/>
                </a:solidFill>
                <a:cs typeface="+mn-ea"/>
                <a:sym typeface="+mn-lt"/>
              </a:rPr>
              <a:t>Text here</a:t>
            </a:r>
            <a:endParaRPr lang="zh-CN" altLang="en-US" sz="16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D030B4F5-C533-4038-8D2D-5763A5318E32}"/>
              </a:ext>
            </a:extLst>
          </p:cNvPr>
          <p:cNvSpPr/>
          <p:nvPr/>
        </p:nvSpPr>
        <p:spPr>
          <a:xfrm>
            <a:off x="5219718" y="4934823"/>
            <a:ext cx="1927827" cy="774206"/>
          </a:xfrm>
          <a:prstGeom prst="rect">
            <a:avLst/>
          </a:prstGeom>
        </p:spPr>
        <p:txBody>
          <a:bodyPr wrap="square" lIns="90000" tIns="46800" rIns="90000" bIns="46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9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D923EA14-A23C-48B4-98C6-CF1FFB83807C}"/>
              </a:ext>
            </a:extLst>
          </p:cNvPr>
          <p:cNvSpPr/>
          <p:nvPr/>
        </p:nvSpPr>
        <p:spPr>
          <a:xfrm>
            <a:off x="7260358" y="4600963"/>
            <a:ext cx="2172945" cy="328243"/>
          </a:xfrm>
          <a:prstGeom prst="rect">
            <a:avLst/>
          </a:prstGeom>
        </p:spPr>
        <p:txBody>
          <a:bodyPr wrap="none" lIns="90000" tIns="46800" rIns="90000" bIns="46800" anchor="ctr">
            <a:normAutofit lnSpcReduction="10000"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chemeClr val="accent3"/>
                </a:solidFill>
                <a:cs typeface="+mn-ea"/>
                <a:sym typeface="+mn-lt"/>
              </a:rPr>
              <a:t>Text here</a:t>
            </a:r>
            <a:endParaRPr lang="zh-CN" altLang="en-US" sz="1600" b="1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A3AF658D-AAB0-40FD-A9BB-3E729ECE9C6B}"/>
              </a:ext>
            </a:extLst>
          </p:cNvPr>
          <p:cNvSpPr/>
          <p:nvPr/>
        </p:nvSpPr>
        <p:spPr>
          <a:xfrm>
            <a:off x="7365868" y="4934823"/>
            <a:ext cx="1982503" cy="774206"/>
          </a:xfrm>
          <a:prstGeom prst="rect">
            <a:avLst/>
          </a:prstGeom>
        </p:spPr>
        <p:txBody>
          <a:bodyPr wrap="square" lIns="90000" tIns="46800" rIns="90000" bIns="46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9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68D4C0AF-8B50-4366-B01B-1862134589F3}"/>
              </a:ext>
            </a:extLst>
          </p:cNvPr>
          <p:cNvSpPr/>
          <p:nvPr/>
        </p:nvSpPr>
        <p:spPr>
          <a:xfrm>
            <a:off x="9345831" y="4600963"/>
            <a:ext cx="2172945" cy="328243"/>
          </a:xfrm>
          <a:prstGeom prst="rect">
            <a:avLst/>
          </a:prstGeom>
        </p:spPr>
        <p:txBody>
          <a:bodyPr wrap="none" lIns="90000" tIns="46800" rIns="90000" bIns="46800" anchor="ctr">
            <a:normAutofit lnSpcReduction="10000"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1600" b="1" dirty="0">
                <a:solidFill>
                  <a:schemeClr val="accent4"/>
                </a:solidFill>
                <a:cs typeface="+mn-ea"/>
                <a:sym typeface="+mn-lt"/>
              </a:rPr>
              <a:t>Text here</a:t>
            </a:r>
            <a:endParaRPr lang="zh-CN" altLang="en-US" sz="1600" b="1" dirty="0">
              <a:solidFill>
                <a:schemeClr val="accent4"/>
              </a:solidFill>
              <a:cs typeface="+mn-ea"/>
              <a:sym typeface="+mn-lt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BFBBAB99-2611-4F00-A8E9-75ED3483B8B0}"/>
              </a:ext>
            </a:extLst>
          </p:cNvPr>
          <p:cNvSpPr/>
          <p:nvPr/>
        </p:nvSpPr>
        <p:spPr>
          <a:xfrm>
            <a:off x="9538813" y="4934823"/>
            <a:ext cx="1895031" cy="774206"/>
          </a:xfrm>
          <a:prstGeom prst="rect">
            <a:avLst/>
          </a:prstGeom>
        </p:spPr>
        <p:txBody>
          <a:bodyPr wrap="square" lIns="90000" tIns="46800" rIns="90000" bIns="46800" anchor="ctr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9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258151C5-265E-4379-A0D1-AD680484BC68}"/>
              </a:ext>
            </a:extLst>
          </p:cNvPr>
          <p:cNvCxnSpPr/>
          <p:nvPr/>
        </p:nvCxnSpPr>
        <p:spPr>
          <a:xfrm>
            <a:off x="7259513" y="4349969"/>
            <a:ext cx="0" cy="179365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D042A827-E355-4592-B869-D07C55F43176}"/>
              </a:ext>
            </a:extLst>
          </p:cNvPr>
          <p:cNvCxnSpPr/>
          <p:nvPr/>
        </p:nvCxnSpPr>
        <p:spPr>
          <a:xfrm>
            <a:off x="9442876" y="4349969"/>
            <a:ext cx="0" cy="1793656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矩形 43">
            <a:extLst>
              <a:ext uri="{FF2B5EF4-FFF2-40B4-BE49-F238E27FC236}">
                <a16:creationId xmlns:a16="http://schemas.microsoft.com/office/drawing/2014/main" id="{A2BF8F43-0756-451E-B2DE-7CDC7F4C24A3}"/>
              </a:ext>
            </a:extLst>
          </p:cNvPr>
          <p:cNvSpPr/>
          <p:nvPr/>
        </p:nvSpPr>
        <p:spPr>
          <a:xfrm>
            <a:off x="5268062" y="1997260"/>
            <a:ext cx="6252426" cy="1153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0000" anchor="t" anchorCtr="0">
            <a:normAutofit/>
          </a:bodyPr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0A5539C8-A923-47A2-95D6-975972D930EC}"/>
              </a:ext>
            </a:extLst>
          </p:cNvPr>
          <p:cNvSpPr txBox="1"/>
          <p:nvPr/>
        </p:nvSpPr>
        <p:spPr bwMode="auto">
          <a:xfrm>
            <a:off x="5268062" y="1555455"/>
            <a:ext cx="6252426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43" name="直接连接符 42">
            <a:extLst>
              <a:ext uri="{FF2B5EF4-FFF2-40B4-BE49-F238E27FC236}">
                <a16:creationId xmlns:a16="http://schemas.microsoft.com/office/drawing/2014/main" id="{62908F2B-78F6-4C17-825A-79D605E8387D}"/>
              </a:ext>
            </a:extLst>
          </p:cNvPr>
          <p:cNvCxnSpPr/>
          <p:nvPr/>
        </p:nvCxnSpPr>
        <p:spPr>
          <a:xfrm>
            <a:off x="5331000" y="3150265"/>
            <a:ext cx="6187776" cy="0"/>
          </a:xfrm>
          <a:prstGeom prst="line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43034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53" name="文本框 152">
            <a:extLst>
              <a:ext uri="{FF2B5EF4-FFF2-40B4-BE49-F238E27FC236}">
                <a16:creationId xmlns:a16="http://schemas.microsoft.com/office/drawing/2014/main" id="{F1EFCBCC-D720-4C8A-93FA-536E9F82BDB5}"/>
              </a:ext>
            </a:extLst>
          </p:cNvPr>
          <p:cNvSpPr txBox="1"/>
          <p:nvPr/>
        </p:nvSpPr>
        <p:spPr>
          <a:xfrm>
            <a:off x="673101" y="3570610"/>
            <a:ext cx="2403475" cy="4776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54" name="矩形 153">
            <a:extLst>
              <a:ext uri="{FF2B5EF4-FFF2-40B4-BE49-F238E27FC236}">
                <a16:creationId xmlns:a16="http://schemas.microsoft.com/office/drawing/2014/main" id="{42914B50-666C-410F-8810-54FEE4D02D24}"/>
              </a:ext>
            </a:extLst>
          </p:cNvPr>
          <p:cNvSpPr/>
          <p:nvPr/>
        </p:nvSpPr>
        <p:spPr>
          <a:xfrm>
            <a:off x="673101" y="3264234"/>
            <a:ext cx="2403475" cy="306375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r"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82" name="任意多边形: 形状 181">
            <a:extLst>
              <a:ext uri="{FF2B5EF4-FFF2-40B4-BE49-F238E27FC236}">
                <a16:creationId xmlns:a16="http://schemas.microsoft.com/office/drawing/2014/main" id="{5F70F75A-0ACB-40ED-992B-4AE56B4395E5}"/>
              </a:ext>
            </a:extLst>
          </p:cNvPr>
          <p:cNvSpPr/>
          <p:nvPr/>
        </p:nvSpPr>
        <p:spPr bwMode="auto">
          <a:xfrm>
            <a:off x="4622801" y="3094422"/>
            <a:ext cx="1436323" cy="1123630"/>
          </a:xfrm>
          <a:custGeom>
            <a:avLst/>
            <a:gdLst/>
            <a:ahLst/>
            <a:cxnLst>
              <a:cxn ang="0">
                <a:pos x="669" y="221"/>
              </a:cxn>
              <a:cxn ang="0">
                <a:pos x="454" y="63"/>
              </a:cxn>
              <a:cxn ang="0">
                <a:pos x="432" y="47"/>
              </a:cxn>
              <a:cxn ang="0">
                <a:pos x="279" y="0"/>
              </a:cxn>
              <a:cxn ang="0">
                <a:pos x="211" y="9"/>
              </a:cxn>
              <a:cxn ang="0">
                <a:pos x="0" y="279"/>
              </a:cxn>
              <a:cxn ang="0">
                <a:pos x="211" y="549"/>
              </a:cxn>
              <a:cxn ang="0">
                <a:pos x="279" y="557"/>
              </a:cxn>
              <a:cxn ang="0">
                <a:pos x="432" y="511"/>
              </a:cxn>
              <a:cxn ang="0">
                <a:pos x="454" y="495"/>
              </a:cxn>
              <a:cxn ang="0">
                <a:pos x="669" y="337"/>
              </a:cxn>
              <a:cxn ang="0">
                <a:pos x="669" y="221"/>
              </a:cxn>
            </a:cxnLst>
            <a:rect l="0" t="0" r="r" b="b"/>
            <a:pathLst>
              <a:path w="712" h="557">
                <a:moveTo>
                  <a:pt x="669" y="221"/>
                </a:moveTo>
                <a:cubicBezTo>
                  <a:pt x="454" y="63"/>
                  <a:pt x="454" y="63"/>
                  <a:pt x="454" y="63"/>
                </a:cubicBezTo>
                <a:cubicBezTo>
                  <a:pt x="447" y="57"/>
                  <a:pt x="440" y="52"/>
                  <a:pt x="432" y="47"/>
                </a:cubicBezTo>
                <a:cubicBezTo>
                  <a:pt x="388" y="17"/>
                  <a:pt x="336" y="0"/>
                  <a:pt x="279" y="0"/>
                </a:cubicBezTo>
                <a:cubicBezTo>
                  <a:pt x="255" y="0"/>
                  <a:pt x="233" y="3"/>
                  <a:pt x="211" y="9"/>
                </a:cubicBezTo>
                <a:cubicBezTo>
                  <a:pt x="90" y="39"/>
                  <a:pt x="0" y="148"/>
                  <a:pt x="0" y="279"/>
                </a:cubicBezTo>
                <a:cubicBezTo>
                  <a:pt x="0" y="409"/>
                  <a:pt x="90" y="518"/>
                  <a:pt x="211" y="549"/>
                </a:cubicBezTo>
                <a:cubicBezTo>
                  <a:pt x="233" y="554"/>
                  <a:pt x="255" y="557"/>
                  <a:pt x="279" y="557"/>
                </a:cubicBezTo>
                <a:cubicBezTo>
                  <a:pt x="336" y="557"/>
                  <a:pt x="388" y="540"/>
                  <a:pt x="432" y="511"/>
                </a:cubicBezTo>
                <a:cubicBezTo>
                  <a:pt x="440" y="506"/>
                  <a:pt x="447" y="500"/>
                  <a:pt x="454" y="495"/>
                </a:cubicBezTo>
                <a:cubicBezTo>
                  <a:pt x="669" y="337"/>
                  <a:pt x="669" y="337"/>
                  <a:pt x="669" y="337"/>
                </a:cubicBezTo>
                <a:cubicBezTo>
                  <a:pt x="712" y="305"/>
                  <a:pt x="712" y="253"/>
                  <a:pt x="669" y="22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 defTabSz="814388">
              <a:lnSpc>
                <a:spcPct val="90000"/>
              </a:lnSpc>
              <a:defRPr/>
            </a:pPr>
            <a:endParaRPr lang="en-US" sz="2400" dirty="0">
              <a:cs typeface="+mn-ea"/>
              <a:sym typeface="+mn-lt"/>
            </a:endParaRPr>
          </a:p>
        </p:txBody>
      </p:sp>
      <p:sp>
        <p:nvSpPr>
          <p:cNvPr id="183" name="任意多边形: 形状 182">
            <a:extLst>
              <a:ext uri="{FF2B5EF4-FFF2-40B4-BE49-F238E27FC236}">
                <a16:creationId xmlns:a16="http://schemas.microsoft.com/office/drawing/2014/main" id="{2FC4A9E1-A016-4962-8358-BBFA8F3F4DC7}"/>
              </a:ext>
            </a:extLst>
          </p:cNvPr>
          <p:cNvSpPr/>
          <p:nvPr/>
        </p:nvSpPr>
        <p:spPr bwMode="auto">
          <a:xfrm>
            <a:off x="5793617" y="3094422"/>
            <a:ext cx="1358150" cy="1123630"/>
          </a:xfrm>
          <a:custGeom>
            <a:avLst/>
            <a:gdLst/>
            <a:ahLst/>
            <a:cxnLst>
              <a:cxn ang="0">
                <a:pos x="629" y="221"/>
              </a:cxn>
              <a:cxn ang="0">
                <a:pos x="415" y="63"/>
              </a:cxn>
              <a:cxn ang="0">
                <a:pos x="393" y="47"/>
              </a:cxn>
              <a:cxn ang="0">
                <a:pos x="239" y="0"/>
              </a:cxn>
              <a:cxn ang="0">
                <a:pos x="172" y="9"/>
              </a:cxn>
              <a:cxn ang="0">
                <a:pos x="0" y="137"/>
              </a:cxn>
              <a:cxn ang="0">
                <a:pos x="98" y="209"/>
              </a:cxn>
              <a:cxn ang="0">
                <a:pos x="137" y="279"/>
              </a:cxn>
              <a:cxn ang="0">
                <a:pos x="98" y="349"/>
              </a:cxn>
              <a:cxn ang="0">
                <a:pos x="0" y="421"/>
              </a:cxn>
              <a:cxn ang="0">
                <a:pos x="172" y="549"/>
              </a:cxn>
              <a:cxn ang="0">
                <a:pos x="239" y="557"/>
              </a:cxn>
              <a:cxn ang="0">
                <a:pos x="393" y="511"/>
              </a:cxn>
              <a:cxn ang="0">
                <a:pos x="415" y="495"/>
              </a:cxn>
              <a:cxn ang="0">
                <a:pos x="629" y="337"/>
              </a:cxn>
              <a:cxn ang="0">
                <a:pos x="629" y="221"/>
              </a:cxn>
            </a:cxnLst>
            <a:rect l="0" t="0" r="r" b="b"/>
            <a:pathLst>
              <a:path w="673" h="557">
                <a:moveTo>
                  <a:pt x="629" y="221"/>
                </a:moveTo>
                <a:cubicBezTo>
                  <a:pt x="415" y="63"/>
                  <a:pt x="415" y="63"/>
                  <a:pt x="415" y="63"/>
                </a:cubicBezTo>
                <a:cubicBezTo>
                  <a:pt x="408" y="57"/>
                  <a:pt x="401" y="52"/>
                  <a:pt x="393" y="47"/>
                </a:cubicBezTo>
                <a:cubicBezTo>
                  <a:pt x="349" y="17"/>
                  <a:pt x="296" y="0"/>
                  <a:pt x="239" y="0"/>
                </a:cubicBezTo>
                <a:cubicBezTo>
                  <a:pt x="216" y="0"/>
                  <a:pt x="193" y="3"/>
                  <a:pt x="172" y="9"/>
                </a:cubicBezTo>
                <a:cubicBezTo>
                  <a:pt x="99" y="27"/>
                  <a:pt x="38" y="74"/>
                  <a:pt x="0" y="137"/>
                </a:cubicBezTo>
                <a:cubicBezTo>
                  <a:pt x="98" y="209"/>
                  <a:pt x="98" y="209"/>
                  <a:pt x="98" y="209"/>
                </a:cubicBezTo>
                <a:cubicBezTo>
                  <a:pt x="123" y="227"/>
                  <a:pt x="137" y="252"/>
                  <a:pt x="137" y="279"/>
                </a:cubicBezTo>
                <a:cubicBezTo>
                  <a:pt x="137" y="305"/>
                  <a:pt x="123" y="330"/>
                  <a:pt x="98" y="349"/>
                </a:cubicBezTo>
                <a:cubicBezTo>
                  <a:pt x="0" y="421"/>
                  <a:pt x="0" y="421"/>
                  <a:pt x="0" y="421"/>
                </a:cubicBezTo>
                <a:cubicBezTo>
                  <a:pt x="38" y="484"/>
                  <a:pt x="99" y="530"/>
                  <a:pt x="172" y="549"/>
                </a:cubicBezTo>
                <a:cubicBezTo>
                  <a:pt x="193" y="554"/>
                  <a:pt x="216" y="557"/>
                  <a:pt x="239" y="557"/>
                </a:cubicBezTo>
                <a:cubicBezTo>
                  <a:pt x="296" y="557"/>
                  <a:pt x="349" y="540"/>
                  <a:pt x="393" y="511"/>
                </a:cubicBezTo>
                <a:cubicBezTo>
                  <a:pt x="401" y="506"/>
                  <a:pt x="408" y="500"/>
                  <a:pt x="415" y="495"/>
                </a:cubicBezTo>
                <a:cubicBezTo>
                  <a:pt x="629" y="337"/>
                  <a:pt x="629" y="337"/>
                  <a:pt x="629" y="337"/>
                </a:cubicBezTo>
                <a:cubicBezTo>
                  <a:pt x="673" y="305"/>
                  <a:pt x="673" y="253"/>
                  <a:pt x="629" y="221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 defTabSz="814388">
              <a:lnSpc>
                <a:spcPct val="90000"/>
              </a:lnSpc>
              <a:defRPr/>
            </a:pPr>
            <a:endParaRPr lang="en-US" sz="2400" dirty="0">
              <a:cs typeface="+mn-ea"/>
              <a:sym typeface="+mn-lt"/>
            </a:endParaRPr>
          </a:p>
        </p:txBody>
      </p:sp>
      <p:sp>
        <p:nvSpPr>
          <p:cNvPr id="184" name="任意多边形: 形状 183">
            <a:extLst>
              <a:ext uri="{FF2B5EF4-FFF2-40B4-BE49-F238E27FC236}">
                <a16:creationId xmlns:a16="http://schemas.microsoft.com/office/drawing/2014/main" id="{475A7FB1-B2D5-4F22-9EC4-A9849379C537}"/>
              </a:ext>
            </a:extLst>
          </p:cNvPr>
          <p:cNvSpPr/>
          <p:nvPr/>
        </p:nvSpPr>
        <p:spPr bwMode="auto">
          <a:xfrm>
            <a:off x="6886259" y="3094422"/>
            <a:ext cx="1358150" cy="1123630"/>
          </a:xfrm>
          <a:custGeom>
            <a:avLst/>
            <a:gdLst/>
            <a:ahLst/>
            <a:cxnLst>
              <a:cxn ang="0">
                <a:pos x="629" y="221"/>
              </a:cxn>
              <a:cxn ang="0">
                <a:pos x="414" y="63"/>
              </a:cxn>
              <a:cxn ang="0">
                <a:pos x="393" y="47"/>
              </a:cxn>
              <a:cxn ang="0">
                <a:pos x="239" y="0"/>
              </a:cxn>
              <a:cxn ang="0">
                <a:pos x="171" y="9"/>
              </a:cxn>
              <a:cxn ang="0">
                <a:pos x="0" y="137"/>
              </a:cxn>
              <a:cxn ang="0">
                <a:pos x="98" y="209"/>
              </a:cxn>
              <a:cxn ang="0">
                <a:pos x="137" y="279"/>
              </a:cxn>
              <a:cxn ang="0">
                <a:pos x="98" y="349"/>
              </a:cxn>
              <a:cxn ang="0">
                <a:pos x="0" y="421"/>
              </a:cxn>
              <a:cxn ang="0">
                <a:pos x="171" y="549"/>
              </a:cxn>
              <a:cxn ang="0">
                <a:pos x="239" y="557"/>
              </a:cxn>
              <a:cxn ang="0">
                <a:pos x="393" y="511"/>
              </a:cxn>
              <a:cxn ang="0">
                <a:pos x="414" y="495"/>
              </a:cxn>
              <a:cxn ang="0">
                <a:pos x="629" y="337"/>
              </a:cxn>
              <a:cxn ang="0">
                <a:pos x="629" y="221"/>
              </a:cxn>
            </a:cxnLst>
            <a:rect l="0" t="0" r="r" b="b"/>
            <a:pathLst>
              <a:path w="673" h="557">
                <a:moveTo>
                  <a:pt x="629" y="221"/>
                </a:moveTo>
                <a:cubicBezTo>
                  <a:pt x="414" y="63"/>
                  <a:pt x="414" y="63"/>
                  <a:pt x="414" y="63"/>
                </a:cubicBezTo>
                <a:cubicBezTo>
                  <a:pt x="407" y="57"/>
                  <a:pt x="400" y="52"/>
                  <a:pt x="393" y="47"/>
                </a:cubicBezTo>
                <a:cubicBezTo>
                  <a:pt x="349" y="17"/>
                  <a:pt x="296" y="0"/>
                  <a:pt x="239" y="0"/>
                </a:cubicBezTo>
                <a:cubicBezTo>
                  <a:pt x="216" y="0"/>
                  <a:pt x="193" y="3"/>
                  <a:pt x="171" y="9"/>
                </a:cubicBezTo>
                <a:cubicBezTo>
                  <a:pt x="99" y="27"/>
                  <a:pt x="37" y="74"/>
                  <a:pt x="0" y="137"/>
                </a:cubicBezTo>
                <a:cubicBezTo>
                  <a:pt x="98" y="209"/>
                  <a:pt x="98" y="209"/>
                  <a:pt x="98" y="209"/>
                </a:cubicBezTo>
                <a:cubicBezTo>
                  <a:pt x="123" y="227"/>
                  <a:pt x="137" y="252"/>
                  <a:pt x="137" y="279"/>
                </a:cubicBezTo>
                <a:cubicBezTo>
                  <a:pt x="137" y="305"/>
                  <a:pt x="123" y="330"/>
                  <a:pt x="98" y="349"/>
                </a:cubicBezTo>
                <a:cubicBezTo>
                  <a:pt x="0" y="421"/>
                  <a:pt x="0" y="421"/>
                  <a:pt x="0" y="421"/>
                </a:cubicBezTo>
                <a:cubicBezTo>
                  <a:pt x="37" y="484"/>
                  <a:pt x="99" y="530"/>
                  <a:pt x="171" y="549"/>
                </a:cubicBezTo>
                <a:cubicBezTo>
                  <a:pt x="193" y="554"/>
                  <a:pt x="216" y="557"/>
                  <a:pt x="239" y="557"/>
                </a:cubicBezTo>
                <a:cubicBezTo>
                  <a:pt x="296" y="557"/>
                  <a:pt x="349" y="540"/>
                  <a:pt x="393" y="511"/>
                </a:cubicBezTo>
                <a:cubicBezTo>
                  <a:pt x="400" y="506"/>
                  <a:pt x="407" y="500"/>
                  <a:pt x="414" y="495"/>
                </a:cubicBezTo>
                <a:cubicBezTo>
                  <a:pt x="629" y="337"/>
                  <a:pt x="629" y="337"/>
                  <a:pt x="629" y="337"/>
                </a:cubicBezTo>
                <a:cubicBezTo>
                  <a:pt x="673" y="305"/>
                  <a:pt x="673" y="253"/>
                  <a:pt x="629" y="22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 defTabSz="814388">
              <a:lnSpc>
                <a:spcPct val="90000"/>
              </a:lnSpc>
              <a:defRPr/>
            </a:pPr>
            <a:endParaRPr lang="en-US" sz="2400" dirty="0">
              <a:cs typeface="+mn-ea"/>
              <a:sym typeface="+mn-lt"/>
            </a:endParaRPr>
          </a:p>
        </p:txBody>
      </p:sp>
      <p:sp>
        <p:nvSpPr>
          <p:cNvPr id="185" name="任意多边形: 形状 184">
            <a:extLst>
              <a:ext uri="{FF2B5EF4-FFF2-40B4-BE49-F238E27FC236}">
                <a16:creationId xmlns:a16="http://schemas.microsoft.com/office/drawing/2014/main" id="{716F4518-A6F6-4F18-8164-C42F22D54195}"/>
              </a:ext>
            </a:extLst>
          </p:cNvPr>
          <p:cNvSpPr/>
          <p:nvPr/>
        </p:nvSpPr>
        <p:spPr bwMode="auto">
          <a:xfrm>
            <a:off x="7978901" y="3094422"/>
            <a:ext cx="1356432" cy="1123630"/>
          </a:xfrm>
          <a:custGeom>
            <a:avLst/>
            <a:gdLst/>
            <a:ahLst/>
            <a:cxnLst>
              <a:cxn ang="0">
                <a:pos x="629" y="221"/>
              </a:cxn>
              <a:cxn ang="0">
                <a:pos x="414" y="63"/>
              </a:cxn>
              <a:cxn ang="0">
                <a:pos x="393" y="47"/>
              </a:cxn>
              <a:cxn ang="0">
                <a:pos x="239" y="0"/>
              </a:cxn>
              <a:cxn ang="0">
                <a:pos x="171" y="9"/>
              </a:cxn>
              <a:cxn ang="0">
                <a:pos x="0" y="137"/>
              </a:cxn>
              <a:cxn ang="0">
                <a:pos x="98" y="209"/>
              </a:cxn>
              <a:cxn ang="0">
                <a:pos x="136" y="279"/>
              </a:cxn>
              <a:cxn ang="0">
                <a:pos x="98" y="349"/>
              </a:cxn>
              <a:cxn ang="0">
                <a:pos x="0" y="421"/>
              </a:cxn>
              <a:cxn ang="0">
                <a:pos x="171" y="549"/>
              </a:cxn>
              <a:cxn ang="0">
                <a:pos x="239" y="557"/>
              </a:cxn>
              <a:cxn ang="0">
                <a:pos x="393" y="511"/>
              </a:cxn>
              <a:cxn ang="0">
                <a:pos x="414" y="495"/>
              </a:cxn>
              <a:cxn ang="0">
                <a:pos x="629" y="337"/>
              </a:cxn>
              <a:cxn ang="0">
                <a:pos x="629" y="221"/>
              </a:cxn>
            </a:cxnLst>
            <a:rect l="0" t="0" r="r" b="b"/>
            <a:pathLst>
              <a:path w="672" h="557">
                <a:moveTo>
                  <a:pt x="629" y="221"/>
                </a:moveTo>
                <a:cubicBezTo>
                  <a:pt x="414" y="63"/>
                  <a:pt x="414" y="63"/>
                  <a:pt x="414" y="63"/>
                </a:cubicBezTo>
                <a:cubicBezTo>
                  <a:pt x="407" y="57"/>
                  <a:pt x="400" y="52"/>
                  <a:pt x="393" y="47"/>
                </a:cubicBezTo>
                <a:cubicBezTo>
                  <a:pt x="349" y="17"/>
                  <a:pt x="296" y="0"/>
                  <a:pt x="239" y="0"/>
                </a:cubicBezTo>
                <a:cubicBezTo>
                  <a:pt x="215" y="0"/>
                  <a:pt x="193" y="3"/>
                  <a:pt x="171" y="9"/>
                </a:cubicBezTo>
                <a:cubicBezTo>
                  <a:pt x="98" y="27"/>
                  <a:pt x="37" y="74"/>
                  <a:pt x="0" y="137"/>
                </a:cubicBezTo>
                <a:cubicBezTo>
                  <a:pt x="98" y="209"/>
                  <a:pt x="98" y="209"/>
                  <a:pt x="98" y="209"/>
                </a:cubicBezTo>
                <a:cubicBezTo>
                  <a:pt x="123" y="227"/>
                  <a:pt x="136" y="252"/>
                  <a:pt x="136" y="279"/>
                </a:cubicBezTo>
                <a:cubicBezTo>
                  <a:pt x="136" y="305"/>
                  <a:pt x="123" y="330"/>
                  <a:pt x="98" y="349"/>
                </a:cubicBezTo>
                <a:cubicBezTo>
                  <a:pt x="0" y="421"/>
                  <a:pt x="0" y="421"/>
                  <a:pt x="0" y="421"/>
                </a:cubicBezTo>
                <a:cubicBezTo>
                  <a:pt x="37" y="484"/>
                  <a:pt x="98" y="530"/>
                  <a:pt x="171" y="549"/>
                </a:cubicBezTo>
                <a:cubicBezTo>
                  <a:pt x="193" y="554"/>
                  <a:pt x="215" y="557"/>
                  <a:pt x="239" y="557"/>
                </a:cubicBezTo>
                <a:cubicBezTo>
                  <a:pt x="296" y="557"/>
                  <a:pt x="349" y="540"/>
                  <a:pt x="393" y="511"/>
                </a:cubicBezTo>
                <a:cubicBezTo>
                  <a:pt x="400" y="506"/>
                  <a:pt x="407" y="500"/>
                  <a:pt x="414" y="495"/>
                </a:cubicBezTo>
                <a:cubicBezTo>
                  <a:pt x="629" y="337"/>
                  <a:pt x="629" y="337"/>
                  <a:pt x="629" y="337"/>
                </a:cubicBezTo>
                <a:cubicBezTo>
                  <a:pt x="672" y="305"/>
                  <a:pt x="672" y="253"/>
                  <a:pt x="629" y="221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 defTabSz="814388">
              <a:lnSpc>
                <a:spcPct val="90000"/>
              </a:lnSpc>
              <a:defRPr/>
            </a:pPr>
            <a:endParaRPr lang="en-US" sz="2400" dirty="0">
              <a:cs typeface="+mn-ea"/>
              <a:sym typeface="+mn-lt"/>
            </a:endParaRPr>
          </a:p>
        </p:txBody>
      </p:sp>
      <p:sp>
        <p:nvSpPr>
          <p:cNvPr id="186" name="任意多边形: 形状 185">
            <a:extLst>
              <a:ext uri="{FF2B5EF4-FFF2-40B4-BE49-F238E27FC236}">
                <a16:creationId xmlns:a16="http://schemas.microsoft.com/office/drawing/2014/main" id="{F80E31AD-5A82-4633-A073-C7382D7E7CE5}"/>
              </a:ext>
            </a:extLst>
          </p:cNvPr>
          <p:cNvSpPr/>
          <p:nvPr/>
        </p:nvSpPr>
        <p:spPr bwMode="auto">
          <a:xfrm>
            <a:off x="5071318" y="3349778"/>
            <a:ext cx="267165" cy="245807"/>
          </a:xfrm>
          <a:custGeom>
            <a:avLst/>
            <a:gdLst>
              <a:gd name="T0" fmla="*/ 2508 w 2713"/>
              <a:gd name="T1" fmla="*/ 0 h 2500"/>
              <a:gd name="T2" fmla="*/ 206 w 2713"/>
              <a:gd name="T3" fmla="*/ 0 h 2500"/>
              <a:gd name="T4" fmla="*/ 0 w 2713"/>
              <a:gd name="T5" fmla="*/ 205 h 2500"/>
              <a:gd name="T6" fmla="*/ 0 w 2713"/>
              <a:gd name="T7" fmla="*/ 211 h 2500"/>
              <a:gd name="T8" fmla="*/ 0 w 2713"/>
              <a:gd name="T9" fmla="*/ 1628 h 2500"/>
              <a:gd name="T10" fmla="*/ 0 w 2713"/>
              <a:gd name="T11" fmla="*/ 1834 h 2500"/>
              <a:gd name="T12" fmla="*/ 206 w 2713"/>
              <a:gd name="T13" fmla="*/ 2040 h 2500"/>
              <a:gd name="T14" fmla="*/ 1028 w 2713"/>
              <a:gd name="T15" fmla="*/ 2040 h 2500"/>
              <a:gd name="T16" fmla="*/ 913 w 2713"/>
              <a:gd name="T17" fmla="*/ 2366 h 2500"/>
              <a:gd name="T18" fmla="*/ 633 w 2713"/>
              <a:gd name="T19" fmla="*/ 2366 h 2500"/>
              <a:gd name="T20" fmla="*/ 567 w 2713"/>
              <a:gd name="T21" fmla="*/ 2433 h 2500"/>
              <a:gd name="T22" fmla="*/ 633 w 2713"/>
              <a:gd name="T23" fmla="*/ 2500 h 2500"/>
              <a:gd name="T24" fmla="*/ 960 w 2713"/>
              <a:gd name="T25" fmla="*/ 2500 h 2500"/>
              <a:gd name="T26" fmla="*/ 1753 w 2713"/>
              <a:gd name="T27" fmla="*/ 2500 h 2500"/>
              <a:gd name="T28" fmla="*/ 2080 w 2713"/>
              <a:gd name="T29" fmla="*/ 2500 h 2500"/>
              <a:gd name="T30" fmla="*/ 2147 w 2713"/>
              <a:gd name="T31" fmla="*/ 2433 h 2500"/>
              <a:gd name="T32" fmla="*/ 2080 w 2713"/>
              <a:gd name="T33" fmla="*/ 2366 h 2500"/>
              <a:gd name="T34" fmla="*/ 1801 w 2713"/>
              <a:gd name="T35" fmla="*/ 2366 h 2500"/>
              <a:gd name="T36" fmla="*/ 1686 w 2713"/>
              <a:gd name="T37" fmla="*/ 2040 h 2500"/>
              <a:gd name="T38" fmla="*/ 2508 w 2713"/>
              <a:gd name="T39" fmla="*/ 2040 h 2500"/>
              <a:gd name="T40" fmla="*/ 2713 w 2713"/>
              <a:gd name="T41" fmla="*/ 1834 h 2500"/>
              <a:gd name="T42" fmla="*/ 2713 w 2713"/>
              <a:gd name="T43" fmla="*/ 1628 h 2500"/>
              <a:gd name="T44" fmla="*/ 2713 w 2713"/>
              <a:gd name="T45" fmla="*/ 211 h 2500"/>
              <a:gd name="T46" fmla="*/ 2713 w 2713"/>
              <a:gd name="T47" fmla="*/ 205 h 2500"/>
              <a:gd name="T48" fmla="*/ 2508 w 2713"/>
              <a:gd name="T49" fmla="*/ 0 h 2500"/>
              <a:gd name="T50" fmla="*/ 2508 w 2713"/>
              <a:gd name="T51" fmla="*/ 1906 h 2500"/>
              <a:gd name="T52" fmla="*/ 1592 w 2713"/>
              <a:gd name="T53" fmla="*/ 1906 h 2500"/>
              <a:gd name="T54" fmla="*/ 1122 w 2713"/>
              <a:gd name="T55" fmla="*/ 1906 h 2500"/>
              <a:gd name="T56" fmla="*/ 206 w 2713"/>
              <a:gd name="T57" fmla="*/ 1906 h 2500"/>
              <a:gd name="T58" fmla="*/ 133 w 2713"/>
              <a:gd name="T59" fmla="*/ 1834 h 2500"/>
              <a:gd name="T60" fmla="*/ 133 w 2713"/>
              <a:gd name="T61" fmla="*/ 1695 h 2500"/>
              <a:gd name="T62" fmla="*/ 2580 w 2713"/>
              <a:gd name="T63" fmla="*/ 1695 h 2500"/>
              <a:gd name="T64" fmla="*/ 2580 w 2713"/>
              <a:gd name="T65" fmla="*/ 1834 h 2500"/>
              <a:gd name="T66" fmla="*/ 2508 w 2713"/>
              <a:gd name="T67" fmla="*/ 1906 h 2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13" h="2500">
                <a:moveTo>
                  <a:pt x="2508" y="0"/>
                </a:moveTo>
                <a:lnTo>
                  <a:pt x="206" y="0"/>
                </a:lnTo>
                <a:cubicBezTo>
                  <a:pt x="92" y="0"/>
                  <a:pt x="0" y="92"/>
                  <a:pt x="0" y="205"/>
                </a:cubicBezTo>
                <a:lnTo>
                  <a:pt x="0" y="211"/>
                </a:lnTo>
                <a:lnTo>
                  <a:pt x="0" y="1628"/>
                </a:lnTo>
                <a:lnTo>
                  <a:pt x="0" y="1834"/>
                </a:lnTo>
                <a:cubicBezTo>
                  <a:pt x="0" y="1948"/>
                  <a:pt x="92" y="2040"/>
                  <a:pt x="206" y="2040"/>
                </a:cubicBezTo>
                <a:lnTo>
                  <a:pt x="1028" y="2040"/>
                </a:lnTo>
                <a:lnTo>
                  <a:pt x="913" y="2366"/>
                </a:lnTo>
                <a:lnTo>
                  <a:pt x="633" y="2366"/>
                </a:lnTo>
                <a:cubicBezTo>
                  <a:pt x="597" y="2366"/>
                  <a:pt x="567" y="2396"/>
                  <a:pt x="567" y="2433"/>
                </a:cubicBezTo>
                <a:cubicBezTo>
                  <a:pt x="567" y="2470"/>
                  <a:pt x="597" y="2500"/>
                  <a:pt x="633" y="2500"/>
                </a:cubicBezTo>
                <a:lnTo>
                  <a:pt x="960" y="2500"/>
                </a:lnTo>
                <a:lnTo>
                  <a:pt x="1753" y="2500"/>
                </a:lnTo>
                <a:lnTo>
                  <a:pt x="2080" y="2500"/>
                </a:lnTo>
                <a:cubicBezTo>
                  <a:pt x="2117" y="2500"/>
                  <a:pt x="2147" y="2470"/>
                  <a:pt x="2147" y="2433"/>
                </a:cubicBezTo>
                <a:cubicBezTo>
                  <a:pt x="2147" y="2396"/>
                  <a:pt x="2117" y="2366"/>
                  <a:pt x="2080" y="2366"/>
                </a:cubicBezTo>
                <a:lnTo>
                  <a:pt x="1801" y="2366"/>
                </a:lnTo>
                <a:lnTo>
                  <a:pt x="1686" y="2040"/>
                </a:lnTo>
                <a:lnTo>
                  <a:pt x="2508" y="2040"/>
                </a:lnTo>
                <a:cubicBezTo>
                  <a:pt x="2621" y="2040"/>
                  <a:pt x="2713" y="1948"/>
                  <a:pt x="2713" y="1834"/>
                </a:cubicBezTo>
                <a:lnTo>
                  <a:pt x="2713" y="1628"/>
                </a:lnTo>
                <a:lnTo>
                  <a:pt x="2713" y="211"/>
                </a:lnTo>
                <a:lnTo>
                  <a:pt x="2713" y="205"/>
                </a:lnTo>
                <a:cubicBezTo>
                  <a:pt x="2713" y="92"/>
                  <a:pt x="2621" y="0"/>
                  <a:pt x="2508" y="0"/>
                </a:cubicBezTo>
                <a:close/>
                <a:moveTo>
                  <a:pt x="2508" y="1906"/>
                </a:moveTo>
                <a:lnTo>
                  <a:pt x="1592" y="1906"/>
                </a:lnTo>
                <a:lnTo>
                  <a:pt x="1122" y="1906"/>
                </a:lnTo>
                <a:lnTo>
                  <a:pt x="206" y="1906"/>
                </a:lnTo>
                <a:cubicBezTo>
                  <a:pt x="166" y="1906"/>
                  <a:pt x="133" y="1874"/>
                  <a:pt x="133" y="1834"/>
                </a:cubicBezTo>
                <a:lnTo>
                  <a:pt x="133" y="1695"/>
                </a:lnTo>
                <a:lnTo>
                  <a:pt x="2580" y="1695"/>
                </a:lnTo>
                <a:lnTo>
                  <a:pt x="2580" y="1834"/>
                </a:lnTo>
                <a:cubicBezTo>
                  <a:pt x="2580" y="1874"/>
                  <a:pt x="2548" y="1906"/>
                  <a:pt x="2508" y="1906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87" name="矩形 186">
            <a:extLst>
              <a:ext uri="{FF2B5EF4-FFF2-40B4-BE49-F238E27FC236}">
                <a16:creationId xmlns:a16="http://schemas.microsoft.com/office/drawing/2014/main" id="{2486721F-847F-4035-B22A-F33CF369CACD}"/>
              </a:ext>
            </a:extLst>
          </p:cNvPr>
          <p:cNvSpPr/>
          <p:nvPr/>
        </p:nvSpPr>
        <p:spPr>
          <a:xfrm>
            <a:off x="4886051" y="3713376"/>
            <a:ext cx="637702" cy="255081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88" name="任意多边形: 形状 187">
            <a:extLst>
              <a:ext uri="{FF2B5EF4-FFF2-40B4-BE49-F238E27FC236}">
                <a16:creationId xmlns:a16="http://schemas.microsoft.com/office/drawing/2014/main" id="{8068ED9F-1036-4DD4-956A-6C1BB4CDD9CB}"/>
              </a:ext>
            </a:extLst>
          </p:cNvPr>
          <p:cNvSpPr/>
          <p:nvPr/>
        </p:nvSpPr>
        <p:spPr bwMode="auto">
          <a:xfrm>
            <a:off x="6175814" y="3344017"/>
            <a:ext cx="267165" cy="257329"/>
          </a:xfrm>
          <a:custGeom>
            <a:avLst/>
            <a:gdLst>
              <a:gd name="T0" fmla="*/ 4096 w 6827"/>
              <a:gd name="T1" fmla="*/ 4551 h 6827"/>
              <a:gd name="T2" fmla="*/ 6258 w 6827"/>
              <a:gd name="T3" fmla="*/ 4096 h 6827"/>
              <a:gd name="T4" fmla="*/ 2348 w 6827"/>
              <a:gd name="T5" fmla="*/ 4911 h 6827"/>
              <a:gd name="T6" fmla="*/ 569 w 6827"/>
              <a:gd name="T7" fmla="*/ 4551 h 6827"/>
              <a:gd name="T8" fmla="*/ 569 w 6827"/>
              <a:gd name="T9" fmla="*/ 3982 h 6827"/>
              <a:gd name="T10" fmla="*/ 1707 w 6827"/>
              <a:gd name="T11" fmla="*/ 2503 h 6827"/>
              <a:gd name="T12" fmla="*/ 3868 w 6827"/>
              <a:gd name="T13" fmla="*/ 2731 h 6827"/>
              <a:gd name="T14" fmla="*/ 5827 w 6827"/>
              <a:gd name="T15" fmla="*/ 2004 h 6827"/>
              <a:gd name="T16" fmla="*/ 6258 w 6827"/>
              <a:gd name="T17" fmla="*/ 1820 h 6827"/>
              <a:gd name="T18" fmla="*/ 4779 w 6827"/>
              <a:gd name="T19" fmla="*/ 0 h 6827"/>
              <a:gd name="T20" fmla="*/ 2854 w 6827"/>
              <a:gd name="T21" fmla="*/ 2381 h 6827"/>
              <a:gd name="T22" fmla="*/ 1239 w 6827"/>
              <a:gd name="T23" fmla="*/ 2257 h 6827"/>
              <a:gd name="T24" fmla="*/ 569 w 6827"/>
              <a:gd name="T25" fmla="*/ 2844 h 6827"/>
              <a:gd name="T26" fmla="*/ 569 w 6827"/>
              <a:gd name="T27" fmla="*/ 2276 h 6827"/>
              <a:gd name="T28" fmla="*/ 569 w 6827"/>
              <a:gd name="T29" fmla="*/ 1707 h 6827"/>
              <a:gd name="T30" fmla="*/ 569 w 6827"/>
              <a:gd name="T31" fmla="*/ 1138 h 6827"/>
              <a:gd name="T32" fmla="*/ 569 w 6827"/>
              <a:gd name="T33" fmla="*/ 569 h 6827"/>
              <a:gd name="T34" fmla="*/ 341 w 6827"/>
              <a:gd name="T35" fmla="*/ 0 h 6827"/>
              <a:gd name="T36" fmla="*/ 114 w 6827"/>
              <a:gd name="T37" fmla="*/ 569 h 6827"/>
              <a:gd name="T38" fmla="*/ 114 w 6827"/>
              <a:gd name="T39" fmla="*/ 1138 h 6827"/>
              <a:gd name="T40" fmla="*/ 114 w 6827"/>
              <a:gd name="T41" fmla="*/ 1707 h 6827"/>
              <a:gd name="T42" fmla="*/ 114 w 6827"/>
              <a:gd name="T43" fmla="*/ 2276 h 6827"/>
              <a:gd name="T44" fmla="*/ 114 w 6827"/>
              <a:gd name="T45" fmla="*/ 2844 h 6827"/>
              <a:gd name="T46" fmla="*/ 114 w 6827"/>
              <a:gd name="T47" fmla="*/ 3413 h 6827"/>
              <a:gd name="T48" fmla="*/ 114 w 6827"/>
              <a:gd name="T49" fmla="*/ 3982 h 6827"/>
              <a:gd name="T50" fmla="*/ 114 w 6827"/>
              <a:gd name="T51" fmla="*/ 4551 h 6827"/>
              <a:gd name="T52" fmla="*/ 114 w 6827"/>
              <a:gd name="T53" fmla="*/ 5120 h 6827"/>
              <a:gd name="T54" fmla="*/ 114 w 6827"/>
              <a:gd name="T55" fmla="*/ 5689 h 6827"/>
              <a:gd name="T56" fmla="*/ 114 w 6827"/>
              <a:gd name="T57" fmla="*/ 6258 h 6827"/>
              <a:gd name="T58" fmla="*/ 683 w 6827"/>
              <a:gd name="T59" fmla="*/ 6713 h 6827"/>
              <a:gd name="T60" fmla="*/ 1252 w 6827"/>
              <a:gd name="T61" fmla="*/ 6713 h 6827"/>
              <a:gd name="T62" fmla="*/ 1820 w 6827"/>
              <a:gd name="T63" fmla="*/ 6713 h 6827"/>
              <a:gd name="T64" fmla="*/ 2389 w 6827"/>
              <a:gd name="T65" fmla="*/ 6713 h 6827"/>
              <a:gd name="T66" fmla="*/ 2958 w 6827"/>
              <a:gd name="T67" fmla="*/ 6713 h 6827"/>
              <a:gd name="T68" fmla="*/ 3527 w 6827"/>
              <a:gd name="T69" fmla="*/ 6713 h 6827"/>
              <a:gd name="T70" fmla="*/ 4096 w 6827"/>
              <a:gd name="T71" fmla="*/ 6713 h 6827"/>
              <a:gd name="T72" fmla="*/ 4665 w 6827"/>
              <a:gd name="T73" fmla="*/ 6713 h 6827"/>
              <a:gd name="T74" fmla="*/ 5234 w 6827"/>
              <a:gd name="T75" fmla="*/ 6713 h 6827"/>
              <a:gd name="T76" fmla="*/ 5803 w 6827"/>
              <a:gd name="T77" fmla="*/ 6713 h 6827"/>
              <a:gd name="T78" fmla="*/ 6371 w 6827"/>
              <a:gd name="T79" fmla="*/ 6713 h 6827"/>
              <a:gd name="T80" fmla="*/ 6827 w 6827"/>
              <a:gd name="T81" fmla="*/ 6485 h 6827"/>
              <a:gd name="T82" fmla="*/ 6371 w 6827"/>
              <a:gd name="T83" fmla="*/ 6258 h 6827"/>
              <a:gd name="T84" fmla="*/ 5803 w 6827"/>
              <a:gd name="T85" fmla="*/ 6258 h 6827"/>
              <a:gd name="T86" fmla="*/ 5234 w 6827"/>
              <a:gd name="T87" fmla="*/ 6258 h 6827"/>
              <a:gd name="T88" fmla="*/ 4665 w 6827"/>
              <a:gd name="T89" fmla="*/ 6258 h 6827"/>
              <a:gd name="T90" fmla="*/ 4096 w 6827"/>
              <a:gd name="T91" fmla="*/ 6258 h 6827"/>
              <a:gd name="T92" fmla="*/ 3527 w 6827"/>
              <a:gd name="T93" fmla="*/ 6258 h 6827"/>
              <a:gd name="T94" fmla="*/ 2958 w 6827"/>
              <a:gd name="T95" fmla="*/ 6258 h 6827"/>
              <a:gd name="T96" fmla="*/ 2389 w 6827"/>
              <a:gd name="T97" fmla="*/ 6258 h 6827"/>
              <a:gd name="T98" fmla="*/ 1820 w 6827"/>
              <a:gd name="T99" fmla="*/ 6258 h 6827"/>
              <a:gd name="T100" fmla="*/ 1252 w 6827"/>
              <a:gd name="T101" fmla="*/ 6258 h 6827"/>
              <a:gd name="T102" fmla="*/ 683 w 6827"/>
              <a:gd name="T103" fmla="*/ 6258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827" h="6827">
                <a:moveTo>
                  <a:pt x="1263" y="5234"/>
                </a:moveTo>
                <a:cubicBezTo>
                  <a:pt x="1316" y="5493"/>
                  <a:pt x="1546" y="5689"/>
                  <a:pt x="1820" y="5689"/>
                </a:cubicBezTo>
                <a:cubicBezTo>
                  <a:pt x="2114" y="5689"/>
                  <a:pt x="2354" y="5464"/>
                  <a:pt x="2383" y="5178"/>
                </a:cubicBezTo>
                <a:lnTo>
                  <a:pt x="3568" y="4191"/>
                </a:lnTo>
                <a:cubicBezTo>
                  <a:pt x="3652" y="4401"/>
                  <a:pt x="3856" y="4551"/>
                  <a:pt x="4096" y="4551"/>
                </a:cubicBezTo>
                <a:cubicBezTo>
                  <a:pt x="4348" y="4551"/>
                  <a:pt x="4560" y="4385"/>
                  <a:pt x="4635" y="4157"/>
                </a:cubicBezTo>
                <a:lnTo>
                  <a:pt x="5696" y="4736"/>
                </a:lnTo>
                <a:cubicBezTo>
                  <a:pt x="5732" y="5016"/>
                  <a:pt x="5969" y="5234"/>
                  <a:pt x="6258" y="5234"/>
                </a:cubicBezTo>
                <a:cubicBezTo>
                  <a:pt x="6571" y="5234"/>
                  <a:pt x="6827" y="4979"/>
                  <a:pt x="6827" y="4665"/>
                </a:cubicBezTo>
                <a:cubicBezTo>
                  <a:pt x="6827" y="4351"/>
                  <a:pt x="6571" y="4096"/>
                  <a:pt x="6258" y="4096"/>
                </a:cubicBezTo>
                <a:cubicBezTo>
                  <a:pt x="6006" y="4096"/>
                  <a:pt x="5794" y="4262"/>
                  <a:pt x="5719" y="4490"/>
                </a:cubicBezTo>
                <a:lnTo>
                  <a:pt x="4658" y="3911"/>
                </a:lnTo>
                <a:cubicBezTo>
                  <a:pt x="4622" y="3631"/>
                  <a:pt x="4385" y="3413"/>
                  <a:pt x="4096" y="3413"/>
                </a:cubicBezTo>
                <a:cubicBezTo>
                  <a:pt x="3802" y="3413"/>
                  <a:pt x="3563" y="3638"/>
                  <a:pt x="3533" y="3924"/>
                </a:cubicBezTo>
                <a:lnTo>
                  <a:pt x="2348" y="4911"/>
                </a:lnTo>
                <a:cubicBezTo>
                  <a:pt x="2265" y="4701"/>
                  <a:pt x="2060" y="4551"/>
                  <a:pt x="1820" y="4551"/>
                </a:cubicBezTo>
                <a:cubicBezTo>
                  <a:pt x="1546" y="4551"/>
                  <a:pt x="1316" y="4747"/>
                  <a:pt x="1263" y="5006"/>
                </a:cubicBezTo>
                <a:lnTo>
                  <a:pt x="455" y="5006"/>
                </a:lnTo>
                <a:lnTo>
                  <a:pt x="455" y="4551"/>
                </a:lnTo>
                <a:lnTo>
                  <a:pt x="569" y="4551"/>
                </a:lnTo>
                <a:cubicBezTo>
                  <a:pt x="632" y="4551"/>
                  <a:pt x="683" y="4500"/>
                  <a:pt x="683" y="4437"/>
                </a:cubicBezTo>
                <a:cubicBezTo>
                  <a:pt x="683" y="4374"/>
                  <a:pt x="632" y="4324"/>
                  <a:pt x="569" y="4324"/>
                </a:cubicBezTo>
                <a:lnTo>
                  <a:pt x="455" y="4324"/>
                </a:lnTo>
                <a:lnTo>
                  <a:pt x="455" y="3982"/>
                </a:lnTo>
                <a:lnTo>
                  <a:pt x="569" y="3982"/>
                </a:lnTo>
                <a:cubicBezTo>
                  <a:pt x="632" y="3982"/>
                  <a:pt x="683" y="3931"/>
                  <a:pt x="683" y="3868"/>
                </a:cubicBezTo>
                <a:cubicBezTo>
                  <a:pt x="683" y="3806"/>
                  <a:pt x="632" y="3755"/>
                  <a:pt x="569" y="3755"/>
                </a:cubicBezTo>
                <a:lnTo>
                  <a:pt x="480" y="3755"/>
                </a:lnTo>
                <a:lnTo>
                  <a:pt x="1407" y="2416"/>
                </a:lnTo>
                <a:cubicBezTo>
                  <a:pt x="1494" y="2470"/>
                  <a:pt x="1596" y="2503"/>
                  <a:pt x="1707" y="2503"/>
                </a:cubicBezTo>
                <a:cubicBezTo>
                  <a:pt x="1888" y="2503"/>
                  <a:pt x="2048" y="2416"/>
                  <a:pt x="2152" y="2284"/>
                </a:cubicBezTo>
                <a:lnTo>
                  <a:pt x="2752" y="2584"/>
                </a:lnTo>
                <a:cubicBezTo>
                  <a:pt x="2740" y="2631"/>
                  <a:pt x="2731" y="2680"/>
                  <a:pt x="2731" y="2731"/>
                </a:cubicBezTo>
                <a:cubicBezTo>
                  <a:pt x="2731" y="3044"/>
                  <a:pt x="2986" y="3300"/>
                  <a:pt x="3300" y="3300"/>
                </a:cubicBezTo>
                <a:cubicBezTo>
                  <a:pt x="3613" y="3300"/>
                  <a:pt x="3868" y="3044"/>
                  <a:pt x="3868" y="2731"/>
                </a:cubicBezTo>
                <a:cubicBezTo>
                  <a:pt x="3868" y="2608"/>
                  <a:pt x="3829" y="2496"/>
                  <a:pt x="3763" y="2403"/>
                </a:cubicBezTo>
                <a:lnTo>
                  <a:pt x="4488" y="1055"/>
                </a:lnTo>
                <a:cubicBezTo>
                  <a:pt x="4574" y="1107"/>
                  <a:pt x="4672" y="1138"/>
                  <a:pt x="4779" y="1138"/>
                </a:cubicBezTo>
                <a:cubicBezTo>
                  <a:pt x="4891" y="1138"/>
                  <a:pt x="4995" y="1104"/>
                  <a:pt x="5083" y="1048"/>
                </a:cubicBezTo>
                <a:lnTo>
                  <a:pt x="5827" y="2004"/>
                </a:lnTo>
                <a:cubicBezTo>
                  <a:pt x="5829" y="2007"/>
                  <a:pt x="5833" y="2009"/>
                  <a:pt x="5836" y="2011"/>
                </a:cubicBezTo>
                <a:cubicBezTo>
                  <a:pt x="5745" y="2112"/>
                  <a:pt x="5689" y="2244"/>
                  <a:pt x="5689" y="2389"/>
                </a:cubicBezTo>
                <a:cubicBezTo>
                  <a:pt x="5689" y="2703"/>
                  <a:pt x="5944" y="2958"/>
                  <a:pt x="6258" y="2958"/>
                </a:cubicBezTo>
                <a:cubicBezTo>
                  <a:pt x="6571" y="2958"/>
                  <a:pt x="6827" y="2703"/>
                  <a:pt x="6827" y="2389"/>
                </a:cubicBezTo>
                <a:cubicBezTo>
                  <a:pt x="6827" y="2076"/>
                  <a:pt x="6571" y="1820"/>
                  <a:pt x="6258" y="1820"/>
                </a:cubicBezTo>
                <a:cubicBezTo>
                  <a:pt x="6170" y="1820"/>
                  <a:pt x="6087" y="1842"/>
                  <a:pt x="6013" y="1878"/>
                </a:cubicBezTo>
                <a:cubicBezTo>
                  <a:pt x="6010" y="1874"/>
                  <a:pt x="6010" y="1869"/>
                  <a:pt x="6006" y="1864"/>
                </a:cubicBezTo>
                <a:lnTo>
                  <a:pt x="5248" y="890"/>
                </a:lnTo>
                <a:cubicBezTo>
                  <a:pt x="5311" y="798"/>
                  <a:pt x="5348" y="688"/>
                  <a:pt x="5348" y="569"/>
                </a:cubicBezTo>
                <a:cubicBezTo>
                  <a:pt x="5348" y="255"/>
                  <a:pt x="5092" y="0"/>
                  <a:pt x="4779" y="0"/>
                </a:cubicBezTo>
                <a:cubicBezTo>
                  <a:pt x="4465" y="0"/>
                  <a:pt x="4210" y="255"/>
                  <a:pt x="4210" y="569"/>
                </a:cubicBezTo>
                <a:cubicBezTo>
                  <a:pt x="4210" y="691"/>
                  <a:pt x="4249" y="804"/>
                  <a:pt x="4315" y="897"/>
                </a:cubicBezTo>
                <a:lnTo>
                  <a:pt x="3590" y="2244"/>
                </a:lnTo>
                <a:cubicBezTo>
                  <a:pt x="3505" y="2193"/>
                  <a:pt x="3406" y="2162"/>
                  <a:pt x="3300" y="2162"/>
                </a:cubicBezTo>
                <a:cubicBezTo>
                  <a:pt x="3118" y="2162"/>
                  <a:pt x="2959" y="2248"/>
                  <a:pt x="2854" y="2381"/>
                </a:cubicBezTo>
                <a:lnTo>
                  <a:pt x="2254" y="2081"/>
                </a:lnTo>
                <a:cubicBezTo>
                  <a:pt x="2267" y="2034"/>
                  <a:pt x="2276" y="1985"/>
                  <a:pt x="2276" y="1934"/>
                </a:cubicBezTo>
                <a:cubicBezTo>
                  <a:pt x="2276" y="1621"/>
                  <a:pt x="2020" y="1365"/>
                  <a:pt x="1707" y="1365"/>
                </a:cubicBezTo>
                <a:cubicBezTo>
                  <a:pt x="1393" y="1365"/>
                  <a:pt x="1138" y="1621"/>
                  <a:pt x="1138" y="1934"/>
                </a:cubicBezTo>
                <a:cubicBezTo>
                  <a:pt x="1138" y="2054"/>
                  <a:pt x="1176" y="2166"/>
                  <a:pt x="1239" y="2257"/>
                </a:cubicBezTo>
                <a:lnTo>
                  <a:pt x="593" y="3191"/>
                </a:lnTo>
                <a:cubicBezTo>
                  <a:pt x="585" y="3189"/>
                  <a:pt x="578" y="3186"/>
                  <a:pt x="569" y="3186"/>
                </a:cubicBezTo>
                <a:lnTo>
                  <a:pt x="455" y="3186"/>
                </a:lnTo>
                <a:lnTo>
                  <a:pt x="455" y="2844"/>
                </a:lnTo>
                <a:lnTo>
                  <a:pt x="569" y="2844"/>
                </a:lnTo>
                <a:cubicBezTo>
                  <a:pt x="632" y="2844"/>
                  <a:pt x="683" y="2794"/>
                  <a:pt x="683" y="2731"/>
                </a:cubicBezTo>
                <a:cubicBezTo>
                  <a:pt x="683" y="2668"/>
                  <a:pt x="632" y="2617"/>
                  <a:pt x="569" y="2617"/>
                </a:cubicBezTo>
                <a:lnTo>
                  <a:pt x="455" y="2617"/>
                </a:lnTo>
                <a:lnTo>
                  <a:pt x="455" y="2276"/>
                </a:lnTo>
                <a:lnTo>
                  <a:pt x="569" y="2276"/>
                </a:lnTo>
                <a:cubicBezTo>
                  <a:pt x="632" y="2276"/>
                  <a:pt x="683" y="2225"/>
                  <a:pt x="683" y="2162"/>
                </a:cubicBezTo>
                <a:cubicBezTo>
                  <a:pt x="683" y="2099"/>
                  <a:pt x="632" y="2048"/>
                  <a:pt x="569" y="2048"/>
                </a:cubicBezTo>
                <a:lnTo>
                  <a:pt x="455" y="2048"/>
                </a:lnTo>
                <a:lnTo>
                  <a:pt x="455" y="1707"/>
                </a:lnTo>
                <a:lnTo>
                  <a:pt x="569" y="1707"/>
                </a:lnTo>
                <a:cubicBezTo>
                  <a:pt x="632" y="1707"/>
                  <a:pt x="683" y="1656"/>
                  <a:pt x="683" y="1593"/>
                </a:cubicBezTo>
                <a:cubicBezTo>
                  <a:pt x="683" y="1530"/>
                  <a:pt x="632" y="1479"/>
                  <a:pt x="569" y="1479"/>
                </a:cubicBezTo>
                <a:lnTo>
                  <a:pt x="455" y="1479"/>
                </a:lnTo>
                <a:lnTo>
                  <a:pt x="455" y="1138"/>
                </a:lnTo>
                <a:lnTo>
                  <a:pt x="569" y="1138"/>
                </a:lnTo>
                <a:cubicBezTo>
                  <a:pt x="632" y="1138"/>
                  <a:pt x="683" y="1087"/>
                  <a:pt x="683" y="1024"/>
                </a:cubicBezTo>
                <a:cubicBezTo>
                  <a:pt x="683" y="961"/>
                  <a:pt x="632" y="910"/>
                  <a:pt x="569" y="910"/>
                </a:cubicBezTo>
                <a:lnTo>
                  <a:pt x="455" y="910"/>
                </a:lnTo>
                <a:lnTo>
                  <a:pt x="455" y="569"/>
                </a:lnTo>
                <a:lnTo>
                  <a:pt x="569" y="569"/>
                </a:lnTo>
                <a:cubicBezTo>
                  <a:pt x="632" y="569"/>
                  <a:pt x="683" y="518"/>
                  <a:pt x="683" y="455"/>
                </a:cubicBezTo>
                <a:cubicBezTo>
                  <a:pt x="683" y="392"/>
                  <a:pt x="632" y="341"/>
                  <a:pt x="569" y="341"/>
                </a:cubicBezTo>
                <a:lnTo>
                  <a:pt x="455" y="341"/>
                </a:lnTo>
                <a:lnTo>
                  <a:pt x="455" y="114"/>
                </a:lnTo>
                <a:cubicBezTo>
                  <a:pt x="455" y="51"/>
                  <a:pt x="404" y="0"/>
                  <a:pt x="341" y="0"/>
                </a:cubicBezTo>
                <a:cubicBezTo>
                  <a:pt x="278" y="0"/>
                  <a:pt x="228" y="51"/>
                  <a:pt x="228" y="114"/>
                </a:cubicBezTo>
                <a:lnTo>
                  <a:pt x="228" y="341"/>
                </a:lnTo>
                <a:lnTo>
                  <a:pt x="114" y="341"/>
                </a:lnTo>
                <a:cubicBezTo>
                  <a:pt x="51" y="341"/>
                  <a:pt x="0" y="392"/>
                  <a:pt x="0" y="455"/>
                </a:cubicBezTo>
                <a:cubicBezTo>
                  <a:pt x="0" y="518"/>
                  <a:pt x="51" y="569"/>
                  <a:pt x="114" y="569"/>
                </a:cubicBezTo>
                <a:lnTo>
                  <a:pt x="228" y="569"/>
                </a:lnTo>
                <a:lnTo>
                  <a:pt x="228" y="910"/>
                </a:lnTo>
                <a:lnTo>
                  <a:pt x="114" y="910"/>
                </a:lnTo>
                <a:cubicBezTo>
                  <a:pt x="51" y="910"/>
                  <a:pt x="0" y="961"/>
                  <a:pt x="0" y="1024"/>
                </a:cubicBezTo>
                <a:cubicBezTo>
                  <a:pt x="0" y="1087"/>
                  <a:pt x="51" y="1138"/>
                  <a:pt x="114" y="1138"/>
                </a:cubicBezTo>
                <a:lnTo>
                  <a:pt x="228" y="1138"/>
                </a:lnTo>
                <a:lnTo>
                  <a:pt x="228" y="1479"/>
                </a:lnTo>
                <a:lnTo>
                  <a:pt x="114" y="1479"/>
                </a:lnTo>
                <a:cubicBezTo>
                  <a:pt x="51" y="1479"/>
                  <a:pt x="0" y="1530"/>
                  <a:pt x="0" y="1593"/>
                </a:cubicBezTo>
                <a:cubicBezTo>
                  <a:pt x="0" y="1656"/>
                  <a:pt x="51" y="1707"/>
                  <a:pt x="114" y="1707"/>
                </a:cubicBezTo>
                <a:lnTo>
                  <a:pt x="228" y="1707"/>
                </a:lnTo>
                <a:lnTo>
                  <a:pt x="228" y="2048"/>
                </a:lnTo>
                <a:lnTo>
                  <a:pt x="114" y="2048"/>
                </a:lnTo>
                <a:cubicBezTo>
                  <a:pt x="51" y="2048"/>
                  <a:pt x="0" y="2099"/>
                  <a:pt x="0" y="2162"/>
                </a:cubicBezTo>
                <a:cubicBezTo>
                  <a:pt x="0" y="2225"/>
                  <a:pt x="51" y="2276"/>
                  <a:pt x="114" y="2276"/>
                </a:cubicBezTo>
                <a:lnTo>
                  <a:pt x="228" y="2276"/>
                </a:lnTo>
                <a:lnTo>
                  <a:pt x="228" y="2617"/>
                </a:lnTo>
                <a:lnTo>
                  <a:pt x="114" y="2617"/>
                </a:lnTo>
                <a:cubicBezTo>
                  <a:pt x="51" y="2617"/>
                  <a:pt x="0" y="2668"/>
                  <a:pt x="0" y="2731"/>
                </a:cubicBezTo>
                <a:cubicBezTo>
                  <a:pt x="0" y="2794"/>
                  <a:pt x="51" y="2844"/>
                  <a:pt x="114" y="2844"/>
                </a:cubicBezTo>
                <a:lnTo>
                  <a:pt x="228" y="2844"/>
                </a:lnTo>
                <a:lnTo>
                  <a:pt x="228" y="3186"/>
                </a:lnTo>
                <a:lnTo>
                  <a:pt x="114" y="3186"/>
                </a:lnTo>
                <a:cubicBezTo>
                  <a:pt x="51" y="3186"/>
                  <a:pt x="0" y="3237"/>
                  <a:pt x="0" y="3300"/>
                </a:cubicBezTo>
                <a:cubicBezTo>
                  <a:pt x="0" y="3362"/>
                  <a:pt x="51" y="3413"/>
                  <a:pt x="114" y="3413"/>
                </a:cubicBezTo>
                <a:lnTo>
                  <a:pt x="228" y="3413"/>
                </a:lnTo>
                <a:lnTo>
                  <a:pt x="228" y="3755"/>
                </a:lnTo>
                <a:lnTo>
                  <a:pt x="114" y="3755"/>
                </a:lnTo>
                <a:cubicBezTo>
                  <a:pt x="51" y="3755"/>
                  <a:pt x="0" y="3806"/>
                  <a:pt x="0" y="3868"/>
                </a:cubicBezTo>
                <a:cubicBezTo>
                  <a:pt x="0" y="3931"/>
                  <a:pt x="51" y="3982"/>
                  <a:pt x="114" y="3982"/>
                </a:cubicBezTo>
                <a:lnTo>
                  <a:pt x="228" y="3982"/>
                </a:lnTo>
                <a:lnTo>
                  <a:pt x="228" y="4324"/>
                </a:lnTo>
                <a:lnTo>
                  <a:pt x="114" y="4324"/>
                </a:lnTo>
                <a:cubicBezTo>
                  <a:pt x="51" y="4324"/>
                  <a:pt x="0" y="4374"/>
                  <a:pt x="0" y="4437"/>
                </a:cubicBezTo>
                <a:cubicBezTo>
                  <a:pt x="0" y="4500"/>
                  <a:pt x="51" y="4551"/>
                  <a:pt x="114" y="4551"/>
                </a:cubicBezTo>
                <a:lnTo>
                  <a:pt x="228" y="4551"/>
                </a:lnTo>
                <a:lnTo>
                  <a:pt x="228" y="4892"/>
                </a:lnTo>
                <a:lnTo>
                  <a:pt x="114" y="4892"/>
                </a:lnTo>
                <a:cubicBezTo>
                  <a:pt x="51" y="4892"/>
                  <a:pt x="0" y="4943"/>
                  <a:pt x="0" y="5006"/>
                </a:cubicBezTo>
                <a:cubicBezTo>
                  <a:pt x="0" y="5069"/>
                  <a:pt x="51" y="5120"/>
                  <a:pt x="114" y="5120"/>
                </a:cubicBezTo>
                <a:lnTo>
                  <a:pt x="228" y="5120"/>
                </a:lnTo>
                <a:lnTo>
                  <a:pt x="228" y="5461"/>
                </a:lnTo>
                <a:lnTo>
                  <a:pt x="114" y="5461"/>
                </a:lnTo>
                <a:cubicBezTo>
                  <a:pt x="51" y="5461"/>
                  <a:pt x="0" y="5512"/>
                  <a:pt x="0" y="5575"/>
                </a:cubicBezTo>
                <a:cubicBezTo>
                  <a:pt x="0" y="5638"/>
                  <a:pt x="51" y="5689"/>
                  <a:pt x="114" y="5689"/>
                </a:cubicBezTo>
                <a:lnTo>
                  <a:pt x="228" y="5689"/>
                </a:lnTo>
                <a:lnTo>
                  <a:pt x="228" y="6030"/>
                </a:lnTo>
                <a:lnTo>
                  <a:pt x="114" y="6030"/>
                </a:lnTo>
                <a:cubicBezTo>
                  <a:pt x="51" y="6030"/>
                  <a:pt x="0" y="6081"/>
                  <a:pt x="0" y="6144"/>
                </a:cubicBezTo>
                <a:cubicBezTo>
                  <a:pt x="0" y="6207"/>
                  <a:pt x="51" y="6258"/>
                  <a:pt x="114" y="6258"/>
                </a:cubicBezTo>
                <a:lnTo>
                  <a:pt x="228" y="6258"/>
                </a:lnTo>
                <a:lnTo>
                  <a:pt x="228" y="6485"/>
                </a:lnTo>
                <a:cubicBezTo>
                  <a:pt x="228" y="6548"/>
                  <a:pt x="278" y="6599"/>
                  <a:pt x="341" y="6599"/>
                </a:cubicBezTo>
                <a:lnTo>
                  <a:pt x="683" y="6599"/>
                </a:lnTo>
                <a:lnTo>
                  <a:pt x="683" y="6713"/>
                </a:lnTo>
                <a:cubicBezTo>
                  <a:pt x="683" y="6776"/>
                  <a:pt x="734" y="6827"/>
                  <a:pt x="796" y="6827"/>
                </a:cubicBezTo>
                <a:cubicBezTo>
                  <a:pt x="859" y="6827"/>
                  <a:pt x="910" y="6776"/>
                  <a:pt x="910" y="6713"/>
                </a:cubicBezTo>
                <a:lnTo>
                  <a:pt x="910" y="6599"/>
                </a:lnTo>
                <a:lnTo>
                  <a:pt x="1252" y="6599"/>
                </a:lnTo>
                <a:lnTo>
                  <a:pt x="1252" y="6713"/>
                </a:lnTo>
                <a:cubicBezTo>
                  <a:pt x="1252" y="6776"/>
                  <a:pt x="1302" y="6827"/>
                  <a:pt x="1365" y="6827"/>
                </a:cubicBezTo>
                <a:cubicBezTo>
                  <a:pt x="1428" y="6827"/>
                  <a:pt x="1479" y="6776"/>
                  <a:pt x="1479" y="6713"/>
                </a:cubicBezTo>
                <a:lnTo>
                  <a:pt x="1479" y="6599"/>
                </a:lnTo>
                <a:lnTo>
                  <a:pt x="1820" y="6599"/>
                </a:lnTo>
                <a:lnTo>
                  <a:pt x="1820" y="6713"/>
                </a:lnTo>
                <a:cubicBezTo>
                  <a:pt x="1820" y="6776"/>
                  <a:pt x="1871" y="6827"/>
                  <a:pt x="1934" y="6827"/>
                </a:cubicBezTo>
                <a:cubicBezTo>
                  <a:pt x="1997" y="6827"/>
                  <a:pt x="2048" y="6776"/>
                  <a:pt x="2048" y="6713"/>
                </a:cubicBezTo>
                <a:lnTo>
                  <a:pt x="2048" y="6599"/>
                </a:lnTo>
                <a:lnTo>
                  <a:pt x="2389" y="6599"/>
                </a:lnTo>
                <a:lnTo>
                  <a:pt x="2389" y="6713"/>
                </a:lnTo>
                <a:cubicBezTo>
                  <a:pt x="2389" y="6776"/>
                  <a:pt x="2440" y="6827"/>
                  <a:pt x="2503" y="6827"/>
                </a:cubicBezTo>
                <a:cubicBezTo>
                  <a:pt x="2566" y="6827"/>
                  <a:pt x="2617" y="6776"/>
                  <a:pt x="2617" y="6713"/>
                </a:cubicBezTo>
                <a:lnTo>
                  <a:pt x="2617" y="6599"/>
                </a:lnTo>
                <a:lnTo>
                  <a:pt x="2958" y="6599"/>
                </a:lnTo>
                <a:lnTo>
                  <a:pt x="2958" y="6713"/>
                </a:lnTo>
                <a:cubicBezTo>
                  <a:pt x="2958" y="6776"/>
                  <a:pt x="3009" y="6827"/>
                  <a:pt x="3072" y="6827"/>
                </a:cubicBezTo>
                <a:cubicBezTo>
                  <a:pt x="3135" y="6827"/>
                  <a:pt x="3186" y="6776"/>
                  <a:pt x="3186" y="6713"/>
                </a:cubicBezTo>
                <a:lnTo>
                  <a:pt x="3186" y="6599"/>
                </a:lnTo>
                <a:lnTo>
                  <a:pt x="3527" y="6599"/>
                </a:lnTo>
                <a:lnTo>
                  <a:pt x="3527" y="6713"/>
                </a:lnTo>
                <a:cubicBezTo>
                  <a:pt x="3527" y="6776"/>
                  <a:pt x="3578" y="6827"/>
                  <a:pt x="3641" y="6827"/>
                </a:cubicBezTo>
                <a:cubicBezTo>
                  <a:pt x="3704" y="6827"/>
                  <a:pt x="3755" y="6776"/>
                  <a:pt x="3755" y="6713"/>
                </a:cubicBezTo>
                <a:lnTo>
                  <a:pt x="3755" y="6599"/>
                </a:lnTo>
                <a:lnTo>
                  <a:pt x="4096" y="6599"/>
                </a:lnTo>
                <a:lnTo>
                  <a:pt x="4096" y="6713"/>
                </a:lnTo>
                <a:cubicBezTo>
                  <a:pt x="4096" y="6776"/>
                  <a:pt x="4147" y="6827"/>
                  <a:pt x="4210" y="6827"/>
                </a:cubicBezTo>
                <a:cubicBezTo>
                  <a:pt x="4273" y="6827"/>
                  <a:pt x="4323" y="6776"/>
                  <a:pt x="4323" y="6713"/>
                </a:cubicBezTo>
                <a:lnTo>
                  <a:pt x="4323" y="6599"/>
                </a:lnTo>
                <a:lnTo>
                  <a:pt x="4665" y="6599"/>
                </a:lnTo>
                <a:lnTo>
                  <a:pt x="4665" y="6713"/>
                </a:lnTo>
                <a:cubicBezTo>
                  <a:pt x="4665" y="6776"/>
                  <a:pt x="4716" y="6827"/>
                  <a:pt x="4779" y="6827"/>
                </a:cubicBezTo>
                <a:cubicBezTo>
                  <a:pt x="4842" y="6827"/>
                  <a:pt x="4892" y="6776"/>
                  <a:pt x="4892" y="6713"/>
                </a:cubicBezTo>
                <a:lnTo>
                  <a:pt x="4892" y="6599"/>
                </a:lnTo>
                <a:lnTo>
                  <a:pt x="5234" y="6599"/>
                </a:lnTo>
                <a:lnTo>
                  <a:pt x="5234" y="6713"/>
                </a:lnTo>
                <a:cubicBezTo>
                  <a:pt x="5234" y="6776"/>
                  <a:pt x="5285" y="6827"/>
                  <a:pt x="5347" y="6827"/>
                </a:cubicBezTo>
                <a:cubicBezTo>
                  <a:pt x="5410" y="6827"/>
                  <a:pt x="5461" y="6776"/>
                  <a:pt x="5461" y="6713"/>
                </a:cubicBezTo>
                <a:lnTo>
                  <a:pt x="5461" y="6599"/>
                </a:lnTo>
                <a:lnTo>
                  <a:pt x="5803" y="6599"/>
                </a:lnTo>
                <a:lnTo>
                  <a:pt x="5803" y="6713"/>
                </a:lnTo>
                <a:cubicBezTo>
                  <a:pt x="5803" y="6776"/>
                  <a:pt x="5853" y="6827"/>
                  <a:pt x="5916" y="6827"/>
                </a:cubicBezTo>
                <a:cubicBezTo>
                  <a:pt x="5979" y="6827"/>
                  <a:pt x="6030" y="6776"/>
                  <a:pt x="6030" y="6713"/>
                </a:cubicBezTo>
                <a:lnTo>
                  <a:pt x="6030" y="6599"/>
                </a:lnTo>
                <a:lnTo>
                  <a:pt x="6371" y="6599"/>
                </a:lnTo>
                <a:lnTo>
                  <a:pt x="6371" y="6713"/>
                </a:lnTo>
                <a:cubicBezTo>
                  <a:pt x="6371" y="6776"/>
                  <a:pt x="6422" y="6827"/>
                  <a:pt x="6485" y="6827"/>
                </a:cubicBezTo>
                <a:cubicBezTo>
                  <a:pt x="6548" y="6827"/>
                  <a:pt x="6599" y="6776"/>
                  <a:pt x="6599" y="6713"/>
                </a:cubicBezTo>
                <a:lnTo>
                  <a:pt x="6599" y="6599"/>
                </a:lnTo>
                <a:lnTo>
                  <a:pt x="6713" y="6599"/>
                </a:lnTo>
                <a:cubicBezTo>
                  <a:pt x="6776" y="6599"/>
                  <a:pt x="6827" y="6548"/>
                  <a:pt x="6827" y="6485"/>
                </a:cubicBezTo>
                <a:cubicBezTo>
                  <a:pt x="6827" y="6422"/>
                  <a:pt x="6776" y="6372"/>
                  <a:pt x="6713" y="6372"/>
                </a:cubicBezTo>
                <a:lnTo>
                  <a:pt x="6599" y="6372"/>
                </a:lnTo>
                <a:lnTo>
                  <a:pt x="6599" y="6258"/>
                </a:lnTo>
                <a:cubicBezTo>
                  <a:pt x="6599" y="6195"/>
                  <a:pt x="6548" y="6144"/>
                  <a:pt x="6485" y="6144"/>
                </a:cubicBezTo>
                <a:cubicBezTo>
                  <a:pt x="6422" y="6144"/>
                  <a:pt x="6371" y="6195"/>
                  <a:pt x="6371" y="6258"/>
                </a:cubicBezTo>
                <a:lnTo>
                  <a:pt x="6371" y="6372"/>
                </a:lnTo>
                <a:lnTo>
                  <a:pt x="6030" y="6372"/>
                </a:lnTo>
                <a:lnTo>
                  <a:pt x="6030" y="6258"/>
                </a:lnTo>
                <a:cubicBezTo>
                  <a:pt x="6030" y="6195"/>
                  <a:pt x="5979" y="6144"/>
                  <a:pt x="5916" y="6144"/>
                </a:cubicBezTo>
                <a:cubicBezTo>
                  <a:pt x="5853" y="6144"/>
                  <a:pt x="5803" y="6195"/>
                  <a:pt x="5803" y="6258"/>
                </a:cubicBezTo>
                <a:lnTo>
                  <a:pt x="5803" y="6372"/>
                </a:lnTo>
                <a:lnTo>
                  <a:pt x="5461" y="6372"/>
                </a:lnTo>
                <a:lnTo>
                  <a:pt x="5461" y="6258"/>
                </a:lnTo>
                <a:cubicBezTo>
                  <a:pt x="5461" y="6195"/>
                  <a:pt x="5410" y="6144"/>
                  <a:pt x="5347" y="6144"/>
                </a:cubicBezTo>
                <a:cubicBezTo>
                  <a:pt x="5285" y="6144"/>
                  <a:pt x="5234" y="6195"/>
                  <a:pt x="5234" y="6258"/>
                </a:cubicBezTo>
                <a:lnTo>
                  <a:pt x="5234" y="6372"/>
                </a:lnTo>
                <a:lnTo>
                  <a:pt x="4892" y="6372"/>
                </a:lnTo>
                <a:lnTo>
                  <a:pt x="4892" y="6258"/>
                </a:lnTo>
                <a:cubicBezTo>
                  <a:pt x="4892" y="6195"/>
                  <a:pt x="4842" y="6144"/>
                  <a:pt x="4779" y="6144"/>
                </a:cubicBezTo>
                <a:cubicBezTo>
                  <a:pt x="4716" y="6144"/>
                  <a:pt x="4665" y="6195"/>
                  <a:pt x="4665" y="6258"/>
                </a:cubicBezTo>
                <a:lnTo>
                  <a:pt x="4665" y="6372"/>
                </a:lnTo>
                <a:lnTo>
                  <a:pt x="4323" y="6372"/>
                </a:lnTo>
                <a:lnTo>
                  <a:pt x="4323" y="6258"/>
                </a:lnTo>
                <a:cubicBezTo>
                  <a:pt x="4323" y="6195"/>
                  <a:pt x="4273" y="6144"/>
                  <a:pt x="4210" y="6144"/>
                </a:cubicBezTo>
                <a:cubicBezTo>
                  <a:pt x="4147" y="6144"/>
                  <a:pt x="4096" y="6195"/>
                  <a:pt x="4096" y="6258"/>
                </a:cubicBezTo>
                <a:lnTo>
                  <a:pt x="4096" y="6372"/>
                </a:lnTo>
                <a:lnTo>
                  <a:pt x="3755" y="6372"/>
                </a:lnTo>
                <a:lnTo>
                  <a:pt x="3755" y="6258"/>
                </a:lnTo>
                <a:cubicBezTo>
                  <a:pt x="3755" y="6195"/>
                  <a:pt x="3704" y="6144"/>
                  <a:pt x="3641" y="6144"/>
                </a:cubicBezTo>
                <a:cubicBezTo>
                  <a:pt x="3578" y="6144"/>
                  <a:pt x="3527" y="6195"/>
                  <a:pt x="3527" y="6258"/>
                </a:cubicBezTo>
                <a:lnTo>
                  <a:pt x="3527" y="6372"/>
                </a:lnTo>
                <a:lnTo>
                  <a:pt x="3186" y="6372"/>
                </a:lnTo>
                <a:lnTo>
                  <a:pt x="3186" y="6258"/>
                </a:lnTo>
                <a:cubicBezTo>
                  <a:pt x="3186" y="6195"/>
                  <a:pt x="3135" y="6144"/>
                  <a:pt x="3072" y="6144"/>
                </a:cubicBezTo>
                <a:cubicBezTo>
                  <a:pt x="3009" y="6144"/>
                  <a:pt x="2958" y="6195"/>
                  <a:pt x="2958" y="6258"/>
                </a:cubicBezTo>
                <a:lnTo>
                  <a:pt x="2958" y="6372"/>
                </a:lnTo>
                <a:lnTo>
                  <a:pt x="2617" y="6372"/>
                </a:lnTo>
                <a:lnTo>
                  <a:pt x="2617" y="6258"/>
                </a:lnTo>
                <a:cubicBezTo>
                  <a:pt x="2617" y="6195"/>
                  <a:pt x="2566" y="6144"/>
                  <a:pt x="2503" y="6144"/>
                </a:cubicBezTo>
                <a:cubicBezTo>
                  <a:pt x="2440" y="6144"/>
                  <a:pt x="2389" y="6195"/>
                  <a:pt x="2389" y="6258"/>
                </a:cubicBezTo>
                <a:lnTo>
                  <a:pt x="2389" y="6372"/>
                </a:lnTo>
                <a:lnTo>
                  <a:pt x="2048" y="6372"/>
                </a:lnTo>
                <a:lnTo>
                  <a:pt x="2048" y="6258"/>
                </a:lnTo>
                <a:cubicBezTo>
                  <a:pt x="2048" y="6195"/>
                  <a:pt x="1997" y="6144"/>
                  <a:pt x="1934" y="6144"/>
                </a:cubicBezTo>
                <a:cubicBezTo>
                  <a:pt x="1871" y="6144"/>
                  <a:pt x="1820" y="6195"/>
                  <a:pt x="1820" y="6258"/>
                </a:cubicBezTo>
                <a:lnTo>
                  <a:pt x="1820" y="6372"/>
                </a:lnTo>
                <a:lnTo>
                  <a:pt x="1479" y="6372"/>
                </a:lnTo>
                <a:lnTo>
                  <a:pt x="1479" y="6258"/>
                </a:lnTo>
                <a:cubicBezTo>
                  <a:pt x="1479" y="6195"/>
                  <a:pt x="1428" y="6144"/>
                  <a:pt x="1365" y="6144"/>
                </a:cubicBezTo>
                <a:cubicBezTo>
                  <a:pt x="1302" y="6144"/>
                  <a:pt x="1252" y="6195"/>
                  <a:pt x="1252" y="6258"/>
                </a:cubicBezTo>
                <a:lnTo>
                  <a:pt x="1252" y="6372"/>
                </a:lnTo>
                <a:lnTo>
                  <a:pt x="910" y="6372"/>
                </a:lnTo>
                <a:lnTo>
                  <a:pt x="910" y="6258"/>
                </a:lnTo>
                <a:cubicBezTo>
                  <a:pt x="910" y="6195"/>
                  <a:pt x="859" y="6144"/>
                  <a:pt x="796" y="6144"/>
                </a:cubicBezTo>
                <a:cubicBezTo>
                  <a:pt x="734" y="6144"/>
                  <a:pt x="683" y="6195"/>
                  <a:pt x="683" y="6258"/>
                </a:cubicBezTo>
                <a:lnTo>
                  <a:pt x="683" y="6372"/>
                </a:lnTo>
                <a:lnTo>
                  <a:pt x="455" y="6372"/>
                </a:lnTo>
                <a:lnTo>
                  <a:pt x="455" y="5234"/>
                </a:lnTo>
                <a:lnTo>
                  <a:pt x="1263" y="523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defTabSz="1828343">
              <a:lnSpc>
                <a:spcPct val="150000"/>
              </a:lnSpc>
            </a:pPr>
            <a:endParaRPr lang="en-GB" sz="3599" kern="0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189" name="矩形 188">
            <a:extLst>
              <a:ext uri="{FF2B5EF4-FFF2-40B4-BE49-F238E27FC236}">
                <a16:creationId xmlns:a16="http://schemas.microsoft.com/office/drawing/2014/main" id="{3D4EF3D2-1E9F-48BF-A643-B9088110E8C3}"/>
              </a:ext>
            </a:extLst>
          </p:cNvPr>
          <p:cNvSpPr/>
          <p:nvPr/>
        </p:nvSpPr>
        <p:spPr>
          <a:xfrm>
            <a:off x="5990548" y="3713376"/>
            <a:ext cx="637702" cy="255081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0" name="任意多边形: 形状 189">
            <a:extLst>
              <a:ext uri="{FF2B5EF4-FFF2-40B4-BE49-F238E27FC236}">
                <a16:creationId xmlns:a16="http://schemas.microsoft.com/office/drawing/2014/main" id="{611EDB02-0534-40DD-80C8-69CC094551F5}"/>
              </a:ext>
            </a:extLst>
          </p:cNvPr>
          <p:cNvSpPr/>
          <p:nvPr/>
        </p:nvSpPr>
        <p:spPr bwMode="auto">
          <a:xfrm>
            <a:off x="7280310" y="3344017"/>
            <a:ext cx="267165" cy="257329"/>
          </a:xfrm>
          <a:custGeom>
            <a:avLst/>
            <a:gdLst>
              <a:gd name="connsiteX0" fmla="*/ 297615 w 597921"/>
              <a:gd name="connsiteY0" fmla="*/ 96957 h 598324"/>
              <a:gd name="connsiteX1" fmla="*/ 323434 w 597921"/>
              <a:gd name="connsiteY1" fmla="*/ 122740 h 598324"/>
              <a:gd name="connsiteX2" fmla="*/ 323434 w 597921"/>
              <a:gd name="connsiteY2" fmla="*/ 289852 h 598324"/>
              <a:gd name="connsiteX3" fmla="*/ 462572 w 597921"/>
              <a:gd name="connsiteY3" fmla="*/ 289852 h 598324"/>
              <a:gd name="connsiteX4" fmla="*/ 487913 w 597921"/>
              <a:gd name="connsiteY4" fmla="*/ 315157 h 598324"/>
              <a:gd name="connsiteX5" fmla="*/ 462572 w 597921"/>
              <a:gd name="connsiteY5" fmla="*/ 340463 h 598324"/>
              <a:gd name="connsiteX6" fmla="*/ 297615 w 597921"/>
              <a:gd name="connsiteY6" fmla="*/ 340463 h 598324"/>
              <a:gd name="connsiteX7" fmla="*/ 272274 w 597921"/>
              <a:gd name="connsiteY7" fmla="*/ 315157 h 598324"/>
              <a:gd name="connsiteX8" fmla="*/ 272274 w 597921"/>
              <a:gd name="connsiteY8" fmla="*/ 122740 h 598324"/>
              <a:gd name="connsiteX9" fmla="*/ 297615 w 597921"/>
              <a:gd name="connsiteY9" fmla="*/ 96957 h 598324"/>
              <a:gd name="connsiteX10" fmla="*/ 298127 w 597921"/>
              <a:gd name="connsiteY10" fmla="*/ 0 h 598324"/>
              <a:gd name="connsiteX11" fmla="*/ 597921 w 597921"/>
              <a:gd name="connsiteY11" fmla="*/ 299401 h 598324"/>
              <a:gd name="connsiteX12" fmla="*/ 298127 w 597921"/>
              <a:gd name="connsiteY12" fmla="*/ 598324 h 598324"/>
              <a:gd name="connsiteX13" fmla="*/ 35150 w 597921"/>
              <a:gd name="connsiteY13" fmla="*/ 442177 h 598324"/>
              <a:gd name="connsiteX14" fmla="*/ 34194 w 597921"/>
              <a:gd name="connsiteY14" fmla="*/ 432149 h 598324"/>
              <a:gd name="connsiteX15" fmla="*/ 40410 w 597921"/>
              <a:gd name="connsiteY15" fmla="*/ 424509 h 598324"/>
              <a:gd name="connsiteX16" fmla="*/ 74836 w 597921"/>
              <a:gd name="connsiteY16" fmla="*/ 407796 h 598324"/>
              <a:gd name="connsiteX17" fmla="*/ 91571 w 597921"/>
              <a:gd name="connsiteY17" fmla="*/ 413049 h 598324"/>
              <a:gd name="connsiteX18" fmla="*/ 298127 w 597921"/>
              <a:gd name="connsiteY18" fmla="*/ 534815 h 598324"/>
              <a:gd name="connsiteX19" fmla="*/ 534328 w 597921"/>
              <a:gd name="connsiteY19" fmla="*/ 299401 h 598324"/>
              <a:gd name="connsiteX20" fmla="*/ 298127 w 597921"/>
              <a:gd name="connsiteY20" fmla="*/ 63509 h 598324"/>
              <a:gd name="connsiteX21" fmla="*/ 145123 w 597921"/>
              <a:gd name="connsiteY21" fmla="*/ 120333 h 598324"/>
              <a:gd name="connsiteX22" fmla="*/ 200587 w 597921"/>
              <a:gd name="connsiteY22" fmla="*/ 142299 h 598324"/>
              <a:gd name="connsiteX23" fmla="*/ 208237 w 597921"/>
              <a:gd name="connsiteY23" fmla="*/ 152327 h 598324"/>
              <a:gd name="connsiteX24" fmla="*/ 203456 w 597921"/>
              <a:gd name="connsiteY24" fmla="*/ 164265 h 598324"/>
              <a:gd name="connsiteX25" fmla="*/ 48060 w 597921"/>
              <a:gd name="connsiteY25" fmla="*/ 285553 h 598324"/>
              <a:gd name="connsiteX26" fmla="*/ 35150 w 597921"/>
              <a:gd name="connsiteY26" fmla="*/ 287463 h 598324"/>
              <a:gd name="connsiteX27" fmla="*/ 27500 w 597921"/>
              <a:gd name="connsiteY27" fmla="*/ 277435 h 598324"/>
              <a:gd name="connsiteX28" fmla="*/ 246 w 597921"/>
              <a:gd name="connsiteY28" fmla="*/ 82132 h 598324"/>
              <a:gd name="connsiteX29" fmla="*/ 4550 w 597921"/>
              <a:gd name="connsiteY29" fmla="*/ 70194 h 598324"/>
              <a:gd name="connsiteX30" fmla="*/ 17459 w 597921"/>
              <a:gd name="connsiteY30" fmla="*/ 68762 h 598324"/>
              <a:gd name="connsiteX31" fmla="*/ 80574 w 597921"/>
              <a:gd name="connsiteY31" fmla="*/ 94070 h 598324"/>
              <a:gd name="connsiteX32" fmla="*/ 298127 w 597921"/>
              <a:gd name="connsiteY32" fmla="*/ 0 h 5983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</a:cxnLst>
            <a:rect l="l" t="t" r="r" b="b"/>
            <a:pathLst>
              <a:path w="597921" h="598324">
                <a:moveTo>
                  <a:pt x="297615" y="96957"/>
                </a:moveTo>
                <a:cubicBezTo>
                  <a:pt x="311959" y="96957"/>
                  <a:pt x="323434" y="108416"/>
                  <a:pt x="323434" y="122740"/>
                </a:cubicBezTo>
                <a:lnTo>
                  <a:pt x="323434" y="289852"/>
                </a:lnTo>
                <a:lnTo>
                  <a:pt x="462572" y="289852"/>
                </a:lnTo>
                <a:cubicBezTo>
                  <a:pt x="476438" y="289852"/>
                  <a:pt x="487913" y="301311"/>
                  <a:pt x="487913" y="315157"/>
                </a:cubicBezTo>
                <a:cubicBezTo>
                  <a:pt x="487913" y="329004"/>
                  <a:pt x="476438" y="340463"/>
                  <a:pt x="462572" y="340463"/>
                </a:cubicBezTo>
                <a:lnTo>
                  <a:pt x="297615" y="340463"/>
                </a:lnTo>
                <a:cubicBezTo>
                  <a:pt x="283749" y="340463"/>
                  <a:pt x="272274" y="329004"/>
                  <a:pt x="272274" y="315157"/>
                </a:cubicBezTo>
                <a:lnTo>
                  <a:pt x="272274" y="122740"/>
                </a:lnTo>
                <a:cubicBezTo>
                  <a:pt x="272274" y="108416"/>
                  <a:pt x="283749" y="96957"/>
                  <a:pt x="297615" y="96957"/>
                </a:cubicBezTo>
                <a:close/>
                <a:moveTo>
                  <a:pt x="298127" y="0"/>
                </a:moveTo>
                <a:cubicBezTo>
                  <a:pt x="463564" y="0"/>
                  <a:pt x="597921" y="134181"/>
                  <a:pt x="597921" y="299401"/>
                </a:cubicBezTo>
                <a:cubicBezTo>
                  <a:pt x="597921" y="464143"/>
                  <a:pt x="463564" y="598324"/>
                  <a:pt x="298127" y="598324"/>
                </a:cubicBezTo>
                <a:cubicBezTo>
                  <a:pt x="188155" y="598324"/>
                  <a:pt x="87268" y="538635"/>
                  <a:pt x="35150" y="442177"/>
                </a:cubicBezTo>
                <a:cubicBezTo>
                  <a:pt x="33238" y="438835"/>
                  <a:pt x="32760" y="435492"/>
                  <a:pt x="34194" y="432149"/>
                </a:cubicBezTo>
                <a:cubicBezTo>
                  <a:pt x="35150" y="428807"/>
                  <a:pt x="37541" y="425942"/>
                  <a:pt x="40410" y="424509"/>
                </a:cubicBezTo>
                <a:lnTo>
                  <a:pt x="74836" y="407796"/>
                </a:lnTo>
                <a:cubicBezTo>
                  <a:pt x="81052" y="404931"/>
                  <a:pt x="88702" y="407319"/>
                  <a:pt x="91571" y="413049"/>
                </a:cubicBezTo>
                <a:cubicBezTo>
                  <a:pt x="133169" y="488018"/>
                  <a:pt x="212540" y="534815"/>
                  <a:pt x="298127" y="534815"/>
                </a:cubicBezTo>
                <a:cubicBezTo>
                  <a:pt x="428181" y="534815"/>
                  <a:pt x="534328" y="429284"/>
                  <a:pt x="534328" y="299401"/>
                </a:cubicBezTo>
                <a:cubicBezTo>
                  <a:pt x="534328" y="169517"/>
                  <a:pt x="428181" y="63509"/>
                  <a:pt x="298127" y="63509"/>
                </a:cubicBezTo>
                <a:cubicBezTo>
                  <a:pt x="242185" y="63509"/>
                  <a:pt x="187677" y="83565"/>
                  <a:pt x="145123" y="120333"/>
                </a:cubicBezTo>
                <a:lnTo>
                  <a:pt x="200587" y="142299"/>
                </a:lnTo>
                <a:cubicBezTo>
                  <a:pt x="204890" y="144209"/>
                  <a:pt x="207759" y="148029"/>
                  <a:pt x="208237" y="152327"/>
                </a:cubicBezTo>
                <a:cubicBezTo>
                  <a:pt x="208715" y="157102"/>
                  <a:pt x="207281" y="161399"/>
                  <a:pt x="203456" y="164265"/>
                </a:cubicBezTo>
                <a:lnTo>
                  <a:pt x="48060" y="285553"/>
                </a:lnTo>
                <a:cubicBezTo>
                  <a:pt x="44235" y="288418"/>
                  <a:pt x="39454" y="289373"/>
                  <a:pt x="35150" y="287463"/>
                </a:cubicBezTo>
                <a:cubicBezTo>
                  <a:pt x="31325" y="285553"/>
                  <a:pt x="27978" y="281733"/>
                  <a:pt x="27500" y="277435"/>
                </a:cubicBezTo>
                <a:lnTo>
                  <a:pt x="246" y="82132"/>
                </a:lnTo>
                <a:cubicBezTo>
                  <a:pt x="-710" y="77835"/>
                  <a:pt x="1203" y="73060"/>
                  <a:pt x="4550" y="70194"/>
                </a:cubicBezTo>
                <a:cubicBezTo>
                  <a:pt x="8375" y="67807"/>
                  <a:pt x="13156" y="66852"/>
                  <a:pt x="17459" y="68762"/>
                </a:cubicBezTo>
                <a:lnTo>
                  <a:pt x="80574" y="94070"/>
                </a:lnTo>
                <a:cubicBezTo>
                  <a:pt x="137472" y="33426"/>
                  <a:pt x="214931" y="0"/>
                  <a:pt x="298127" y="0"/>
                </a:cubicBez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gradFill flip="none" rotWithShape="1">
              <a:gsLst>
                <a:gs pos="16000">
                  <a:schemeClr val="bg1">
                    <a:lumMod val="65000"/>
                    <a:alpha val="69000"/>
                  </a:schemeClr>
                </a:gs>
                <a:gs pos="100000">
                  <a:schemeClr val="bg1">
                    <a:lumMod val="95000"/>
                    <a:alpha val="24000"/>
                  </a:schemeClr>
                </a:gs>
              </a:gsLst>
              <a:lin ang="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en-US" sz="7198">
              <a:cs typeface="+mn-ea"/>
              <a:sym typeface="+mn-lt"/>
            </a:endParaRPr>
          </a:p>
        </p:txBody>
      </p:sp>
      <p:sp>
        <p:nvSpPr>
          <p:cNvPr id="191" name="矩形 190">
            <a:extLst>
              <a:ext uri="{FF2B5EF4-FFF2-40B4-BE49-F238E27FC236}">
                <a16:creationId xmlns:a16="http://schemas.microsoft.com/office/drawing/2014/main" id="{8A816463-CA69-4A71-ABF3-D64B5224C910}"/>
              </a:ext>
            </a:extLst>
          </p:cNvPr>
          <p:cNvSpPr/>
          <p:nvPr/>
        </p:nvSpPr>
        <p:spPr>
          <a:xfrm>
            <a:off x="7095044" y="3713376"/>
            <a:ext cx="637702" cy="255081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92" name="任意多边形: 形状 191">
            <a:extLst>
              <a:ext uri="{FF2B5EF4-FFF2-40B4-BE49-F238E27FC236}">
                <a16:creationId xmlns:a16="http://schemas.microsoft.com/office/drawing/2014/main" id="{A1188FE4-73A0-4F9F-9956-2E4E75A4EC63}"/>
              </a:ext>
            </a:extLst>
          </p:cNvPr>
          <p:cNvSpPr/>
          <p:nvPr/>
        </p:nvSpPr>
        <p:spPr bwMode="auto">
          <a:xfrm>
            <a:off x="8384806" y="3344017"/>
            <a:ext cx="267165" cy="257329"/>
          </a:xfrm>
          <a:custGeom>
            <a:avLst/>
            <a:gdLst>
              <a:gd name="connsiteX0" fmla="*/ 0 w 582235"/>
              <a:gd name="connsiteY0" fmla="*/ 404481 h 606722"/>
              <a:gd name="connsiteX1" fmla="*/ 101261 w 582235"/>
              <a:gd name="connsiteY1" fmla="*/ 404481 h 606722"/>
              <a:gd name="connsiteX2" fmla="*/ 101261 w 582235"/>
              <a:gd name="connsiteY2" fmla="*/ 606722 h 606722"/>
              <a:gd name="connsiteX3" fmla="*/ 0 w 582235"/>
              <a:gd name="connsiteY3" fmla="*/ 606722 h 606722"/>
              <a:gd name="connsiteX4" fmla="*/ 151927 w 582235"/>
              <a:gd name="connsiteY4" fmla="*/ 328623 h 606722"/>
              <a:gd name="connsiteX5" fmla="*/ 253188 w 582235"/>
              <a:gd name="connsiteY5" fmla="*/ 328623 h 606722"/>
              <a:gd name="connsiteX6" fmla="*/ 253188 w 582235"/>
              <a:gd name="connsiteY6" fmla="*/ 606722 h 606722"/>
              <a:gd name="connsiteX7" fmla="*/ 151927 w 582235"/>
              <a:gd name="connsiteY7" fmla="*/ 606722 h 606722"/>
              <a:gd name="connsiteX8" fmla="*/ 303855 w 582235"/>
              <a:gd name="connsiteY8" fmla="*/ 252766 h 606722"/>
              <a:gd name="connsiteX9" fmla="*/ 405046 w 582235"/>
              <a:gd name="connsiteY9" fmla="*/ 252766 h 606722"/>
              <a:gd name="connsiteX10" fmla="*/ 405046 w 582235"/>
              <a:gd name="connsiteY10" fmla="*/ 606722 h 606722"/>
              <a:gd name="connsiteX11" fmla="*/ 303855 w 582235"/>
              <a:gd name="connsiteY11" fmla="*/ 606722 h 606722"/>
              <a:gd name="connsiteX12" fmla="*/ 455711 w 582235"/>
              <a:gd name="connsiteY12" fmla="*/ 202241 h 606722"/>
              <a:gd name="connsiteX13" fmla="*/ 556972 w 582235"/>
              <a:gd name="connsiteY13" fmla="*/ 202241 h 606722"/>
              <a:gd name="connsiteX14" fmla="*/ 556972 w 582235"/>
              <a:gd name="connsiteY14" fmla="*/ 606722 h 606722"/>
              <a:gd name="connsiteX15" fmla="*/ 455711 w 582235"/>
              <a:gd name="connsiteY15" fmla="*/ 606722 h 606722"/>
              <a:gd name="connsiteX16" fmla="*/ 455697 w 582235"/>
              <a:gd name="connsiteY16" fmla="*/ 0 h 606722"/>
              <a:gd name="connsiteX17" fmla="*/ 556785 w 582235"/>
              <a:gd name="connsiteY17" fmla="*/ 0 h 606722"/>
              <a:gd name="connsiteX18" fmla="*/ 556874 w 582235"/>
              <a:gd name="connsiteY18" fmla="*/ 0 h 606722"/>
              <a:gd name="connsiteX19" fmla="*/ 556963 w 582235"/>
              <a:gd name="connsiteY19" fmla="*/ 0 h 606722"/>
              <a:gd name="connsiteX20" fmla="*/ 557675 w 582235"/>
              <a:gd name="connsiteY20" fmla="*/ 0 h 606722"/>
              <a:gd name="connsiteX21" fmla="*/ 559366 w 582235"/>
              <a:gd name="connsiteY21" fmla="*/ 89 h 606722"/>
              <a:gd name="connsiteX22" fmla="*/ 560611 w 582235"/>
              <a:gd name="connsiteY22" fmla="*/ 267 h 606722"/>
              <a:gd name="connsiteX23" fmla="*/ 561857 w 582235"/>
              <a:gd name="connsiteY23" fmla="*/ 444 h 606722"/>
              <a:gd name="connsiteX24" fmla="*/ 563192 w 582235"/>
              <a:gd name="connsiteY24" fmla="*/ 800 h 606722"/>
              <a:gd name="connsiteX25" fmla="*/ 564171 w 582235"/>
              <a:gd name="connsiteY25" fmla="*/ 1067 h 606722"/>
              <a:gd name="connsiteX26" fmla="*/ 565506 w 582235"/>
              <a:gd name="connsiteY26" fmla="*/ 1511 h 606722"/>
              <a:gd name="connsiteX27" fmla="*/ 566574 w 582235"/>
              <a:gd name="connsiteY27" fmla="*/ 1867 h 606722"/>
              <a:gd name="connsiteX28" fmla="*/ 567730 w 582235"/>
              <a:gd name="connsiteY28" fmla="*/ 2400 h 606722"/>
              <a:gd name="connsiteX29" fmla="*/ 568798 w 582235"/>
              <a:gd name="connsiteY29" fmla="*/ 2933 h 606722"/>
              <a:gd name="connsiteX30" fmla="*/ 569777 w 582235"/>
              <a:gd name="connsiteY30" fmla="*/ 3467 h 606722"/>
              <a:gd name="connsiteX31" fmla="*/ 570934 w 582235"/>
              <a:gd name="connsiteY31" fmla="*/ 4178 h 606722"/>
              <a:gd name="connsiteX32" fmla="*/ 571824 w 582235"/>
              <a:gd name="connsiteY32" fmla="*/ 4800 h 606722"/>
              <a:gd name="connsiteX33" fmla="*/ 572891 w 582235"/>
              <a:gd name="connsiteY33" fmla="*/ 5689 h 606722"/>
              <a:gd name="connsiteX34" fmla="*/ 573781 w 582235"/>
              <a:gd name="connsiteY34" fmla="*/ 6489 h 606722"/>
              <a:gd name="connsiteX35" fmla="*/ 574760 w 582235"/>
              <a:gd name="connsiteY35" fmla="*/ 7289 h 606722"/>
              <a:gd name="connsiteX36" fmla="*/ 575917 w 582235"/>
              <a:gd name="connsiteY36" fmla="*/ 8533 h 606722"/>
              <a:gd name="connsiteX37" fmla="*/ 576451 w 582235"/>
              <a:gd name="connsiteY37" fmla="*/ 9066 h 606722"/>
              <a:gd name="connsiteX38" fmla="*/ 576451 w 582235"/>
              <a:gd name="connsiteY38" fmla="*/ 9155 h 606722"/>
              <a:gd name="connsiteX39" fmla="*/ 577964 w 582235"/>
              <a:gd name="connsiteY39" fmla="*/ 11200 h 606722"/>
              <a:gd name="connsiteX40" fmla="*/ 578053 w 582235"/>
              <a:gd name="connsiteY40" fmla="*/ 11289 h 606722"/>
              <a:gd name="connsiteX41" fmla="*/ 579209 w 582235"/>
              <a:gd name="connsiteY41" fmla="*/ 13244 h 606722"/>
              <a:gd name="connsiteX42" fmla="*/ 579743 w 582235"/>
              <a:gd name="connsiteY42" fmla="*/ 14222 h 606722"/>
              <a:gd name="connsiteX43" fmla="*/ 580277 w 582235"/>
              <a:gd name="connsiteY43" fmla="*/ 15555 h 606722"/>
              <a:gd name="connsiteX44" fmla="*/ 580722 w 582235"/>
              <a:gd name="connsiteY44" fmla="*/ 16711 h 606722"/>
              <a:gd name="connsiteX45" fmla="*/ 581167 w 582235"/>
              <a:gd name="connsiteY45" fmla="*/ 17866 h 606722"/>
              <a:gd name="connsiteX46" fmla="*/ 581523 w 582235"/>
              <a:gd name="connsiteY46" fmla="*/ 19199 h 606722"/>
              <a:gd name="connsiteX47" fmla="*/ 581790 w 582235"/>
              <a:gd name="connsiteY47" fmla="*/ 20266 h 606722"/>
              <a:gd name="connsiteX48" fmla="*/ 582146 w 582235"/>
              <a:gd name="connsiteY48" fmla="*/ 22488 h 606722"/>
              <a:gd name="connsiteX49" fmla="*/ 582146 w 582235"/>
              <a:gd name="connsiteY49" fmla="*/ 22666 h 606722"/>
              <a:gd name="connsiteX50" fmla="*/ 582235 w 582235"/>
              <a:gd name="connsiteY50" fmla="*/ 25244 h 606722"/>
              <a:gd name="connsiteX51" fmla="*/ 582235 w 582235"/>
              <a:gd name="connsiteY51" fmla="*/ 126396 h 606722"/>
              <a:gd name="connsiteX52" fmla="*/ 556963 w 582235"/>
              <a:gd name="connsiteY52" fmla="*/ 151728 h 606722"/>
              <a:gd name="connsiteX53" fmla="*/ 531691 w 582235"/>
              <a:gd name="connsiteY53" fmla="*/ 126396 h 606722"/>
              <a:gd name="connsiteX54" fmla="*/ 531691 w 582235"/>
              <a:gd name="connsiteY54" fmla="*/ 79286 h 606722"/>
              <a:gd name="connsiteX55" fmla="*/ 421260 w 582235"/>
              <a:gd name="connsiteY55" fmla="*/ 171106 h 606722"/>
              <a:gd name="connsiteX56" fmla="*/ 385666 w 582235"/>
              <a:gd name="connsiteY56" fmla="*/ 167906 h 606722"/>
              <a:gd name="connsiteX57" fmla="*/ 388869 w 582235"/>
              <a:gd name="connsiteY57" fmla="*/ 132262 h 606722"/>
              <a:gd name="connsiteX58" fmla="*/ 487020 w 582235"/>
              <a:gd name="connsiteY58" fmla="*/ 50576 h 606722"/>
              <a:gd name="connsiteX59" fmla="*/ 455697 w 582235"/>
              <a:gd name="connsiteY59" fmla="*/ 50576 h 606722"/>
              <a:gd name="connsiteX60" fmla="*/ 430425 w 582235"/>
              <a:gd name="connsiteY60" fmla="*/ 25244 h 606722"/>
              <a:gd name="connsiteX61" fmla="*/ 455697 w 582235"/>
              <a:gd name="connsiteY61" fmla="*/ 0 h 6067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582235" h="606722">
                <a:moveTo>
                  <a:pt x="0" y="404481"/>
                </a:moveTo>
                <a:lnTo>
                  <a:pt x="101261" y="404481"/>
                </a:lnTo>
                <a:lnTo>
                  <a:pt x="101261" y="606722"/>
                </a:lnTo>
                <a:lnTo>
                  <a:pt x="0" y="606722"/>
                </a:lnTo>
                <a:close/>
                <a:moveTo>
                  <a:pt x="151927" y="328623"/>
                </a:moveTo>
                <a:lnTo>
                  <a:pt x="253188" y="328623"/>
                </a:lnTo>
                <a:lnTo>
                  <a:pt x="253188" y="606722"/>
                </a:lnTo>
                <a:lnTo>
                  <a:pt x="151927" y="606722"/>
                </a:lnTo>
                <a:close/>
                <a:moveTo>
                  <a:pt x="303855" y="252766"/>
                </a:moveTo>
                <a:lnTo>
                  <a:pt x="405046" y="252766"/>
                </a:lnTo>
                <a:lnTo>
                  <a:pt x="405046" y="606722"/>
                </a:lnTo>
                <a:lnTo>
                  <a:pt x="303855" y="606722"/>
                </a:lnTo>
                <a:close/>
                <a:moveTo>
                  <a:pt x="455711" y="202241"/>
                </a:moveTo>
                <a:lnTo>
                  <a:pt x="556972" y="202241"/>
                </a:lnTo>
                <a:lnTo>
                  <a:pt x="556972" y="606722"/>
                </a:lnTo>
                <a:lnTo>
                  <a:pt x="455711" y="606722"/>
                </a:lnTo>
                <a:close/>
                <a:moveTo>
                  <a:pt x="455697" y="0"/>
                </a:moveTo>
                <a:lnTo>
                  <a:pt x="556785" y="0"/>
                </a:lnTo>
                <a:lnTo>
                  <a:pt x="556874" y="0"/>
                </a:lnTo>
                <a:lnTo>
                  <a:pt x="556963" y="0"/>
                </a:lnTo>
                <a:cubicBezTo>
                  <a:pt x="557230" y="0"/>
                  <a:pt x="557408" y="0"/>
                  <a:pt x="557675" y="0"/>
                </a:cubicBezTo>
                <a:cubicBezTo>
                  <a:pt x="558298" y="89"/>
                  <a:pt x="558832" y="89"/>
                  <a:pt x="559366" y="89"/>
                </a:cubicBezTo>
                <a:cubicBezTo>
                  <a:pt x="559811" y="178"/>
                  <a:pt x="560256" y="267"/>
                  <a:pt x="560611" y="267"/>
                </a:cubicBezTo>
                <a:cubicBezTo>
                  <a:pt x="561056" y="356"/>
                  <a:pt x="561412" y="444"/>
                  <a:pt x="561857" y="444"/>
                </a:cubicBezTo>
                <a:cubicBezTo>
                  <a:pt x="562302" y="533"/>
                  <a:pt x="562747" y="711"/>
                  <a:pt x="563192" y="800"/>
                </a:cubicBezTo>
                <a:cubicBezTo>
                  <a:pt x="563548" y="889"/>
                  <a:pt x="563904" y="978"/>
                  <a:pt x="564171" y="1067"/>
                </a:cubicBezTo>
                <a:cubicBezTo>
                  <a:pt x="564616" y="1156"/>
                  <a:pt x="565061" y="1333"/>
                  <a:pt x="565506" y="1511"/>
                </a:cubicBezTo>
                <a:cubicBezTo>
                  <a:pt x="565862" y="1600"/>
                  <a:pt x="566218" y="1778"/>
                  <a:pt x="566574" y="1867"/>
                </a:cubicBezTo>
                <a:cubicBezTo>
                  <a:pt x="566929" y="2044"/>
                  <a:pt x="567285" y="2222"/>
                  <a:pt x="567730" y="2400"/>
                </a:cubicBezTo>
                <a:cubicBezTo>
                  <a:pt x="568086" y="2578"/>
                  <a:pt x="568442" y="2755"/>
                  <a:pt x="568798" y="2933"/>
                </a:cubicBezTo>
                <a:cubicBezTo>
                  <a:pt x="569154" y="3111"/>
                  <a:pt x="569421" y="3289"/>
                  <a:pt x="569777" y="3467"/>
                </a:cubicBezTo>
                <a:cubicBezTo>
                  <a:pt x="570133" y="3733"/>
                  <a:pt x="570578" y="4000"/>
                  <a:pt x="570934" y="4178"/>
                </a:cubicBezTo>
                <a:cubicBezTo>
                  <a:pt x="571201" y="4444"/>
                  <a:pt x="571557" y="4622"/>
                  <a:pt x="571824" y="4800"/>
                </a:cubicBezTo>
                <a:cubicBezTo>
                  <a:pt x="572180" y="5155"/>
                  <a:pt x="572536" y="5422"/>
                  <a:pt x="572891" y="5689"/>
                </a:cubicBezTo>
                <a:cubicBezTo>
                  <a:pt x="573247" y="5955"/>
                  <a:pt x="573514" y="6222"/>
                  <a:pt x="573781" y="6489"/>
                </a:cubicBezTo>
                <a:cubicBezTo>
                  <a:pt x="574137" y="6755"/>
                  <a:pt x="574493" y="7022"/>
                  <a:pt x="574760" y="7289"/>
                </a:cubicBezTo>
                <a:cubicBezTo>
                  <a:pt x="575205" y="7733"/>
                  <a:pt x="575561" y="8178"/>
                  <a:pt x="575917" y="8533"/>
                </a:cubicBezTo>
                <a:cubicBezTo>
                  <a:pt x="576095" y="8711"/>
                  <a:pt x="576273" y="8889"/>
                  <a:pt x="576451" y="9066"/>
                </a:cubicBezTo>
                <a:cubicBezTo>
                  <a:pt x="576451" y="9155"/>
                  <a:pt x="576451" y="9155"/>
                  <a:pt x="576451" y="9155"/>
                </a:cubicBezTo>
                <a:cubicBezTo>
                  <a:pt x="576985" y="9777"/>
                  <a:pt x="577519" y="10489"/>
                  <a:pt x="577964" y="11200"/>
                </a:cubicBezTo>
                <a:cubicBezTo>
                  <a:pt x="577964" y="11200"/>
                  <a:pt x="578053" y="11289"/>
                  <a:pt x="578053" y="11289"/>
                </a:cubicBezTo>
                <a:cubicBezTo>
                  <a:pt x="578498" y="12000"/>
                  <a:pt x="578854" y="12622"/>
                  <a:pt x="579209" y="13244"/>
                </a:cubicBezTo>
                <a:cubicBezTo>
                  <a:pt x="579387" y="13600"/>
                  <a:pt x="579565" y="13955"/>
                  <a:pt x="579743" y="14222"/>
                </a:cubicBezTo>
                <a:cubicBezTo>
                  <a:pt x="579921" y="14666"/>
                  <a:pt x="580099" y="15111"/>
                  <a:pt x="580277" y="15555"/>
                </a:cubicBezTo>
                <a:cubicBezTo>
                  <a:pt x="580455" y="15911"/>
                  <a:pt x="580633" y="16266"/>
                  <a:pt x="580722" y="16711"/>
                </a:cubicBezTo>
                <a:cubicBezTo>
                  <a:pt x="580900" y="17066"/>
                  <a:pt x="581078" y="17422"/>
                  <a:pt x="581167" y="17866"/>
                </a:cubicBezTo>
                <a:cubicBezTo>
                  <a:pt x="581256" y="18311"/>
                  <a:pt x="581434" y="18755"/>
                  <a:pt x="581523" y="19199"/>
                </a:cubicBezTo>
                <a:cubicBezTo>
                  <a:pt x="581612" y="19555"/>
                  <a:pt x="581701" y="19910"/>
                  <a:pt x="581790" y="20266"/>
                </a:cubicBezTo>
                <a:cubicBezTo>
                  <a:pt x="581879" y="20977"/>
                  <a:pt x="582057" y="21777"/>
                  <a:pt x="582146" y="22488"/>
                </a:cubicBezTo>
                <a:cubicBezTo>
                  <a:pt x="582146" y="22577"/>
                  <a:pt x="582146" y="22666"/>
                  <a:pt x="582146" y="22666"/>
                </a:cubicBezTo>
                <a:cubicBezTo>
                  <a:pt x="582235" y="23555"/>
                  <a:pt x="582235" y="24355"/>
                  <a:pt x="582235" y="25244"/>
                </a:cubicBezTo>
                <a:lnTo>
                  <a:pt x="582235" y="126396"/>
                </a:lnTo>
                <a:cubicBezTo>
                  <a:pt x="582235" y="140351"/>
                  <a:pt x="570934" y="151728"/>
                  <a:pt x="556963" y="151728"/>
                </a:cubicBezTo>
                <a:cubicBezTo>
                  <a:pt x="542992" y="151728"/>
                  <a:pt x="531691" y="140351"/>
                  <a:pt x="531691" y="126396"/>
                </a:cubicBezTo>
                <a:lnTo>
                  <a:pt x="531691" y="79286"/>
                </a:lnTo>
                <a:lnTo>
                  <a:pt x="421260" y="171106"/>
                </a:lnTo>
                <a:cubicBezTo>
                  <a:pt x="410582" y="180083"/>
                  <a:pt x="394564" y="178572"/>
                  <a:pt x="385666" y="167906"/>
                </a:cubicBezTo>
                <a:cubicBezTo>
                  <a:pt x="376678" y="157150"/>
                  <a:pt x="378191" y="141240"/>
                  <a:pt x="388869" y="132262"/>
                </a:cubicBezTo>
                <a:lnTo>
                  <a:pt x="487020" y="50576"/>
                </a:lnTo>
                <a:lnTo>
                  <a:pt x="455697" y="50576"/>
                </a:lnTo>
                <a:cubicBezTo>
                  <a:pt x="441727" y="50576"/>
                  <a:pt x="430425" y="39288"/>
                  <a:pt x="430425" y="25244"/>
                </a:cubicBezTo>
                <a:cubicBezTo>
                  <a:pt x="430425" y="11289"/>
                  <a:pt x="441727" y="0"/>
                  <a:pt x="45569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6398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3" name="矩形 192">
            <a:extLst>
              <a:ext uri="{FF2B5EF4-FFF2-40B4-BE49-F238E27FC236}">
                <a16:creationId xmlns:a16="http://schemas.microsoft.com/office/drawing/2014/main" id="{46485FA6-5CD9-4280-AF0C-6E0BAA5D7800}"/>
              </a:ext>
            </a:extLst>
          </p:cNvPr>
          <p:cNvSpPr/>
          <p:nvPr/>
        </p:nvSpPr>
        <p:spPr>
          <a:xfrm>
            <a:off x="8199538" y="3713376"/>
            <a:ext cx="637702" cy="255081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94" name="任意多边形: 形状 193">
            <a:extLst>
              <a:ext uri="{FF2B5EF4-FFF2-40B4-BE49-F238E27FC236}">
                <a16:creationId xmlns:a16="http://schemas.microsoft.com/office/drawing/2014/main" id="{5A20A432-2423-41EA-9F44-E6632D78DF9B}"/>
              </a:ext>
            </a:extLst>
          </p:cNvPr>
          <p:cNvSpPr/>
          <p:nvPr/>
        </p:nvSpPr>
        <p:spPr bwMode="auto">
          <a:xfrm>
            <a:off x="9069823" y="3094422"/>
            <a:ext cx="1358150" cy="1123630"/>
          </a:xfrm>
          <a:custGeom>
            <a:avLst/>
            <a:gdLst/>
            <a:ahLst/>
            <a:cxnLst>
              <a:cxn ang="0">
                <a:pos x="629" y="221"/>
              </a:cxn>
              <a:cxn ang="0">
                <a:pos x="414" y="63"/>
              </a:cxn>
              <a:cxn ang="0">
                <a:pos x="393" y="47"/>
              </a:cxn>
              <a:cxn ang="0">
                <a:pos x="239" y="0"/>
              </a:cxn>
              <a:cxn ang="0">
                <a:pos x="171" y="9"/>
              </a:cxn>
              <a:cxn ang="0">
                <a:pos x="0" y="137"/>
              </a:cxn>
              <a:cxn ang="0">
                <a:pos x="98" y="209"/>
              </a:cxn>
              <a:cxn ang="0">
                <a:pos x="137" y="279"/>
              </a:cxn>
              <a:cxn ang="0">
                <a:pos x="98" y="349"/>
              </a:cxn>
              <a:cxn ang="0">
                <a:pos x="0" y="421"/>
              </a:cxn>
              <a:cxn ang="0">
                <a:pos x="171" y="549"/>
              </a:cxn>
              <a:cxn ang="0">
                <a:pos x="239" y="557"/>
              </a:cxn>
              <a:cxn ang="0">
                <a:pos x="393" y="511"/>
              </a:cxn>
              <a:cxn ang="0">
                <a:pos x="414" y="495"/>
              </a:cxn>
              <a:cxn ang="0">
                <a:pos x="629" y="337"/>
              </a:cxn>
              <a:cxn ang="0">
                <a:pos x="629" y="221"/>
              </a:cxn>
            </a:cxnLst>
            <a:rect l="0" t="0" r="r" b="b"/>
            <a:pathLst>
              <a:path w="673" h="557">
                <a:moveTo>
                  <a:pt x="629" y="221"/>
                </a:moveTo>
                <a:cubicBezTo>
                  <a:pt x="414" y="63"/>
                  <a:pt x="414" y="63"/>
                  <a:pt x="414" y="63"/>
                </a:cubicBezTo>
                <a:cubicBezTo>
                  <a:pt x="407" y="57"/>
                  <a:pt x="400" y="52"/>
                  <a:pt x="393" y="47"/>
                </a:cubicBezTo>
                <a:cubicBezTo>
                  <a:pt x="349" y="17"/>
                  <a:pt x="296" y="0"/>
                  <a:pt x="239" y="0"/>
                </a:cubicBezTo>
                <a:cubicBezTo>
                  <a:pt x="216" y="0"/>
                  <a:pt x="193" y="3"/>
                  <a:pt x="171" y="9"/>
                </a:cubicBezTo>
                <a:cubicBezTo>
                  <a:pt x="99" y="27"/>
                  <a:pt x="37" y="74"/>
                  <a:pt x="0" y="137"/>
                </a:cubicBezTo>
                <a:cubicBezTo>
                  <a:pt x="98" y="209"/>
                  <a:pt x="98" y="209"/>
                  <a:pt x="98" y="209"/>
                </a:cubicBezTo>
                <a:cubicBezTo>
                  <a:pt x="123" y="227"/>
                  <a:pt x="137" y="252"/>
                  <a:pt x="137" y="279"/>
                </a:cubicBezTo>
                <a:cubicBezTo>
                  <a:pt x="137" y="305"/>
                  <a:pt x="123" y="330"/>
                  <a:pt x="98" y="349"/>
                </a:cubicBezTo>
                <a:cubicBezTo>
                  <a:pt x="0" y="421"/>
                  <a:pt x="0" y="421"/>
                  <a:pt x="0" y="421"/>
                </a:cubicBezTo>
                <a:cubicBezTo>
                  <a:pt x="37" y="484"/>
                  <a:pt x="99" y="530"/>
                  <a:pt x="171" y="549"/>
                </a:cubicBezTo>
                <a:cubicBezTo>
                  <a:pt x="193" y="554"/>
                  <a:pt x="216" y="557"/>
                  <a:pt x="239" y="557"/>
                </a:cubicBezTo>
                <a:cubicBezTo>
                  <a:pt x="296" y="557"/>
                  <a:pt x="349" y="540"/>
                  <a:pt x="393" y="511"/>
                </a:cubicBezTo>
                <a:cubicBezTo>
                  <a:pt x="400" y="506"/>
                  <a:pt x="407" y="500"/>
                  <a:pt x="414" y="495"/>
                </a:cubicBezTo>
                <a:cubicBezTo>
                  <a:pt x="629" y="337"/>
                  <a:pt x="629" y="337"/>
                  <a:pt x="629" y="337"/>
                </a:cubicBezTo>
                <a:cubicBezTo>
                  <a:pt x="673" y="305"/>
                  <a:pt x="673" y="253"/>
                  <a:pt x="629" y="22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 defTabSz="814388">
              <a:lnSpc>
                <a:spcPct val="90000"/>
              </a:lnSpc>
              <a:defRPr/>
            </a:pPr>
            <a:endParaRPr lang="en-US" sz="2400" dirty="0">
              <a:cs typeface="+mn-ea"/>
              <a:sym typeface="+mn-lt"/>
            </a:endParaRPr>
          </a:p>
        </p:txBody>
      </p:sp>
      <p:sp>
        <p:nvSpPr>
          <p:cNvPr id="195" name="任意多边形: 形状 194">
            <a:extLst>
              <a:ext uri="{FF2B5EF4-FFF2-40B4-BE49-F238E27FC236}">
                <a16:creationId xmlns:a16="http://schemas.microsoft.com/office/drawing/2014/main" id="{C9646AE3-1AAE-4991-98CD-37DC036AA277}"/>
              </a:ext>
            </a:extLst>
          </p:cNvPr>
          <p:cNvSpPr/>
          <p:nvPr/>
        </p:nvSpPr>
        <p:spPr bwMode="auto">
          <a:xfrm>
            <a:off x="10162469" y="3094421"/>
            <a:ext cx="1356431" cy="1123630"/>
          </a:xfrm>
          <a:custGeom>
            <a:avLst/>
            <a:gdLst/>
            <a:ahLst/>
            <a:cxnLst>
              <a:cxn ang="0">
                <a:pos x="629" y="221"/>
              </a:cxn>
              <a:cxn ang="0">
                <a:pos x="414" y="63"/>
              </a:cxn>
              <a:cxn ang="0">
                <a:pos x="393" y="47"/>
              </a:cxn>
              <a:cxn ang="0">
                <a:pos x="239" y="0"/>
              </a:cxn>
              <a:cxn ang="0">
                <a:pos x="171" y="9"/>
              </a:cxn>
              <a:cxn ang="0">
                <a:pos x="0" y="137"/>
              </a:cxn>
              <a:cxn ang="0">
                <a:pos x="98" y="209"/>
              </a:cxn>
              <a:cxn ang="0">
                <a:pos x="136" y="279"/>
              </a:cxn>
              <a:cxn ang="0">
                <a:pos x="98" y="349"/>
              </a:cxn>
              <a:cxn ang="0">
                <a:pos x="0" y="421"/>
              </a:cxn>
              <a:cxn ang="0">
                <a:pos x="171" y="549"/>
              </a:cxn>
              <a:cxn ang="0">
                <a:pos x="239" y="557"/>
              </a:cxn>
              <a:cxn ang="0">
                <a:pos x="393" y="511"/>
              </a:cxn>
              <a:cxn ang="0">
                <a:pos x="414" y="495"/>
              </a:cxn>
              <a:cxn ang="0">
                <a:pos x="629" y="337"/>
              </a:cxn>
              <a:cxn ang="0">
                <a:pos x="629" y="221"/>
              </a:cxn>
            </a:cxnLst>
            <a:rect l="0" t="0" r="r" b="b"/>
            <a:pathLst>
              <a:path w="672" h="557">
                <a:moveTo>
                  <a:pt x="629" y="221"/>
                </a:moveTo>
                <a:cubicBezTo>
                  <a:pt x="414" y="63"/>
                  <a:pt x="414" y="63"/>
                  <a:pt x="414" y="63"/>
                </a:cubicBezTo>
                <a:cubicBezTo>
                  <a:pt x="407" y="57"/>
                  <a:pt x="400" y="52"/>
                  <a:pt x="393" y="47"/>
                </a:cubicBezTo>
                <a:cubicBezTo>
                  <a:pt x="349" y="17"/>
                  <a:pt x="296" y="0"/>
                  <a:pt x="239" y="0"/>
                </a:cubicBezTo>
                <a:cubicBezTo>
                  <a:pt x="215" y="0"/>
                  <a:pt x="193" y="3"/>
                  <a:pt x="171" y="9"/>
                </a:cubicBezTo>
                <a:cubicBezTo>
                  <a:pt x="98" y="27"/>
                  <a:pt x="37" y="74"/>
                  <a:pt x="0" y="137"/>
                </a:cubicBezTo>
                <a:cubicBezTo>
                  <a:pt x="98" y="209"/>
                  <a:pt x="98" y="209"/>
                  <a:pt x="98" y="209"/>
                </a:cubicBezTo>
                <a:cubicBezTo>
                  <a:pt x="123" y="227"/>
                  <a:pt x="136" y="252"/>
                  <a:pt x="136" y="279"/>
                </a:cubicBezTo>
                <a:cubicBezTo>
                  <a:pt x="136" y="305"/>
                  <a:pt x="123" y="330"/>
                  <a:pt x="98" y="349"/>
                </a:cubicBezTo>
                <a:cubicBezTo>
                  <a:pt x="0" y="421"/>
                  <a:pt x="0" y="421"/>
                  <a:pt x="0" y="421"/>
                </a:cubicBezTo>
                <a:cubicBezTo>
                  <a:pt x="37" y="484"/>
                  <a:pt x="98" y="530"/>
                  <a:pt x="171" y="549"/>
                </a:cubicBezTo>
                <a:cubicBezTo>
                  <a:pt x="193" y="554"/>
                  <a:pt x="215" y="557"/>
                  <a:pt x="239" y="557"/>
                </a:cubicBezTo>
                <a:cubicBezTo>
                  <a:pt x="296" y="557"/>
                  <a:pt x="349" y="540"/>
                  <a:pt x="393" y="511"/>
                </a:cubicBezTo>
                <a:cubicBezTo>
                  <a:pt x="400" y="506"/>
                  <a:pt x="407" y="500"/>
                  <a:pt x="414" y="495"/>
                </a:cubicBezTo>
                <a:cubicBezTo>
                  <a:pt x="629" y="337"/>
                  <a:pt x="629" y="337"/>
                  <a:pt x="629" y="337"/>
                </a:cubicBezTo>
                <a:cubicBezTo>
                  <a:pt x="672" y="305"/>
                  <a:pt x="672" y="253"/>
                  <a:pt x="629" y="221"/>
                </a:cubicBez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 defTabSz="814388">
              <a:lnSpc>
                <a:spcPct val="90000"/>
              </a:lnSpc>
              <a:defRPr/>
            </a:pPr>
            <a:endParaRPr lang="en-US" sz="2400" dirty="0">
              <a:cs typeface="+mn-ea"/>
              <a:sym typeface="+mn-lt"/>
            </a:endParaRPr>
          </a:p>
        </p:txBody>
      </p:sp>
      <p:sp>
        <p:nvSpPr>
          <p:cNvPr id="196" name="任意多边形: 形状 195">
            <a:extLst>
              <a:ext uri="{FF2B5EF4-FFF2-40B4-BE49-F238E27FC236}">
                <a16:creationId xmlns:a16="http://schemas.microsoft.com/office/drawing/2014/main" id="{03A52A88-D2FD-496C-8C56-1FC42CCF5F33}"/>
              </a:ext>
            </a:extLst>
          </p:cNvPr>
          <p:cNvSpPr/>
          <p:nvPr/>
        </p:nvSpPr>
        <p:spPr bwMode="auto">
          <a:xfrm>
            <a:off x="9508636" y="3339100"/>
            <a:ext cx="228497" cy="267165"/>
          </a:xfrm>
          <a:custGeom>
            <a:avLst/>
            <a:gdLst>
              <a:gd name="connsiteX0" fmla="*/ 309853 w 516072"/>
              <a:gd name="connsiteY0" fmla="*/ 506697 h 603405"/>
              <a:gd name="connsiteX1" fmla="*/ 326214 w 516072"/>
              <a:gd name="connsiteY1" fmla="*/ 521096 h 603405"/>
              <a:gd name="connsiteX2" fmla="*/ 311812 w 516072"/>
              <a:gd name="connsiteY2" fmla="*/ 537454 h 603405"/>
              <a:gd name="connsiteX3" fmla="*/ 164332 w 516072"/>
              <a:gd name="connsiteY3" fmla="*/ 546670 h 603405"/>
              <a:gd name="connsiteX4" fmla="*/ 163295 w 516072"/>
              <a:gd name="connsiteY4" fmla="*/ 546670 h 603405"/>
              <a:gd name="connsiteX5" fmla="*/ 147971 w 516072"/>
              <a:gd name="connsiteY5" fmla="*/ 532270 h 603405"/>
              <a:gd name="connsiteX6" fmla="*/ 162373 w 516072"/>
              <a:gd name="connsiteY6" fmla="*/ 515913 h 603405"/>
              <a:gd name="connsiteX7" fmla="*/ 300609 w 516072"/>
              <a:gd name="connsiteY7" fmla="*/ 444361 h 603405"/>
              <a:gd name="connsiteX8" fmla="*/ 316970 w 516072"/>
              <a:gd name="connsiteY8" fmla="*/ 458620 h 603405"/>
              <a:gd name="connsiteX9" fmla="*/ 302568 w 516072"/>
              <a:gd name="connsiteY9" fmla="*/ 474949 h 603405"/>
              <a:gd name="connsiteX10" fmla="*/ 155088 w 516072"/>
              <a:gd name="connsiteY10" fmla="*/ 484149 h 603405"/>
              <a:gd name="connsiteX11" fmla="*/ 154051 w 516072"/>
              <a:gd name="connsiteY11" fmla="*/ 484149 h 603405"/>
              <a:gd name="connsiteX12" fmla="*/ 138727 w 516072"/>
              <a:gd name="connsiteY12" fmla="*/ 469775 h 603405"/>
              <a:gd name="connsiteX13" fmla="*/ 153129 w 516072"/>
              <a:gd name="connsiteY13" fmla="*/ 453561 h 603405"/>
              <a:gd name="connsiteX14" fmla="*/ 409511 w 516072"/>
              <a:gd name="connsiteY14" fmla="*/ 410322 h 603405"/>
              <a:gd name="connsiteX15" fmla="*/ 401791 w 516072"/>
              <a:gd name="connsiteY15" fmla="*/ 472344 h 603405"/>
              <a:gd name="connsiteX16" fmla="*/ 425067 w 516072"/>
              <a:gd name="connsiteY16" fmla="*/ 451516 h 603405"/>
              <a:gd name="connsiteX17" fmla="*/ 409511 w 516072"/>
              <a:gd name="connsiteY17" fmla="*/ 410322 h 603405"/>
              <a:gd name="connsiteX18" fmla="*/ 228508 w 516072"/>
              <a:gd name="connsiteY18" fmla="*/ 375201 h 603405"/>
              <a:gd name="connsiteX19" fmla="*/ 218716 w 516072"/>
              <a:gd name="connsiteY19" fmla="*/ 376007 h 603405"/>
              <a:gd name="connsiteX20" fmla="*/ 229314 w 516072"/>
              <a:gd name="connsiteY20" fmla="*/ 402806 h 603405"/>
              <a:gd name="connsiteX21" fmla="*/ 238991 w 516072"/>
              <a:gd name="connsiteY21" fmla="*/ 402001 h 603405"/>
              <a:gd name="connsiteX22" fmla="*/ 242677 w 516072"/>
              <a:gd name="connsiteY22" fmla="*/ 400160 h 603405"/>
              <a:gd name="connsiteX23" fmla="*/ 242908 w 516072"/>
              <a:gd name="connsiteY23" fmla="*/ 396480 h 603405"/>
              <a:gd name="connsiteX24" fmla="*/ 236341 w 516072"/>
              <a:gd name="connsiteY24" fmla="*/ 379802 h 603405"/>
              <a:gd name="connsiteX25" fmla="*/ 233231 w 516072"/>
              <a:gd name="connsiteY25" fmla="*/ 376352 h 603405"/>
              <a:gd name="connsiteX26" fmla="*/ 228508 w 516072"/>
              <a:gd name="connsiteY26" fmla="*/ 375201 h 603405"/>
              <a:gd name="connsiteX27" fmla="*/ 150356 w 516072"/>
              <a:gd name="connsiteY27" fmla="*/ 340362 h 603405"/>
              <a:gd name="connsiteX28" fmla="*/ 145631 w 516072"/>
              <a:gd name="connsiteY28" fmla="*/ 342778 h 603405"/>
              <a:gd name="connsiteX29" fmla="*/ 145286 w 516072"/>
              <a:gd name="connsiteY29" fmla="*/ 347727 h 603405"/>
              <a:gd name="connsiteX30" fmla="*/ 166258 w 516072"/>
              <a:gd name="connsiteY30" fmla="*/ 401128 h 603405"/>
              <a:gd name="connsiteX31" fmla="*/ 170407 w 516072"/>
              <a:gd name="connsiteY31" fmla="*/ 405616 h 603405"/>
              <a:gd name="connsiteX32" fmla="*/ 176629 w 516072"/>
              <a:gd name="connsiteY32" fmla="*/ 407112 h 603405"/>
              <a:gd name="connsiteX33" fmla="*/ 181354 w 516072"/>
              <a:gd name="connsiteY33" fmla="*/ 404696 h 603405"/>
              <a:gd name="connsiteX34" fmla="*/ 181815 w 516072"/>
              <a:gd name="connsiteY34" fmla="*/ 399747 h 603405"/>
              <a:gd name="connsiteX35" fmla="*/ 160727 w 516072"/>
              <a:gd name="connsiteY35" fmla="*/ 346461 h 603405"/>
              <a:gd name="connsiteX36" fmla="*/ 156579 w 516072"/>
              <a:gd name="connsiteY36" fmla="*/ 341858 h 603405"/>
              <a:gd name="connsiteX37" fmla="*/ 150356 w 516072"/>
              <a:gd name="connsiteY37" fmla="*/ 340362 h 603405"/>
              <a:gd name="connsiteX38" fmla="*/ 212726 w 516072"/>
              <a:gd name="connsiteY38" fmla="*/ 335175 h 603405"/>
              <a:gd name="connsiteX39" fmla="*/ 202934 w 516072"/>
              <a:gd name="connsiteY39" fmla="*/ 335980 h 603405"/>
              <a:gd name="connsiteX40" fmla="*/ 213532 w 516072"/>
              <a:gd name="connsiteY40" fmla="*/ 362895 h 603405"/>
              <a:gd name="connsiteX41" fmla="*/ 223209 w 516072"/>
              <a:gd name="connsiteY41" fmla="*/ 362089 h 603405"/>
              <a:gd name="connsiteX42" fmla="*/ 226895 w 516072"/>
              <a:gd name="connsiteY42" fmla="*/ 360249 h 603405"/>
              <a:gd name="connsiteX43" fmla="*/ 227125 w 516072"/>
              <a:gd name="connsiteY43" fmla="*/ 356454 h 603405"/>
              <a:gd name="connsiteX44" fmla="*/ 220559 w 516072"/>
              <a:gd name="connsiteY44" fmla="*/ 339776 h 603405"/>
              <a:gd name="connsiteX45" fmla="*/ 217449 w 516072"/>
              <a:gd name="connsiteY45" fmla="*/ 336325 h 603405"/>
              <a:gd name="connsiteX46" fmla="*/ 212726 w 516072"/>
              <a:gd name="connsiteY46" fmla="*/ 335175 h 603405"/>
              <a:gd name="connsiteX47" fmla="*/ 145055 w 516072"/>
              <a:gd name="connsiteY47" fmla="*/ 327011 h 603405"/>
              <a:gd name="connsiteX48" fmla="*/ 163838 w 516072"/>
              <a:gd name="connsiteY48" fmla="*/ 331500 h 603405"/>
              <a:gd name="connsiteX49" fmla="*/ 176168 w 516072"/>
              <a:gd name="connsiteY49" fmla="*/ 345195 h 603405"/>
              <a:gd name="connsiteX50" fmla="*/ 197256 w 516072"/>
              <a:gd name="connsiteY50" fmla="*/ 398481 h 603405"/>
              <a:gd name="connsiteX51" fmla="*/ 195989 w 516072"/>
              <a:gd name="connsiteY51" fmla="*/ 413212 h 603405"/>
              <a:gd name="connsiteX52" fmla="*/ 181930 w 516072"/>
              <a:gd name="connsiteY52" fmla="*/ 420463 h 603405"/>
              <a:gd name="connsiteX53" fmla="*/ 163147 w 516072"/>
              <a:gd name="connsiteY53" fmla="*/ 415974 h 603405"/>
              <a:gd name="connsiteX54" fmla="*/ 150702 w 516072"/>
              <a:gd name="connsiteY54" fmla="*/ 402394 h 603405"/>
              <a:gd name="connsiteX55" fmla="*/ 129729 w 516072"/>
              <a:gd name="connsiteY55" fmla="*/ 348993 h 603405"/>
              <a:gd name="connsiteX56" fmla="*/ 130882 w 516072"/>
              <a:gd name="connsiteY56" fmla="*/ 334262 h 603405"/>
              <a:gd name="connsiteX57" fmla="*/ 145055 w 516072"/>
              <a:gd name="connsiteY57" fmla="*/ 327011 h 603405"/>
              <a:gd name="connsiteX58" fmla="*/ 213417 w 516072"/>
              <a:gd name="connsiteY58" fmla="*/ 321488 h 603405"/>
              <a:gd name="connsiteX59" fmla="*/ 225743 w 516072"/>
              <a:gd name="connsiteY59" fmla="*/ 324479 h 603405"/>
              <a:gd name="connsiteX60" fmla="*/ 234037 w 516072"/>
              <a:gd name="connsiteY60" fmla="*/ 333565 h 603405"/>
              <a:gd name="connsiteX61" fmla="*/ 245096 w 516072"/>
              <a:gd name="connsiteY61" fmla="*/ 361859 h 603405"/>
              <a:gd name="connsiteX62" fmla="*/ 244866 w 516072"/>
              <a:gd name="connsiteY62" fmla="*/ 365425 h 603405"/>
              <a:gd name="connsiteX63" fmla="*/ 241295 w 516072"/>
              <a:gd name="connsiteY63" fmla="*/ 367265 h 603405"/>
              <a:gd name="connsiteX64" fmla="*/ 241410 w 516072"/>
              <a:gd name="connsiteY64" fmla="*/ 367380 h 603405"/>
              <a:gd name="connsiteX65" fmla="*/ 246018 w 516072"/>
              <a:gd name="connsiteY65" fmla="*/ 368530 h 603405"/>
              <a:gd name="connsiteX66" fmla="*/ 249129 w 516072"/>
              <a:gd name="connsiteY66" fmla="*/ 371866 h 603405"/>
              <a:gd name="connsiteX67" fmla="*/ 260303 w 516072"/>
              <a:gd name="connsiteY67" fmla="*/ 400275 h 603405"/>
              <a:gd name="connsiteX68" fmla="*/ 259496 w 516072"/>
              <a:gd name="connsiteY68" fmla="*/ 409937 h 603405"/>
              <a:gd name="connsiteX69" fmla="*/ 250165 w 516072"/>
              <a:gd name="connsiteY69" fmla="*/ 414768 h 603405"/>
              <a:gd name="connsiteX70" fmla="*/ 223439 w 516072"/>
              <a:gd name="connsiteY70" fmla="*/ 416953 h 603405"/>
              <a:gd name="connsiteX71" fmla="*/ 217679 w 516072"/>
              <a:gd name="connsiteY71" fmla="*/ 413617 h 603405"/>
              <a:gd name="connsiteX72" fmla="*/ 183811 w 516072"/>
              <a:gd name="connsiteY72" fmla="*/ 327814 h 603405"/>
              <a:gd name="connsiteX73" fmla="*/ 186576 w 516072"/>
              <a:gd name="connsiteY73" fmla="*/ 323673 h 603405"/>
              <a:gd name="connsiteX74" fmla="*/ 263606 w 516072"/>
              <a:gd name="connsiteY74" fmla="*/ 317202 h 603405"/>
              <a:gd name="connsiteX75" fmla="*/ 282389 w 516072"/>
              <a:gd name="connsiteY75" fmla="*/ 321691 h 603405"/>
              <a:gd name="connsiteX76" fmla="*/ 294834 w 516072"/>
              <a:gd name="connsiteY76" fmla="*/ 335386 h 603405"/>
              <a:gd name="connsiteX77" fmla="*/ 295987 w 516072"/>
              <a:gd name="connsiteY77" fmla="*/ 338264 h 603405"/>
              <a:gd name="connsiteX78" fmla="*/ 293106 w 516072"/>
              <a:gd name="connsiteY78" fmla="*/ 342292 h 603405"/>
              <a:gd name="connsiteX79" fmla="*/ 286192 w 516072"/>
              <a:gd name="connsiteY79" fmla="*/ 342867 h 603405"/>
              <a:gd name="connsiteX80" fmla="*/ 280430 w 516072"/>
              <a:gd name="connsiteY80" fmla="*/ 339529 h 603405"/>
              <a:gd name="connsiteX81" fmla="*/ 279278 w 516072"/>
              <a:gd name="connsiteY81" fmla="*/ 336652 h 603405"/>
              <a:gd name="connsiteX82" fmla="*/ 275129 w 516072"/>
              <a:gd name="connsiteY82" fmla="*/ 332049 h 603405"/>
              <a:gd name="connsiteX83" fmla="*/ 268907 w 516072"/>
              <a:gd name="connsiteY83" fmla="*/ 330553 h 603405"/>
              <a:gd name="connsiteX84" fmla="*/ 264182 w 516072"/>
              <a:gd name="connsiteY84" fmla="*/ 332969 h 603405"/>
              <a:gd name="connsiteX85" fmla="*/ 263721 w 516072"/>
              <a:gd name="connsiteY85" fmla="*/ 337918 h 603405"/>
              <a:gd name="connsiteX86" fmla="*/ 269022 w 516072"/>
              <a:gd name="connsiteY86" fmla="*/ 351153 h 603405"/>
              <a:gd name="connsiteX87" fmla="*/ 273170 w 516072"/>
              <a:gd name="connsiteY87" fmla="*/ 355757 h 603405"/>
              <a:gd name="connsiteX88" fmla="*/ 279393 w 516072"/>
              <a:gd name="connsiteY88" fmla="*/ 357253 h 603405"/>
              <a:gd name="connsiteX89" fmla="*/ 299328 w 516072"/>
              <a:gd name="connsiteY89" fmla="*/ 362432 h 603405"/>
              <a:gd name="connsiteX90" fmla="*/ 310621 w 516072"/>
              <a:gd name="connsiteY90" fmla="*/ 375322 h 603405"/>
              <a:gd name="connsiteX91" fmla="*/ 315807 w 516072"/>
              <a:gd name="connsiteY91" fmla="*/ 388672 h 603405"/>
              <a:gd name="connsiteX92" fmla="*/ 314539 w 516072"/>
              <a:gd name="connsiteY92" fmla="*/ 403403 h 603405"/>
              <a:gd name="connsiteX93" fmla="*/ 300481 w 516072"/>
              <a:gd name="connsiteY93" fmla="*/ 410654 h 603405"/>
              <a:gd name="connsiteX94" fmla="*/ 281698 w 516072"/>
              <a:gd name="connsiteY94" fmla="*/ 406165 h 603405"/>
              <a:gd name="connsiteX95" fmla="*/ 269252 w 516072"/>
              <a:gd name="connsiteY95" fmla="*/ 392585 h 603405"/>
              <a:gd name="connsiteX96" fmla="*/ 268100 w 516072"/>
              <a:gd name="connsiteY96" fmla="*/ 389593 h 603405"/>
              <a:gd name="connsiteX97" fmla="*/ 270866 w 516072"/>
              <a:gd name="connsiteY97" fmla="*/ 385449 h 603405"/>
              <a:gd name="connsiteX98" fmla="*/ 277780 w 516072"/>
              <a:gd name="connsiteY98" fmla="*/ 384874 h 603405"/>
              <a:gd name="connsiteX99" fmla="*/ 283541 w 516072"/>
              <a:gd name="connsiteY99" fmla="*/ 388212 h 603405"/>
              <a:gd name="connsiteX100" fmla="*/ 284809 w 516072"/>
              <a:gd name="connsiteY100" fmla="*/ 391319 h 603405"/>
              <a:gd name="connsiteX101" fmla="*/ 288957 w 516072"/>
              <a:gd name="connsiteY101" fmla="*/ 395807 h 603405"/>
              <a:gd name="connsiteX102" fmla="*/ 295180 w 516072"/>
              <a:gd name="connsiteY102" fmla="*/ 397303 h 603405"/>
              <a:gd name="connsiteX103" fmla="*/ 299905 w 516072"/>
              <a:gd name="connsiteY103" fmla="*/ 394887 h 603405"/>
              <a:gd name="connsiteX104" fmla="*/ 300250 w 516072"/>
              <a:gd name="connsiteY104" fmla="*/ 389938 h 603405"/>
              <a:gd name="connsiteX105" fmla="*/ 295065 w 516072"/>
              <a:gd name="connsiteY105" fmla="*/ 376588 h 603405"/>
              <a:gd name="connsiteX106" fmla="*/ 290916 w 516072"/>
              <a:gd name="connsiteY106" fmla="*/ 372099 h 603405"/>
              <a:gd name="connsiteX107" fmla="*/ 284694 w 516072"/>
              <a:gd name="connsiteY107" fmla="*/ 370603 h 603405"/>
              <a:gd name="connsiteX108" fmla="*/ 264643 w 516072"/>
              <a:gd name="connsiteY108" fmla="*/ 365424 h 603405"/>
              <a:gd name="connsiteX109" fmla="*/ 253465 w 516072"/>
              <a:gd name="connsiteY109" fmla="*/ 352534 h 603405"/>
              <a:gd name="connsiteX110" fmla="*/ 248164 w 516072"/>
              <a:gd name="connsiteY110" fmla="*/ 339184 h 603405"/>
              <a:gd name="connsiteX111" fmla="*/ 249432 w 516072"/>
              <a:gd name="connsiteY111" fmla="*/ 324453 h 603405"/>
              <a:gd name="connsiteX112" fmla="*/ 263606 w 516072"/>
              <a:gd name="connsiteY112" fmla="*/ 317202 h 603405"/>
              <a:gd name="connsiteX113" fmla="*/ 320670 w 516072"/>
              <a:gd name="connsiteY113" fmla="*/ 288927 h 603405"/>
              <a:gd name="connsiteX114" fmla="*/ 26837 w 516072"/>
              <a:gd name="connsiteY114" fmla="*/ 313206 h 603405"/>
              <a:gd name="connsiteX115" fmla="*/ 69010 w 516072"/>
              <a:gd name="connsiteY115" fmla="*/ 398701 h 603405"/>
              <a:gd name="connsiteX116" fmla="*/ 109340 w 516072"/>
              <a:gd name="connsiteY116" fmla="*/ 411473 h 603405"/>
              <a:gd name="connsiteX117" fmla="*/ 110377 w 516072"/>
              <a:gd name="connsiteY117" fmla="*/ 413429 h 603405"/>
              <a:gd name="connsiteX118" fmla="*/ 112797 w 516072"/>
              <a:gd name="connsiteY118" fmla="*/ 412279 h 603405"/>
              <a:gd name="connsiteX119" fmla="*/ 116139 w 516072"/>
              <a:gd name="connsiteY119" fmla="*/ 412048 h 603405"/>
              <a:gd name="connsiteX120" fmla="*/ 120978 w 516072"/>
              <a:gd name="connsiteY120" fmla="*/ 409632 h 603405"/>
              <a:gd name="connsiteX121" fmla="*/ 121324 w 516072"/>
              <a:gd name="connsiteY121" fmla="*/ 404799 h 603405"/>
              <a:gd name="connsiteX122" fmla="*/ 93900 w 516072"/>
              <a:gd name="connsiteY122" fmla="*/ 335069 h 603405"/>
              <a:gd name="connsiteX123" fmla="*/ 96780 w 516072"/>
              <a:gd name="connsiteY123" fmla="*/ 331041 h 603405"/>
              <a:gd name="connsiteX124" fmla="*/ 103694 w 516072"/>
              <a:gd name="connsiteY124" fmla="*/ 330466 h 603405"/>
              <a:gd name="connsiteX125" fmla="*/ 109456 w 516072"/>
              <a:gd name="connsiteY125" fmla="*/ 333803 h 603405"/>
              <a:gd name="connsiteX126" fmla="*/ 139530 w 516072"/>
              <a:gd name="connsiteY126" fmla="*/ 410092 h 603405"/>
              <a:gd name="connsiteX127" fmla="*/ 138608 w 516072"/>
              <a:gd name="connsiteY127" fmla="*/ 419873 h 603405"/>
              <a:gd name="connsiteX128" fmla="*/ 129275 w 516072"/>
              <a:gd name="connsiteY128" fmla="*/ 424706 h 603405"/>
              <a:gd name="connsiteX129" fmla="*/ 117982 w 516072"/>
              <a:gd name="connsiteY129" fmla="*/ 425741 h 603405"/>
              <a:gd name="connsiteX130" fmla="*/ 114641 w 516072"/>
              <a:gd name="connsiteY130" fmla="*/ 424821 h 603405"/>
              <a:gd name="connsiteX131" fmla="*/ 95743 w 516072"/>
              <a:gd name="connsiteY131" fmla="*/ 475220 h 603405"/>
              <a:gd name="connsiteX132" fmla="*/ 108073 w 516072"/>
              <a:gd name="connsiteY132" fmla="*/ 582693 h 603405"/>
              <a:gd name="connsiteX133" fmla="*/ 390844 w 516072"/>
              <a:gd name="connsiteY133" fmla="*/ 571647 h 603405"/>
              <a:gd name="connsiteX134" fmla="*/ 389577 w 516072"/>
              <a:gd name="connsiteY134" fmla="*/ 545181 h 603405"/>
              <a:gd name="connsiteX135" fmla="*/ 383009 w 516072"/>
              <a:gd name="connsiteY135" fmla="*/ 494667 h 603405"/>
              <a:gd name="connsiteX136" fmla="*/ 320670 w 516072"/>
              <a:gd name="connsiteY136" fmla="*/ 288927 h 603405"/>
              <a:gd name="connsiteX137" fmla="*/ 263171 w 516072"/>
              <a:gd name="connsiteY137" fmla="*/ 241404 h 603405"/>
              <a:gd name="connsiteX138" fmla="*/ 292900 w 516072"/>
              <a:gd name="connsiteY138" fmla="*/ 270861 h 603405"/>
              <a:gd name="connsiteX139" fmla="*/ 310415 w 516072"/>
              <a:gd name="connsiteY139" fmla="*/ 269365 h 603405"/>
              <a:gd name="connsiteX140" fmla="*/ 338646 w 516072"/>
              <a:gd name="connsiteY140" fmla="*/ 241404 h 603405"/>
              <a:gd name="connsiteX141" fmla="*/ 360770 w 516072"/>
              <a:gd name="connsiteY141" fmla="*/ 260045 h 603405"/>
              <a:gd name="connsiteX142" fmla="*/ 412738 w 516072"/>
              <a:gd name="connsiteY142" fmla="*/ 285014 h 603405"/>
              <a:gd name="connsiteX143" fmla="*/ 492821 w 516072"/>
              <a:gd name="connsiteY143" fmla="*/ 387309 h 603405"/>
              <a:gd name="connsiteX144" fmla="*/ 515061 w 516072"/>
              <a:gd name="connsiteY144" fmla="*/ 456695 h 603405"/>
              <a:gd name="connsiteX145" fmla="*/ 501809 w 516072"/>
              <a:gd name="connsiteY145" fmla="*/ 497773 h 603405"/>
              <a:gd name="connsiteX146" fmla="*/ 445463 w 516072"/>
              <a:gd name="connsiteY146" fmla="*/ 548058 h 603405"/>
              <a:gd name="connsiteX147" fmla="*/ 416886 w 516072"/>
              <a:gd name="connsiteY147" fmla="*/ 558874 h 603405"/>
              <a:gd name="connsiteX148" fmla="*/ 410779 w 516072"/>
              <a:gd name="connsiteY148" fmla="*/ 558414 h 603405"/>
              <a:gd name="connsiteX149" fmla="*/ 411240 w 516072"/>
              <a:gd name="connsiteY149" fmla="*/ 581542 h 603405"/>
              <a:gd name="connsiteX150" fmla="*/ 401445 w 516072"/>
              <a:gd name="connsiteY150" fmla="*/ 591668 h 603405"/>
              <a:gd name="connsiteX151" fmla="*/ 96435 w 516072"/>
              <a:gd name="connsiteY151" fmla="*/ 603405 h 603405"/>
              <a:gd name="connsiteX152" fmla="*/ 95974 w 516072"/>
              <a:gd name="connsiteY152" fmla="*/ 603405 h 603405"/>
              <a:gd name="connsiteX153" fmla="*/ 88023 w 516072"/>
              <a:gd name="connsiteY153" fmla="*/ 599608 h 603405"/>
              <a:gd name="connsiteX154" fmla="*/ 86179 w 516072"/>
              <a:gd name="connsiteY154" fmla="*/ 590633 h 603405"/>
              <a:gd name="connsiteX155" fmla="*/ 84797 w 516072"/>
              <a:gd name="connsiteY155" fmla="*/ 521132 h 603405"/>
              <a:gd name="connsiteX156" fmla="*/ 77998 w 516072"/>
              <a:gd name="connsiteY156" fmla="*/ 488568 h 603405"/>
              <a:gd name="connsiteX157" fmla="*/ 72582 w 516072"/>
              <a:gd name="connsiteY157" fmla="*/ 492595 h 603405"/>
              <a:gd name="connsiteX158" fmla="*/ 49767 w 516072"/>
              <a:gd name="connsiteY158" fmla="*/ 499269 h 603405"/>
              <a:gd name="connsiteX159" fmla="*/ 13585 w 516072"/>
              <a:gd name="connsiteY159" fmla="*/ 479363 h 603405"/>
              <a:gd name="connsiteX160" fmla="*/ 35594 w 516072"/>
              <a:gd name="connsiteY160" fmla="*/ 388230 h 603405"/>
              <a:gd name="connsiteX161" fmla="*/ 40203 w 516072"/>
              <a:gd name="connsiteY161" fmla="*/ 383972 h 603405"/>
              <a:gd name="connsiteX162" fmla="*/ 1371 w 516072"/>
              <a:gd name="connsiteY162" fmla="*/ 309524 h 603405"/>
              <a:gd name="connsiteX163" fmla="*/ 1141 w 516072"/>
              <a:gd name="connsiteY163" fmla="*/ 299743 h 603405"/>
              <a:gd name="connsiteX164" fmla="*/ 9322 w 516072"/>
              <a:gd name="connsiteY164" fmla="*/ 294335 h 603405"/>
              <a:gd name="connsiteX165" fmla="*/ 201062 w 516072"/>
              <a:gd name="connsiteY165" fmla="*/ 278456 h 603405"/>
              <a:gd name="connsiteX166" fmla="*/ 241047 w 516072"/>
              <a:gd name="connsiteY166" fmla="*/ 260045 h 603405"/>
              <a:gd name="connsiteX167" fmla="*/ 300977 w 516072"/>
              <a:gd name="connsiteY167" fmla="*/ 0 h 603405"/>
              <a:gd name="connsiteX168" fmla="*/ 401111 w 516072"/>
              <a:gd name="connsiteY168" fmla="*/ 98375 h 603405"/>
              <a:gd name="connsiteX169" fmla="*/ 300977 w 516072"/>
              <a:gd name="connsiteY169" fmla="*/ 239781 h 603405"/>
              <a:gd name="connsiteX170" fmla="*/ 200728 w 516072"/>
              <a:gd name="connsiteY170" fmla="*/ 98375 h 603405"/>
              <a:gd name="connsiteX171" fmla="*/ 300977 w 516072"/>
              <a:gd name="connsiteY171" fmla="*/ 0 h 6034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</a:cxnLst>
            <a:rect l="l" t="t" r="r" b="b"/>
            <a:pathLst>
              <a:path w="516072" h="603405">
                <a:moveTo>
                  <a:pt x="309853" y="506697"/>
                </a:moveTo>
                <a:cubicBezTo>
                  <a:pt x="318379" y="506236"/>
                  <a:pt x="325638" y="512687"/>
                  <a:pt x="326214" y="521096"/>
                </a:cubicBezTo>
                <a:cubicBezTo>
                  <a:pt x="326675" y="529621"/>
                  <a:pt x="320223" y="536878"/>
                  <a:pt x="311812" y="537454"/>
                </a:cubicBezTo>
                <a:lnTo>
                  <a:pt x="164332" y="546670"/>
                </a:lnTo>
                <a:cubicBezTo>
                  <a:pt x="163986" y="546670"/>
                  <a:pt x="163640" y="546670"/>
                  <a:pt x="163295" y="546670"/>
                </a:cubicBezTo>
                <a:cubicBezTo>
                  <a:pt x="155345" y="546670"/>
                  <a:pt x="148547" y="540449"/>
                  <a:pt x="147971" y="532270"/>
                </a:cubicBezTo>
                <a:cubicBezTo>
                  <a:pt x="147510" y="523746"/>
                  <a:pt x="153962" y="516489"/>
                  <a:pt x="162373" y="515913"/>
                </a:cubicBezTo>
                <a:close/>
                <a:moveTo>
                  <a:pt x="300609" y="444361"/>
                </a:moveTo>
                <a:cubicBezTo>
                  <a:pt x="309135" y="443786"/>
                  <a:pt x="316394" y="450226"/>
                  <a:pt x="316970" y="458620"/>
                </a:cubicBezTo>
                <a:cubicBezTo>
                  <a:pt x="317431" y="467130"/>
                  <a:pt x="310979" y="474375"/>
                  <a:pt x="302568" y="474949"/>
                </a:cubicBezTo>
                <a:lnTo>
                  <a:pt x="155088" y="484149"/>
                </a:lnTo>
                <a:cubicBezTo>
                  <a:pt x="154742" y="484149"/>
                  <a:pt x="154396" y="484149"/>
                  <a:pt x="154051" y="484149"/>
                </a:cubicBezTo>
                <a:cubicBezTo>
                  <a:pt x="146101" y="484149"/>
                  <a:pt x="139303" y="477939"/>
                  <a:pt x="138727" y="469775"/>
                </a:cubicBezTo>
                <a:cubicBezTo>
                  <a:pt x="138266" y="461380"/>
                  <a:pt x="144718" y="454021"/>
                  <a:pt x="153129" y="453561"/>
                </a:cubicBezTo>
                <a:close/>
                <a:moveTo>
                  <a:pt x="409511" y="410322"/>
                </a:moveTo>
                <a:lnTo>
                  <a:pt x="401791" y="472344"/>
                </a:lnTo>
                <a:lnTo>
                  <a:pt x="425067" y="451516"/>
                </a:lnTo>
                <a:cubicBezTo>
                  <a:pt x="420919" y="437939"/>
                  <a:pt x="415618" y="423555"/>
                  <a:pt x="409511" y="410322"/>
                </a:cubicBezTo>
                <a:close/>
                <a:moveTo>
                  <a:pt x="228508" y="375201"/>
                </a:moveTo>
                <a:lnTo>
                  <a:pt x="218716" y="376007"/>
                </a:lnTo>
                <a:lnTo>
                  <a:pt x="229314" y="402806"/>
                </a:lnTo>
                <a:lnTo>
                  <a:pt x="238991" y="402001"/>
                </a:lnTo>
                <a:cubicBezTo>
                  <a:pt x="240719" y="401886"/>
                  <a:pt x="241871" y="401311"/>
                  <a:pt x="242677" y="400160"/>
                </a:cubicBezTo>
                <a:cubicBezTo>
                  <a:pt x="243368" y="399125"/>
                  <a:pt x="243484" y="397860"/>
                  <a:pt x="242908" y="396480"/>
                </a:cubicBezTo>
                <a:lnTo>
                  <a:pt x="236341" y="379802"/>
                </a:lnTo>
                <a:cubicBezTo>
                  <a:pt x="235765" y="378307"/>
                  <a:pt x="234729" y="377157"/>
                  <a:pt x="233231" y="376352"/>
                </a:cubicBezTo>
                <a:cubicBezTo>
                  <a:pt x="231733" y="375431"/>
                  <a:pt x="230121" y="375086"/>
                  <a:pt x="228508" y="375201"/>
                </a:cubicBezTo>
                <a:close/>
                <a:moveTo>
                  <a:pt x="150356" y="340362"/>
                </a:moveTo>
                <a:cubicBezTo>
                  <a:pt x="148167" y="340592"/>
                  <a:pt x="146553" y="341397"/>
                  <a:pt x="145631" y="342778"/>
                </a:cubicBezTo>
                <a:cubicBezTo>
                  <a:pt x="144594" y="344160"/>
                  <a:pt x="144479" y="345886"/>
                  <a:pt x="145286" y="347727"/>
                </a:cubicBezTo>
                <a:lnTo>
                  <a:pt x="166258" y="401128"/>
                </a:lnTo>
                <a:cubicBezTo>
                  <a:pt x="167065" y="402969"/>
                  <a:pt x="168333" y="404465"/>
                  <a:pt x="170407" y="405616"/>
                </a:cubicBezTo>
                <a:cubicBezTo>
                  <a:pt x="172366" y="406767"/>
                  <a:pt x="174440" y="407228"/>
                  <a:pt x="176629" y="407112"/>
                </a:cubicBezTo>
                <a:cubicBezTo>
                  <a:pt x="178819" y="406882"/>
                  <a:pt x="180432" y="406077"/>
                  <a:pt x="181354" y="404696"/>
                </a:cubicBezTo>
                <a:cubicBezTo>
                  <a:pt x="182391" y="403315"/>
                  <a:pt x="182506" y="401703"/>
                  <a:pt x="181815" y="399747"/>
                </a:cubicBezTo>
                <a:lnTo>
                  <a:pt x="160727" y="346461"/>
                </a:lnTo>
                <a:cubicBezTo>
                  <a:pt x="160036" y="344620"/>
                  <a:pt x="158653" y="343009"/>
                  <a:pt x="156579" y="341858"/>
                </a:cubicBezTo>
                <a:cubicBezTo>
                  <a:pt x="154620" y="340707"/>
                  <a:pt x="152430" y="340131"/>
                  <a:pt x="150356" y="340362"/>
                </a:cubicBezTo>
                <a:close/>
                <a:moveTo>
                  <a:pt x="212726" y="335175"/>
                </a:moveTo>
                <a:lnTo>
                  <a:pt x="202934" y="335980"/>
                </a:lnTo>
                <a:lnTo>
                  <a:pt x="213532" y="362895"/>
                </a:lnTo>
                <a:lnTo>
                  <a:pt x="223209" y="362089"/>
                </a:lnTo>
                <a:cubicBezTo>
                  <a:pt x="224937" y="361859"/>
                  <a:pt x="226089" y="361284"/>
                  <a:pt x="226895" y="360249"/>
                </a:cubicBezTo>
                <a:cubicBezTo>
                  <a:pt x="227586" y="359214"/>
                  <a:pt x="227701" y="357949"/>
                  <a:pt x="227125" y="356454"/>
                </a:cubicBezTo>
                <a:lnTo>
                  <a:pt x="220559" y="339776"/>
                </a:lnTo>
                <a:cubicBezTo>
                  <a:pt x="219983" y="338396"/>
                  <a:pt x="218946" y="337246"/>
                  <a:pt x="217449" y="336325"/>
                </a:cubicBezTo>
                <a:cubicBezTo>
                  <a:pt x="215951" y="335405"/>
                  <a:pt x="214339" y="335060"/>
                  <a:pt x="212726" y="335175"/>
                </a:cubicBezTo>
                <a:close/>
                <a:moveTo>
                  <a:pt x="145055" y="327011"/>
                </a:moveTo>
                <a:cubicBezTo>
                  <a:pt x="151393" y="326436"/>
                  <a:pt x="157731" y="328047"/>
                  <a:pt x="163838" y="331500"/>
                </a:cubicBezTo>
                <a:cubicBezTo>
                  <a:pt x="169831" y="335068"/>
                  <a:pt x="174094" y="339671"/>
                  <a:pt x="176168" y="345195"/>
                </a:cubicBezTo>
                <a:lnTo>
                  <a:pt x="197256" y="398481"/>
                </a:lnTo>
                <a:cubicBezTo>
                  <a:pt x="199446" y="404005"/>
                  <a:pt x="198985" y="408954"/>
                  <a:pt x="195989" y="413212"/>
                </a:cubicBezTo>
                <a:cubicBezTo>
                  <a:pt x="192993" y="417470"/>
                  <a:pt x="188268" y="419887"/>
                  <a:pt x="181930" y="420463"/>
                </a:cubicBezTo>
                <a:cubicBezTo>
                  <a:pt x="175477" y="420923"/>
                  <a:pt x="169254" y="419427"/>
                  <a:pt x="163147" y="415974"/>
                </a:cubicBezTo>
                <a:cubicBezTo>
                  <a:pt x="157040" y="412407"/>
                  <a:pt x="152891" y="407803"/>
                  <a:pt x="150702" y="402394"/>
                </a:cubicBezTo>
                <a:lnTo>
                  <a:pt x="129729" y="348993"/>
                </a:lnTo>
                <a:cubicBezTo>
                  <a:pt x="127540" y="343469"/>
                  <a:pt x="128001" y="338520"/>
                  <a:pt x="130882" y="334262"/>
                </a:cubicBezTo>
                <a:cubicBezTo>
                  <a:pt x="133878" y="330004"/>
                  <a:pt x="138717" y="327472"/>
                  <a:pt x="145055" y="327011"/>
                </a:cubicBezTo>
                <a:close/>
                <a:moveTo>
                  <a:pt x="213417" y="321488"/>
                </a:moveTo>
                <a:cubicBezTo>
                  <a:pt x="217564" y="321143"/>
                  <a:pt x="221711" y="322178"/>
                  <a:pt x="225743" y="324479"/>
                </a:cubicBezTo>
                <a:cubicBezTo>
                  <a:pt x="229775" y="326779"/>
                  <a:pt x="232540" y="329884"/>
                  <a:pt x="234037" y="333565"/>
                </a:cubicBezTo>
                <a:lnTo>
                  <a:pt x="245096" y="361859"/>
                </a:lnTo>
                <a:cubicBezTo>
                  <a:pt x="245672" y="363240"/>
                  <a:pt x="245557" y="364390"/>
                  <a:pt x="244866" y="365425"/>
                </a:cubicBezTo>
                <a:cubicBezTo>
                  <a:pt x="244060" y="366575"/>
                  <a:pt x="242908" y="367150"/>
                  <a:pt x="241295" y="367265"/>
                </a:cubicBezTo>
                <a:lnTo>
                  <a:pt x="241410" y="367380"/>
                </a:lnTo>
                <a:cubicBezTo>
                  <a:pt x="242908" y="367265"/>
                  <a:pt x="244520" y="367610"/>
                  <a:pt x="246018" y="368530"/>
                </a:cubicBezTo>
                <a:cubicBezTo>
                  <a:pt x="247516" y="369451"/>
                  <a:pt x="248553" y="370486"/>
                  <a:pt x="249129" y="371866"/>
                </a:cubicBezTo>
                <a:lnTo>
                  <a:pt x="260303" y="400275"/>
                </a:lnTo>
                <a:cubicBezTo>
                  <a:pt x="261685" y="403841"/>
                  <a:pt x="261455" y="407176"/>
                  <a:pt x="259496" y="409937"/>
                </a:cubicBezTo>
                <a:cubicBezTo>
                  <a:pt x="257538" y="412812"/>
                  <a:pt x="254313" y="414423"/>
                  <a:pt x="250165" y="414768"/>
                </a:cubicBezTo>
                <a:lnTo>
                  <a:pt x="223439" y="416953"/>
                </a:lnTo>
                <a:cubicBezTo>
                  <a:pt x="221020" y="417183"/>
                  <a:pt x="218486" y="415688"/>
                  <a:pt x="217679" y="413617"/>
                </a:cubicBezTo>
                <a:lnTo>
                  <a:pt x="183811" y="327814"/>
                </a:lnTo>
                <a:cubicBezTo>
                  <a:pt x="183005" y="325744"/>
                  <a:pt x="184272" y="323903"/>
                  <a:pt x="186576" y="323673"/>
                </a:cubicBezTo>
                <a:close/>
                <a:moveTo>
                  <a:pt x="263606" y="317202"/>
                </a:moveTo>
                <a:cubicBezTo>
                  <a:pt x="270059" y="316627"/>
                  <a:pt x="276282" y="318238"/>
                  <a:pt x="282389" y="321691"/>
                </a:cubicBezTo>
                <a:cubicBezTo>
                  <a:pt x="288496" y="325259"/>
                  <a:pt x="292645" y="329862"/>
                  <a:pt x="294834" y="335386"/>
                </a:cubicBezTo>
                <a:lnTo>
                  <a:pt x="295987" y="338264"/>
                </a:lnTo>
                <a:cubicBezTo>
                  <a:pt x="296793" y="340335"/>
                  <a:pt x="295526" y="342176"/>
                  <a:pt x="293106" y="342292"/>
                </a:cubicBezTo>
                <a:lnTo>
                  <a:pt x="286192" y="342867"/>
                </a:lnTo>
                <a:cubicBezTo>
                  <a:pt x="283772" y="343097"/>
                  <a:pt x="281237" y="341601"/>
                  <a:pt x="280430" y="339529"/>
                </a:cubicBezTo>
                <a:lnTo>
                  <a:pt x="279278" y="336652"/>
                </a:lnTo>
                <a:cubicBezTo>
                  <a:pt x="278586" y="334811"/>
                  <a:pt x="277203" y="333200"/>
                  <a:pt x="275129" y="332049"/>
                </a:cubicBezTo>
                <a:cubicBezTo>
                  <a:pt x="273170" y="330898"/>
                  <a:pt x="271096" y="330322"/>
                  <a:pt x="268907" y="330553"/>
                </a:cubicBezTo>
                <a:cubicBezTo>
                  <a:pt x="266717" y="330783"/>
                  <a:pt x="265104" y="331588"/>
                  <a:pt x="264182" y="332969"/>
                </a:cubicBezTo>
                <a:cubicBezTo>
                  <a:pt x="263145" y="334351"/>
                  <a:pt x="263030" y="336077"/>
                  <a:pt x="263721" y="337918"/>
                </a:cubicBezTo>
                <a:lnTo>
                  <a:pt x="269022" y="351153"/>
                </a:lnTo>
                <a:cubicBezTo>
                  <a:pt x="269713" y="352995"/>
                  <a:pt x="271096" y="354606"/>
                  <a:pt x="273170" y="355757"/>
                </a:cubicBezTo>
                <a:cubicBezTo>
                  <a:pt x="275129" y="356908"/>
                  <a:pt x="277319" y="357483"/>
                  <a:pt x="279393" y="357253"/>
                </a:cubicBezTo>
                <a:cubicBezTo>
                  <a:pt x="286307" y="356678"/>
                  <a:pt x="292990" y="358404"/>
                  <a:pt x="299328" y="362432"/>
                </a:cubicBezTo>
                <a:cubicBezTo>
                  <a:pt x="304860" y="366000"/>
                  <a:pt x="308547" y="370258"/>
                  <a:pt x="310621" y="375322"/>
                </a:cubicBezTo>
                <a:lnTo>
                  <a:pt x="315807" y="388672"/>
                </a:lnTo>
                <a:cubicBezTo>
                  <a:pt x="317996" y="394196"/>
                  <a:pt x="317535" y="399145"/>
                  <a:pt x="314539" y="403403"/>
                </a:cubicBezTo>
                <a:cubicBezTo>
                  <a:pt x="311658" y="407661"/>
                  <a:pt x="306819" y="410078"/>
                  <a:pt x="300481" y="410654"/>
                </a:cubicBezTo>
                <a:cubicBezTo>
                  <a:pt x="294028" y="411114"/>
                  <a:pt x="287805" y="409618"/>
                  <a:pt x="281698" y="406165"/>
                </a:cubicBezTo>
                <a:cubicBezTo>
                  <a:pt x="275590" y="402598"/>
                  <a:pt x="271442" y="397994"/>
                  <a:pt x="269252" y="392585"/>
                </a:cubicBezTo>
                <a:lnTo>
                  <a:pt x="268100" y="389593"/>
                </a:lnTo>
                <a:cubicBezTo>
                  <a:pt x="267293" y="387521"/>
                  <a:pt x="268561" y="385680"/>
                  <a:pt x="270866" y="385449"/>
                </a:cubicBezTo>
                <a:lnTo>
                  <a:pt x="277780" y="384874"/>
                </a:lnTo>
                <a:cubicBezTo>
                  <a:pt x="280200" y="384759"/>
                  <a:pt x="282735" y="386255"/>
                  <a:pt x="283541" y="388212"/>
                </a:cubicBezTo>
                <a:lnTo>
                  <a:pt x="284809" y="391319"/>
                </a:lnTo>
                <a:cubicBezTo>
                  <a:pt x="285500" y="393160"/>
                  <a:pt x="286883" y="394656"/>
                  <a:pt x="288957" y="395807"/>
                </a:cubicBezTo>
                <a:cubicBezTo>
                  <a:pt x="290916" y="396958"/>
                  <a:pt x="292990" y="397419"/>
                  <a:pt x="295180" y="397303"/>
                </a:cubicBezTo>
                <a:cubicBezTo>
                  <a:pt x="297369" y="397073"/>
                  <a:pt x="298983" y="396268"/>
                  <a:pt x="299905" y="394887"/>
                </a:cubicBezTo>
                <a:cubicBezTo>
                  <a:pt x="300942" y="393506"/>
                  <a:pt x="301057" y="391894"/>
                  <a:pt x="300250" y="389938"/>
                </a:cubicBezTo>
                <a:lnTo>
                  <a:pt x="295065" y="376588"/>
                </a:lnTo>
                <a:cubicBezTo>
                  <a:pt x="294258" y="374746"/>
                  <a:pt x="292875" y="373250"/>
                  <a:pt x="290916" y="372099"/>
                </a:cubicBezTo>
                <a:cubicBezTo>
                  <a:pt x="288957" y="370948"/>
                  <a:pt x="286883" y="370488"/>
                  <a:pt x="284694" y="370603"/>
                </a:cubicBezTo>
                <a:cubicBezTo>
                  <a:pt x="277780" y="371179"/>
                  <a:pt x="270981" y="369337"/>
                  <a:pt x="264643" y="365424"/>
                </a:cubicBezTo>
                <a:cubicBezTo>
                  <a:pt x="259227" y="361856"/>
                  <a:pt x="255424" y="357483"/>
                  <a:pt x="253465" y="352534"/>
                </a:cubicBezTo>
                <a:lnTo>
                  <a:pt x="248164" y="339184"/>
                </a:lnTo>
                <a:cubicBezTo>
                  <a:pt x="246090" y="333660"/>
                  <a:pt x="246436" y="328711"/>
                  <a:pt x="249432" y="324453"/>
                </a:cubicBezTo>
                <a:cubicBezTo>
                  <a:pt x="252543" y="320195"/>
                  <a:pt x="257268" y="317663"/>
                  <a:pt x="263606" y="317202"/>
                </a:cubicBezTo>
                <a:close/>
                <a:moveTo>
                  <a:pt x="320670" y="288927"/>
                </a:moveTo>
                <a:lnTo>
                  <a:pt x="26837" y="313206"/>
                </a:lnTo>
                <a:cubicBezTo>
                  <a:pt x="44236" y="344389"/>
                  <a:pt x="58064" y="372811"/>
                  <a:pt x="69010" y="398701"/>
                </a:cubicBezTo>
                <a:cubicBezTo>
                  <a:pt x="78459" y="396975"/>
                  <a:pt x="99892" y="395249"/>
                  <a:pt x="109340" y="411473"/>
                </a:cubicBezTo>
                <a:cubicBezTo>
                  <a:pt x="109686" y="412164"/>
                  <a:pt x="110032" y="412739"/>
                  <a:pt x="110377" y="413429"/>
                </a:cubicBezTo>
                <a:cubicBezTo>
                  <a:pt x="110953" y="412854"/>
                  <a:pt x="111760" y="412394"/>
                  <a:pt x="112797" y="412279"/>
                </a:cubicBezTo>
                <a:lnTo>
                  <a:pt x="116139" y="412048"/>
                </a:lnTo>
                <a:cubicBezTo>
                  <a:pt x="118328" y="411818"/>
                  <a:pt x="119941" y="411013"/>
                  <a:pt x="120978" y="409632"/>
                </a:cubicBezTo>
                <a:cubicBezTo>
                  <a:pt x="122015" y="408251"/>
                  <a:pt x="122131" y="406640"/>
                  <a:pt x="121324" y="404799"/>
                </a:cubicBezTo>
                <a:lnTo>
                  <a:pt x="93900" y="335069"/>
                </a:lnTo>
                <a:cubicBezTo>
                  <a:pt x="93093" y="332997"/>
                  <a:pt x="94361" y="331156"/>
                  <a:pt x="96780" y="331041"/>
                </a:cubicBezTo>
                <a:lnTo>
                  <a:pt x="103694" y="330466"/>
                </a:lnTo>
                <a:cubicBezTo>
                  <a:pt x="105999" y="330236"/>
                  <a:pt x="108649" y="331732"/>
                  <a:pt x="109456" y="333803"/>
                </a:cubicBezTo>
                <a:lnTo>
                  <a:pt x="139530" y="410092"/>
                </a:lnTo>
                <a:cubicBezTo>
                  <a:pt x="140913" y="413774"/>
                  <a:pt x="140682" y="416996"/>
                  <a:pt x="138608" y="419873"/>
                </a:cubicBezTo>
                <a:cubicBezTo>
                  <a:pt x="136649" y="422750"/>
                  <a:pt x="133423" y="424361"/>
                  <a:pt x="129275" y="424706"/>
                </a:cubicBezTo>
                <a:lnTo>
                  <a:pt x="117982" y="425741"/>
                </a:lnTo>
                <a:cubicBezTo>
                  <a:pt x="116830" y="425741"/>
                  <a:pt x="115678" y="425511"/>
                  <a:pt x="114641" y="424821"/>
                </a:cubicBezTo>
                <a:cubicBezTo>
                  <a:pt x="118559" y="442656"/>
                  <a:pt x="111414" y="461412"/>
                  <a:pt x="95743" y="475220"/>
                </a:cubicBezTo>
                <a:cubicBezTo>
                  <a:pt x="110262" y="529072"/>
                  <a:pt x="109916" y="564858"/>
                  <a:pt x="108073" y="582693"/>
                </a:cubicBezTo>
                <a:lnTo>
                  <a:pt x="390844" y="571647"/>
                </a:lnTo>
                <a:cubicBezTo>
                  <a:pt x="390729" y="563017"/>
                  <a:pt x="390268" y="554041"/>
                  <a:pt x="389577" y="545181"/>
                </a:cubicBezTo>
                <a:cubicBezTo>
                  <a:pt x="376902" y="530913"/>
                  <a:pt x="378169" y="508014"/>
                  <a:pt x="383009" y="494667"/>
                </a:cubicBezTo>
                <a:cubicBezTo>
                  <a:pt x="366877" y="402728"/>
                  <a:pt x="331041" y="313436"/>
                  <a:pt x="320670" y="288927"/>
                </a:cubicBezTo>
                <a:close/>
                <a:moveTo>
                  <a:pt x="263171" y="241404"/>
                </a:moveTo>
                <a:lnTo>
                  <a:pt x="292900" y="270861"/>
                </a:lnTo>
                <a:lnTo>
                  <a:pt x="310415" y="269365"/>
                </a:lnTo>
                <a:lnTo>
                  <a:pt x="338646" y="241404"/>
                </a:lnTo>
                <a:lnTo>
                  <a:pt x="360770" y="260045"/>
                </a:lnTo>
                <a:cubicBezTo>
                  <a:pt x="360770" y="260045"/>
                  <a:pt x="407552" y="282483"/>
                  <a:pt x="412738" y="285014"/>
                </a:cubicBezTo>
                <a:cubicBezTo>
                  <a:pt x="445117" y="300433"/>
                  <a:pt x="471504" y="335414"/>
                  <a:pt x="492821" y="387309"/>
                </a:cubicBezTo>
                <a:cubicBezTo>
                  <a:pt x="507571" y="423210"/>
                  <a:pt x="514715" y="455314"/>
                  <a:pt x="515061" y="456695"/>
                </a:cubicBezTo>
                <a:cubicBezTo>
                  <a:pt x="518402" y="471768"/>
                  <a:pt x="513332" y="487417"/>
                  <a:pt x="501809" y="497773"/>
                </a:cubicBezTo>
                <a:lnTo>
                  <a:pt x="445463" y="548058"/>
                </a:lnTo>
                <a:cubicBezTo>
                  <a:pt x="437281" y="555307"/>
                  <a:pt x="427026" y="558874"/>
                  <a:pt x="416886" y="558874"/>
                </a:cubicBezTo>
                <a:cubicBezTo>
                  <a:pt x="414927" y="558874"/>
                  <a:pt x="412853" y="558759"/>
                  <a:pt x="410779" y="558414"/>
                </a:cubicBezTo>
                <a:cubicBezTo>
                  <a:pt x="411124" y="566238"/>
                  <a:pt x="411355" y="573948"/>
                  <a:pt x="411240" y="581542"/>
                </a:cubicBezTo>
                <a:cubicBezTo>
                  <a:pt x="411240" y="586950"/>
                  <a:pt x="406861" y="591438"/>
                  <a:pt x="401445" y="591668"/>
                </a:cubicBezTo>
                <a:lnTo>
                  <a:pt x="96435" y="603405"/>
                </a:lnTo>
                <a:cubicBezTo>
                  <a:pt x="96319" y="603405"/>
                  <a:pt x="96204" y="603405"/>
                  <a:pt x="95974" y="603405"/>
                </a:cubicBezTo>
                <a:cubicBezTo>
                  <a:pt x="92863" y="603405"/>
                  <a:pt x="89982" y="602024"/>
                  <a:pt x="88023" y="599608"/>
                </a:cubicBezTo>
                <a:cubicBezTo>
                  <a:pt x="86064" y="597076"/>
                  <a:pt x="85373" y="593739"/>
                  <a:pt x="86179" y="590633"/>
                </a:cubicBezTo>
                <a:cubicBezTo>
                  <a:pt x="86295" y="590172"/>
                  <a:pt x="92171" y="566814"/>
                  <a:pt x="84797" y="521132"/>
                </a:cubicBezTo>
                <a:cubicBezTo>
                  <a:pt x="83299" y="511697"/>
                  <a:pt x="81109" y="500765"/>
                  <a:pt x="77998" y="488568"/>
                </a:cubicBezTo>
                <a:cubicBezTo>
                  <a:pt x="76385" y="489949"/>
                  <a:pt x="74541" y="491330"/>
                  <a:pt x="72582" y="492595"/>
                </a:cubicBezTo>
                <a:cubicBezTo>
                  <a:pt x="65553" y="497083"/>
                  <a:pt x="57603" y="499269"/>
                  <a:pt x="49767" y="499269"/>
                </a:cubicBezTo>
                <a:cubicBezTo>
                  <a:pt x="35594" y="499269"/>
                  <a:pt x="21651" y="492250"/>
                  <a:pt x="13585" y="479363"/>
                </a:cubicBezTo>
                <a:cubicBezTo>
                  <a:pt x="1025" y="459571"/>
                  <a:pt x="-818" y="423900"/>
                  <a:pt x="35594" y="388230"/>
                </a:cubicBezTo>
                <a:cubicBezTo>
                  <a:pt x="36977" y="386849"/>
                  <a:pt x="38475" y="385468"/>
                  <a:pt x="40203" y="383972"/>
                </a:cubicBezTo>
                <a:cubicBezTo>
                  <a:pt x="29602" y="361189"/>
                  <a:pt x="16927" y="336334"/>
                  <a:pt x="1371" y="309524"/>
                </a:cubicBezTo>
                <a:cubicBezTo>
                  <a:pt x="-357" y="306532"/>
                  <a:pt x="-473" y="302850"/>
                  <a:pt x="1141" y="299743"/>
                </a:cubicBezTo>
                <a:cubicBezTo>
                  <a:pt x="2754" y="296636"/>
                  <a:pt x="5865" y="294565"/>
                  <a:pt x="9322" y="294335"/>
                </a:cubicBezTo>
                <a:lnTo>
                  <a:pt x="201062" y="278456"/>
                </a:lnTo>
                <a:lnTo>
                  <a:pt x="241047" y="260045"/>
                </a:lnTo>
                <a:close/>
                <a:moveTo>
                  <a:pt x="300977" y="0"/>
                </a:moveTo>
                <a:cubicBezTo>
                  <a:pt x="372419" y="0"/>
                  <a:pt x="401687" y="36819"/>
                  <a:pt x="401111" y="98375"/>
                </a:cubicBezTo>
                <a:cubicBezTo>
                  <a:pt x="400189" y="186969"/>
                  <a:pt x="357785" y="239781"/>
                  <a:pt x="300977" y="239781"/>
                </a:cubicBezTo>
                <a:cubicBezTo>
                  <a:pt x="244054" y="239781"/>
                  <a:pt x="201765" y="186969"/>
                  <a:pt x="200728" y="98375"/>
                </a:cubicBezTo>
                <a:cubicBezTo>
                  <a:pt x="200152" y="36819"/>
                  <a:pt x="229420" y="0"/>
                  <a:pt x="300977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6398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7" name="矩形 196">
            <a:extLst>
              <a:ext uri="{FF2B5EF4-FFF2-40B4-BE49-F238E27FC236}">
                <a16:creationId xmlns:a16="http://schemas.microsoft.com/office/drawing/2014/main" id="{9C714C28-E9C8-40D4-A1C5-EEBE73516C35}"/>
              </a:ext>
            </a:extLst>
          </p:cNvPr>
          <p:cNvSpPr/>
          <p:nvPr/>
        </p:nvSpPr>
        <p:spPr>
          <a:xfrm>
            <a:off x="9304036" y="3713377"/>
            <a:ext cx="637702" cy="255081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r>
              <a:rPr lang="en-US" altLang="zh-CN" sz="1600" b="1" dirty="0">
                <a:cs typeface="+mn-ea"/>
                <a:sym typeface="+mn-lt"/>
              </a:rPr>
              <a:t>Text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98" name="任意多边形: 形状 197">
            <a:extLst>
              <a:ext uri="{FF2B5EF4-FFF2-40B4-BE49-F238E27FC236}">
                <a16:creationId xmlns:a16="http://schemas.microsoft.com/office/drawing/2014/main" id="{FD8F32B0-6DEB-46AA-9748-B8DD18A42EB2}"/>
              </a:ext>
            </a:extLst>
          </p:cNvPr>
          <p:cNvSpPr/>
          <p:nvPr/>
        </p:nvSpPr>
        <p:spPr bwMode="auto">
          <a:xfrm>
            <a:off x="10593801" y="3339300"/>
            <a:ext cx="267165" cy="266773"/>
          </a:xfrm>
          <a:custGeom>
            <a:avLst/>
            <a:gdLst>
              <a:gd name="T0" fmla="*/ 218 w 436"/>
              <a:gd name="T1" fmla="*/ 0 h 436"/>
              <a:gd name="T2" fmla="*/ 0 w 436"/>
              <a:gd name="T3" fmla="*/ 218 h 436"/>
              <a:gd name="T4" fmla="*/ 218 w 436"/>
              <a:gd name="T5" fmla="*/ 436 h 436"/>
              <a:gd name="T6" fmla="*/ 231 w 436"/>
              <a:gd name="T7" fmla="*/ 422 h 436"/>
              <a:gd name="T8" fmla="*/ 218 w 436"/>
              <a:gd name="T9" fmla="*/ 409 h 436"/>
              <a:gd name="T10" fmla="*/ 27 w 436"/>
              <a:gd name="T11" fmla="*/ 218 h 436"/>
              <a:gd name="T12" fmla="*/ 218 w 436"/>
              <a:gd name="T13" fmla="*/ 27 h 436"/>
              <a:gd name="T14" fmla="*/ 409 w 436"/>
              <a:gd name="T15" fmla="*/ 218 h 436"/>
              <a:gd name="T16" fmla="*/ 352 w 436"/>
              <a:gd name="T17" fmla="*/ 324 h 436"/>
              <a:gd name="T18" fmla="*/ 312 w 436"/>
              <a:gd name="T19" fmla="*/ 334 h 436"/>
              <a:gd name="T20" fmla="*/ 334 w 436"/>
              <a:gd name="T21" fmla="*/ 314 h 436"/>
              <a:gd name="T22" fmla="*/ 337 w 436"/>
              <a:gd name="T23" fmla="*/ 309 h 436"/>
              <a:gd name="T24" fmla="*/ 344 w 436"/>
              <a:gd name="T25" fmla="*/ 275 h 436"/>
              <a:gd name="T26" fmla="*/ 276 w 436"/>
              <a:gd name="T27" fmla="*/ 251 h 436"/>
              <a:gd name="T28" fmla="*/ 267 w 436"/>
              <a:gd name="T29" fmla="*/ 284 h 436"/>
              <a:gd name="T30" fmla="*/ 249 w 436"/>
              <a:gd name="T31" fmla="*/ 282 h 436"/>
              <a:gd name="T32" fmla="*/ 203 w 436"/>
              <a:gd name="T33" fmla="*/ 236 h 436"/>
              <a:gd name="T34" fmla="*/ 203 w 436"/>
              <a:gd name="T35" fmla="*/ 235 h 436"/>
              <a:gd name="T36" fmla="*/ 201 w 436"/>
              <a:gd name="T37" fmla="*/ 234 h 436"/>
              <a:gd name="T38" fmla="*/ 200 w 436"/>
              <a:gd name="T39" fmla="*/ 233 h 436"/>
              <a:gd name="T40" fmla="*/ 200 w 436"/>
              <a:gd name="T41" fmla="*/ 233 h 436"/>
              <a:gd name="T42" fmla="*/ 154 w 436"/>
              <a:gd name="T43" fmla="*/ 187 h 436"/>
              <a:gd name="T44" fmla="*/ 152 w 436"/>
              <a:gd name="T45" fmla="*/ 169 h 436"/>
              <a:gd name="T46" fmla="*/ 185 w 436"/>
              <a:gd name="T47" fmla="*/ 159 h 436"/>
              <a:gd name="T48" fmla="*/ 160 w 436"/>
              <a:gd name="T49" fmla="*/ 92 h 436"/>
              <a:gd name="T50" fmla="*/ 127 w 436"/>
              <a:gd name="T51" fmla="*/ 99 h 436"/>
              <a:gd name="T52" fmla="*/ 122 w 436"/>
              <a:gd name="T53" fmla="*/ 102 h 436"/>
              <a:gd name="T54" fmla="*/ 116 w 436"/>
              <a:gd name="T55" fmla="*/ 226 h 436"/>
              <a:gd name="T56" fmla="*/ 160 w 436"/>
              <a:gd name="T57" fmla="*/ 274 h 436"/>
              <a:gd name="T58" fmla="*/ 159 w 436"/>
              <a:gd name="T59" fmla="*/ 274 h 436"/>
              <a:gd name="T60" fmla="*/ 161 w 436"/>
              <a:gd name="T61" fmla="*/ 275 h 436"/>
              <a:gd name="T62" fmla="*/ 162 w 436"/>
              <a:gd name="T63" fmla="*/ 276 h 436"/>
              <a:gd name="T64" fmla="*/ 162 w 436"/>
              <a:gd name="T65" fmla="*/ 276 h 436"/>
              <a:gd name="T66" fmla="*/ 226 w 436"/>
              <a:gd name="T67" fmla="*/ 333 h 436"/>
              <a:gd name="T68" fmla="*/ 365 w 436"/>
              <a:gd name="T69" fmla="*/ 347 h 436"/>
              <a:gd name="T70" fmla="*/ 436 w 436"/>
              <a:gd name="T71" fmla="*/ 218 h 436"/>
              <a:gd name="T72" fmla="*/ 218 w 436"/>
              <a:gd name="T73" fmla="*/ 0 h 4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36" h="436">
                <a:moveTo>
                  <a:pt x="218" y="0"/>
                </a:moveTo>
                <a:cubicBezTo>
                  <a:pt x="98" y="0"/>
                  <a:pt x="0" y="98"/>
                  <a:pt x="0" y="218"/>
                </a:cubicBezTo>
                <a:cubicBezTo>
                  <a:pt x="0" y="338"/>
                  <a:pt x="98" y="436"/>
                  <a:pt x="218" y="436"/>
                </a:cubicBezTo>
                <a:cubicBezTo>
                  <a:pt x="225" y="436"/>
                  <a:pt x="231" y="430"/>
                  <a:pt x="231" y="422"/>
                </a:cubicBezTo>
                <a:cubicBezTo>
                  <a:pt x="231" y="415"/>
                  <a:pt x="225" y="409"/>
                  <a:pt x="218" y="409"/>
                </a:cubicBezTo>
                <a:cubicBezTo>
                  <a:pt x="112" y="409"/>
                  <a:pt x="27" y="323"/>
                  <a:pt x="27" y="218"/>
                </a:cubicBezTo>
                <a:cubicBezTo>
                  <a:pt x="27" y="113"/>
                  <a:pt x="112" y="27"/>
                  <a:pt x="218" y="27"/>
                </a:cubicBezTo>
                <a:cubicBezTo>
                  <a:pt x="323" y="27"/>
                  <a:pt x="409" y="113"/>
                  <a:pt x="409" y="218"/>
                </a:cubicBezTo>
                <a:cubicBezTo>
                  <a:pt x="409" y="262"/>
                  <a:pt x="385" y="305"/>
                  <a:pt x="352" y="324"/>
                </a:cubicBezTo>
                <a:cubicBezTo>
                  <a:pt x="340" y="331"/>
                  <a:pt x="326" y="334"/>
                  <a:pt x="312" y="334"/>
                </a:cubicBezTo>
                <a:cubicBezTo>
                  <a:pt x="321" y="329"/>
                  <a:pt x="328" y="322"/>
                  <a:pt x="334" y="314"/>
                </a:cubicBezTo>
                <a:cubicBezTo>
                  <a:pt x="335" y="312"/>
                  <a:pt x="336" y="311"/>
                  <a:pt x="337" y="309"/>
                </a:cubicBezTo>
                <a:cubicBezTo>
                  <a:pt x="341" y="298"/>
                  <a:pt x="341" y="286"/>
                  <a:pt x="344" y="275"/>
                </a:cubicBezTo>
                <a:cubicBezTo>
                  <a:pt x="347" y="261"/>
                  <a:pt x="282" y="233"/>
                  <a:pt x="276" y="251"/>
                </a:cubicBezTo>
                <a:cubicBezTo>
                  <a:pt x="274" y="258"/>
                  <a:pt x="271" y="278"/>
                  <a:pt x="267" y="284"/>
                </a:cubicBezTo>
                <a:cubicBezTo>
                  <a:pt x="263" y="289"/>
                  <a:pt x="254" y="286"/>
                  <a:pt x="249" y="282"/>
                </a:cubicBezTo>
                <a:cubicBezTo>
                  <a:pt x="234" y="269"/>
                  <a:pt x="217" y="250"/>
                  <a:pt x="203" y="236"/>
                </a:cubicBezTo>
                <a:lnTo>
                  <a:pt x="203" y="235"/>
                </a:lnTo>
                <a:cubicBezTo>
                  <a:pt x="202" y="235"/>
                  <a:pt x="202" y="235"/>
                  <a:pt x="201" y="234"/>
                </a:cubicBezTo>
                <a:cubicBezTo>
                  <a:pt x="201" y="234"/>
                  <a:pt x="200" y="233"/>
                  <a:pt x="200" y="233"/>
                </a:cubicBezTo>
                <a:lnTo>
                  <a:pt x="200" y="233"/>
                </a:lnTo>
                <a:cubicBezTo>
                  <a:pt x="185" y="218"/>
                  <a:pt x="167" y="202"/>
                  <a:pt x="154" y="187"/>
                </a:cubicBezTo>
                <a:cubicBezTo>
                  <a:pt x="149" y="181"/>
                  <a:pt x="147" y="172"/>
                  <a:pt x="152" y="169"/>
                </a:cubicBezTo>
                <a:cubicBezTo>
                  <a:pt x="157" y="164"/>
                  <a:pt x="178" y="161"/>
                  <a:pt x="185" y="159"/>
                </a:cubicBezTo>
                <a:cubicBezTo>
                  <a:pt x="202" y="154"/>
                  <a:pt x="175" y="88"/>
                  <a:pt x="160" y="92"/>
                </a:cubicBezTo>
                <a:cubicBezTo>
                  <a:pt x="149" y="94"/>
                  <a:pt x="137" y="95"/>
                  <a:pt x="127" y="99"/>
                </a:cubicBezTo>
                <a:cubicBezTo>
                  <a:pt x="125" y="100"/>
                  <a:pt x="124" y="101"/>
                  <a:pt x="122" y="102"/>
                </a:cubicBezTo>
                <a:cubicBezTo>
                  <a:pt x="85" y="126"/>
                  <a:pt x="80" y="183"/>
                  <a:pt x="116" y="226"/>
                </a:cubicBezTo>
                <a:cubicBezTo>
                  <a:pt x="130" y="242"/>
                  <a:pt x="145" y="258"/>
                  <a:pt x="160" y="274"/>
                </a:cubicBezTo>
                <a:lnTo>
                  <a:pt x="159" y="274"/>
                </a:lnTo>
                <a:cubicBezTo>
                  <a:pt x="160" y="274"/>
                  <a:pt x="160" y="274"/>
                  <a:pt x="161" y="275"/>
                </a:cubicBezTo>
                <a:cubicBezTo>
                  <a:pt x="161" y="275"/>
                  <a:pt x="161" y="276"/>
                  <a:pt x="162" y="276"/>
                </a:cubicBezTo>
                <a:lnTo>
                  <a:pt x="162" y="276"/>
                </a:lnTo>
                <a:cubicBezTo>
                  <a:pt x="177" y="291"/>
                  <a:pt x="196" y="313"/>
                  <a:pt x="226" y="333"/>
                </a:cubicBezTo>
                <a:cubicBezTo>
                  <a:pt x="288" y="375"/>
                  <a:pt x="336" y="363"/>
                  <a:pt x="365" y="347"/>
                </a:cubicBezTo>
                <a:cubicBezTo>
                  <a:pt x="414" y="321"/>
                  <a:pt x="436" y="263"/>
                  <a:pt x="436" y="218"/>
                </a:cubicBezTo>
                <a:cubicBezTo>
                  <a:pt x="436" y="98"/>
                  <a:pt x="338" y="0"/>
                  <a:pt x="21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fontAlgn="base" hangingPunct="0">
              <a:spcBef>
                <a:spcPct val="0"/>
              </a:spcBef>
              <a:spcAft>
                <a:spcPct val="0"/>
              </a:spcAft>
            </a:pPr>
            <a:endParaRPr lang="zh-CN" altLang="zh-CN" sz="6398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99" name="矩形 198">
            <a:extLst>
              <a:ext uri="{FF2B5EF4-FFF2-40B4-BE49-F238E27FC236}">
                <a16:creationId xmlns:a16="http://schemas.microsoft.com/office/drawing/2014/main" id="{8438F092-20E8-4F1F-ABD5-4782699B193F}"/>
              </a:ext>
            </a:extLst>
          </p:cNvPr>
          <p:cNvSpPr/>
          <p:nvPr/>
        </p:nvSpPr>
        <p:spPr>
          <a:xfrm>
            <a:off x="10408540" y="3713382"/>
            <a:ext cx="637702" cy="255081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sz="16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156" name="直接连接符 155">
            <a:extLst>
              <a:ext uri="{FF2B5EF4-FFF2-40B4-BE49-F238E27FC236}">
                <a16:creationId xmlns:a16="http://schemas.microsoft.com/office/drawing/2014/main" id="{BF5F37A6-6B7A-4DC3-B07E-ED36AEAC0751}"/>
              </a:ext>
            </a:extLst>
          </p:cNvPr>
          <p:cNvCxnSpPr>
            <a:cxnSpLocks/>
          </p:cNvCxnSpPr>
          <p:nvPr/>
        </p:nvCxnSpPr>
        <p:spPr>
          <a:xfrm flipH="1">
            <a:off x="5755160" y="4218052"/>
            <a:ext cx="554236" cy="550858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直接连接符 156">
            <a:extLst>
              <a:ext uri="{FF2B5EF4-FFF2-40B4-BE49-F238E27FC236}">
                <a16:creationId xmlns:a16="http://schemas.microsoft.com/office/drawing/2014/main" id="{80F1C348-5FBF-4871-963E-3618393C09B2}"/>
              </a:ext>
            </a:extLst>
          </p:cNvPr>
          <p:cNvCxnSpPr>
            <a:cxnSpLocks/>
          </p:cNvCxnSpPr>
          <p:nvPr/>
        </p:nvCxnSpPr>
        <p:spPr>
          <a:xfrm flipH="1">
            <a:off x="7927244" y="4218052"/>
            <a:ext cx="554236" cy="550858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直接连接符 157">
            <a:extLst>
              <a:ext uri="{FF2B5EF4-FFF2-40B4-BE49-F238E27FC236}">
                <a16:creationId xmlns:a16="http://schemas.microsoft.com/office/drawing/2014/main" id="{FC5407FA-33F1-4F2B-9214-7A0A6FD24C7E}"/>
              </a:ext>
            </a:extLst>
          </p:cNvPr>
          <p:cNvCxnSpPr>
            <a:cxnSpLocks/>
          </p:cNvCxnSpPr>
          <p:nvPr/>
        </p:nvCxnSpPr>
        <p:spPr>
          <a:xfrm flipH="1">
            <a:off x="10131416" y="4218052"/>
            <a:ext cx="554236" cy="550858"/>
          </a:xfrm>
          <a:prstGeom prst="line">
            <a:avLst/>
          </a:prstGeom>
          <a:ln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椭圆 158">
            <a:extLst>
              <a:ext uri="{FF2B5EF4-FFF2-40B4-BE49-F238E27FC236}">
                <a16:creationId xmlns:a16="http://schemas.microsoft.com/office/drawing/2014/main" id="{FB6CED45-5250-4DBD-8638-391D2D90A611}"/>
              </a:ext>
            </a:extLst>
          </p:cNvPr>
          <p:cNvSpPr/>
          <p:nvPr/>
        </p:nvSpPr>
        <p:spPr>
          <a:xfrm>
            <a:off x="6251212" y="4193068"/>
            <a:ext cx="81000" cy="81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60" name="椭圆 159">
            <a:extLst>
              <a:ext uri="{FF2B5EF4-FFF2-40B4-BE49-F238E27FC236}">
                <a16:creationId xmlns:a16="http://schemas.microsoft.com/office/drawing/2014/main" id="{0C03A986-23A3-4840-8642-9FFF44F339D7}"/>
              </a:ext>
            </a:extLst>
          </p:cNvPr>
          <p:cNvSpPr/>
          <p:nvPr/>
        </p:nvSpPr>
        <p:spPr>
          <a:xfrm>
            <a:off x="8451568" y="4193068"/>
            <a:ext cx="81000" cy="81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61" name="椭圆 160">
            <a:extLst>
              <a:ext uri="{FF2B5EF4-FFF2-40B4-BE49-F238E27FC236}">
                <a16:creationId xmlns:a16="http://schemas.microsoft.com/office/drawing/2014/main" id="{D0D057C9-79D7-4663-966A-5D20A75FB93E}"/>
              </a:ext>
            </a:extLst>
          </p:cNvPr>
          <p:cNvSpPr/>
          <p:nvPr/>
        </p:nvSpPr>
        <p:spPr>
          <a:xfrm>
            <a:off x="10635708" y="4193068"/>
            <a:ext cx="81000" cy="81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80" name="文本框 179">
            <a:extLst>
              <a:ext uri="{FF2B5EF4-FFF2-40B4-BE49-F238E27FC236}">
                <a16:creationId xmlns:a16="http://schemas.microsoft.com/office/drawing/2014/main" id="{9E65231A-70ED-4F20-B11C-93240A599599}"/>
              </a:ext>
            </a:extLst>
          </p:cNvPr>
          <p:cNvSpPr txBox="1"/>
          <p:nvPr/>
        </p:nvSpPr>
        <p:spPr>
          <a:xfrm>
            <a:off x="4677717" y="5150120"/>
            <a:ext cx="2154887" cy="4776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81" name="矩形 180">
            <a:extLst>
              <a:ext uri="{FF2B5EF4-FFF2-40B4-BE49-F238E27FC236}">
                <a16:creationId xmlns:a16="http://schemas.microsoft.com/office/drawing/2014/main" id="{E9639AED-7319-4892-9811-8FD1FFE9DB0B}"/>
              </a:ext>
            </a:extLst>
          </p:cNvPr>
          <p:cNvSpPr/>
          <p:nvPr/>
        </p:nvSpPr>
        <p:spPr>
          <a:xfrm>
            <a:off x="4677717" y="4843744"/>
            <a:ext cx="2154887" cy="306375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78" name="文本框 177">
            <a:extLst>
              <a:ext uri="{FF2B5EF4-FFF2-40B4-BE49-F238E27FC236}">
                <a16:creationId xmlns:a16="http://schemas.microsoft.com/office/drawing/2014/main" id="{6C810DB1-2B05-48B5-A0FD-37C8914F60E3}"/>
              </a:ext>
            </a:extLst>
          </p:cNvPr>
          <p:cNvSpPr txBox="1"/>
          <p:nvPr/>
        </p:nvSpPr>
        <p:spPr>
          <a:xfrm>
            <a:off x="6878376" y="5150120"/>
            <a:ext cx="2154887" cy="4776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79" name="矩形 178">
            <a:extLst>
              <a:ext uri="{FF2B5EF4-FFF2-40B4-BE49-F238E27FC236}">
                <a16:creationId xmlns:a16="http://schemas.microsoft.com/office/drawing/2014/main" id="{78DFE1FB-E54E-4A97-93F3-BC99E90F148A}"/>
              </a:ext>
            </a:extLst>
          </p:cNvPr>
          <p:cNvSpPr/>
          <p:nvPr/>
        </p:nvSpPr>
        <p:spPr>
          <a:xfrm>
            <a:off x="6878376" y="4843744"/>
            <a:ext cx="2154887" cy="306375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76" name="文本框 175">
            <a:extLst>
              <a:ext uri="{FF2B5EF4-FFF2-40B4-BE49-F238E27FC236}">
                <a16:creationId xmlns:a16="http://schemas.microsoft.com/office/drawing/2014/main" id="{F88F09A8-691B-4CBC-BF91-F039D27031C6}"/>
              </a:ext>
            </a:extLst>
          </p:cNvPr>
          <p:cNvSpPr txBox="1"/>
          <p:nvPr/>
        </p:nvSpPr>
        <p:spPr>
          <a:xfrm>
            <a:off x="9053972" y="5150120"/>
            <a:ext cx="2154887" cy="4776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77" name="矩形 176">
            <a:extLst>
              <a:ext uri="{FF2B5EF4-FFF2-40B4-BE49-F238E27FC236}">
                <a16:creationId xmlns:a16="http://schemas.microsoft.com/office/drawing/2014/main" id="{E94486FD-53DB-42C2-907C-C80D887A4C3B}"/>
              </a:ext>
            </a:extLst>
          </p:cNvPr>
          <p:cNvSpPr/>
          <p:nvPr/>
        </p:nvSpPr>
        <p:spPr>
          <a:xfrm>
            <a:off x="9053972" y="4843744"/>
            <a:ext cx="2154887" cy="306375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165" name="直接连接符 164">
            <a:extLst>
              <a:ext uri="{FF2B5EF4-FFF2-40B4-BE49-F238E27FC236}">
                <a16:creationId xmlns:a16="http://schemas.microsoft.com/office/drawing/2014/main" id="{47E4A8C5-2A1D-44D9-8127-FC80443AA50C}"/>
              </a:ext>
            </a:extLst>
          </p:cNvPr>
          <p:cNvCxnSpPr>
            <a:cxnSpLocks/>
          </p:cNvCxnSpPr>
          <p:nvPr/>
        </p:nvCxnSpPr>
        <p:spPr>
          <a:xfrm flipH="1" flipV="1">
            <a:off x="6855543" y="2574243"/>
            <a:ext cx="554236" cy="55085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直接连接符 165">
            <a:extLst>
              <a:ext uri="{FF2B5EF4-FFF2-40B4-BE49-F238E27FC236}">
                <a16:creationId xmlns:a16="http://schemas.microsoft.com/office/drawing/2014/main" id="{2FA4BBE0-E1D8-4569-B0E2-1F19E67B4945}"/>
              </a:ext>
            </a:extLst>
          </p:cNvPr>
          <p:cNvCxnSpPr>
            <a:cxnSpLocks/>
          </p:cNvCxnSpPr>
          <p:nvPr/>
        </p:nvCxnSpPr>
        <p:spPr>
          <a:xfrm flipH="1" flipV="1">
            <a:off x="9033887" y="2574243"/>
            <a:ext cx="554236" cy="55085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椭圆 166">
            <a:extLst>
              <a:ext uri="{FF2B5EF4-FFF2-40B4-BE49-F238E27FC236}">
                <a16:creationId xmlns:a16="http://schemas.microsoft.com/office/drawing/2014/main" id="{2A1149B6-7637-4320-8EAD-3197674EE5CB}"/>
              </a:ext>
            </a:extLst>
          </p:cNvPr>
          <p:cNvSpPr/>
          <p:nvPr/>
        </p:nvSpPr>
        <p:spPr>
          <a:xfrm>
            <a:off x="7355330" y="3076478"/>
            <a:ext cx="81000" cy="81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68" name="椭圆 167">
            <a:extLst>
              <a:ext uri="{FF2B5EF4-FFF2-40B4-BE49-F238E27FC236}">
                <a16:creationId xmlns:a16="http://schemas.microsoft.com/office/drawing/2014/main" id="{9DEB10D7-3F23-427A-9CF3-A134F6F27335}"/>
              </a:ext>
            </a:extLst>
          </p:cNvPr>
          <p:cNvSpPr/>
          <p:nvPr/>
        </p:nvSpPr>
        <p:spPr>
          <a:xfrm>
            <a:off x="9557536" y="3076478"/>
            <a:ext cx="81000" cy="8100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4" name="文本框 173">
            <a:extLst>
              <a:ext uri="{FF2B5EF4-FFF2-40B4-BE49-F238E27FC236}">
                <a16:creationId xmlns:a16="http://schemas.microsoft.com/office/drawing/2014/main" id="{32D74557-27C6-4F30-BD5F-D29A7C08A94B}"/>
              </a:ext>
            </a:extLst>
          </p:cNvPr>
          <p:cNvSpPr txBox="1"/>
          <p:nvPr/>
        </p:nvSpPr>
        <p:spPr>
          <a:xfrm>
            <a:off x="5778099" y="1955726"/>
            <a:ext cx="2154887" cy="4776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75" name="矩形 174">
            <a:extLst>
              <a:ext uri="{FF2B5EF4-FFF2-40B4-BE49-F238E27FC236}">
                <a16:creationId xmlns:a16="http://schemas.microsoft.com/office/drawing/2014/main" id="{E29A8DFE-8EDB-453E-8415-D31484368B7A}"/>
              </a:ext>
            </a:extLst>
          </p:cNvPr>
          <p:cNvSpPr/>
          <p:nvPr/>
        </p:nvSpPr>
        <p:spPr>
          <a:xfrm>
            <a:off x="5778099" y="1649350"/>
            <a:ext cx="2154887" cy="306375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72" name="文本框 171">
            <a:extLst>
              <a:ext uri="{FF2B5EF4-FFF2-40B4-BE49-F238E27FC236}">
                <a16:creationId xmlns:a16="http://schemas.microsoft.com/office/drawing/2014/main" id="{44B036F8-DC2A-47E6-BD99-91E24B44E786}"/>
              </a:ext>
            </a:extLst>
          </p:cNvPr>
          <p:cNvSpPr txBox="1"/>
          <p:nvPr/>
        </p:nvSpPr>
        <p:spPr>
          <a:xfrm>
            <a:off x="7978903" y="1955726"/>
            <a:ext cx="2154887" cy="4776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173" name="矩形 172">
            <a:extLst>
              <a:ext uri="{FF2B5EF4-FFF2-40B4-BE49-F238E27FC236}">
                <a16:creationId xmlns:a16="http://schemas.microsoft.com/office/drawing/2014/main" id="{E6ADC8FC-7951-4D1C-A011-4F7C3111B102}"/>
              </a:ext>
            </a:extLst>
          </p:cNvPr>
          <p:cNvSpPr/>
          <p:nvPr/>
        </p:nvSpPr>
        <p:spPr>
          <a:xfrm>
            <a:off x="7978903" y="1649350"/>
            <a:ext cx="2154887" cy="306375"/>
          </a:xfrm>
          <a:prstGeom prst="rect">
            <a:avLst/>
          </a:prstGeom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171" name="直接连接符 170">
            <a:extLst>
              <a:ext uri="{FF2B5EF4-FFF2-40B4-BE49-F238E27FC236}">
                <a16:creationId xmlns:a16="http://schemas.microsoft.com/office/drawing/2014/main" id="{02D7EF81-16EB-4725-A452-C5CC646E7AD6}"/>
              </a:ext>
            </a:extLst>
          </p:cNvPr>
          <p:cNvCxnSpPr/>
          <p:nvPr/>
        </p:nvCxnSpPr>
        <p:spPr>
          <a:xfrm flipH="1">
            <a:off x="3076576" y="3606073"/>
            <a:ext cx="154622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29234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矩形 38">
            <a:extLst>
              <a:ext uri="{FF2B5EF4-FFF2-40B4-BE49-F238E27FC236}">
                <a16:creationId xmlns:a16="http://schemas.microsoft.com/office/drawing/2014/main" id="{621A18F8-9766-493F-B5BA-C6A3710D9862}"/>
              </a:ext>
            </a:extLst>
          </p:cNvPr>
          <p:cNvSpPr/>
          <p:nvPr/>
        </p:nvSpPr>
        <p:spPr bwMode="auto">
          <a:xfrm>
            <a:off x="9300356" y="0"/>
            <a:ext cx="72008" cy="305392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FEABB9AB-2462-4605-B6C3-9164B505C850}"/>
              </a:ext>
            </a:extLst>
          </p:cNvPr>
          <p:cNvSpPr/>
          <p:nvPr/>
        </p:nvSpPr>
        <p:spPr bwMode="auto">
          <a:xfrm>
            <a:off x="8436260" y="1937804"/>
            <a:ext cx="1800200" cy="1116124"/>
          </a:xfrm>
          <a:custGeom>
            <a:avLst/>
            <a:gdLst>
              <a:gd name="connsiteX0" fmla="*/ 900100 w 1800200"/>
              <a:gd name="connsiteY0" fmla="*/ 0 h 1116124"/>
              <a:gd name="connsiteX1" fmla="*/ 1800200 w 1800200"/>
              <a:gd name="connsiteY1" fmla="*/ 900100 h 1116124"/>
              <a:gd name="connsiteX2" fmla="*/ 1781913 w 1800200"/>
              <a:gd name="connsiteY2" fmla="*/ 1081502 h 1116124"/>
              <a:gd name="connsiteX3" fmla="*/ 1773011 w 1800200"/>
              <a:gd name="connsiteY3" fmla="*/ 1116124 h 1116124"/>
              <a:gd name="connsiteX4" fmla="*/ 27190 w 1800200"/>
              <a:gd name="connsiteY4" fmla="*/ 1116124 h 1116124"/>
              <a:gd name="connsiteX5" fmla="*/ 18287 w 1800200"/>
              <a:gd name="connsiteY5" fmla="*/ 1081502 h 1116124"/>
              <a:gd name="connsiteX6" fmla="*/ 0 w 1800200"/>
              <a:gd name="connsiteY6" fmla="*/ 900100 h 1116124"/>
              <a:gd name="connsiteX7" fmla="*/ 900100 w 1800200"/>
              <a:gd name="connsiteY7" fmla="*/ 0 h 1116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800200" h="1116124">
                <a:moveTo>
                  <a:pt x="900100" y="0"/>
                </a:moveTo>
                <a:cubicBezTo>
                  <a:pt x="1397212" y="0"/>
                  <a:pt x="1800200" y="402988"/>
                  <a:pt x="1800200" y="900100"/>
                </a:cubicBezTo>
                <a:cubicBezTo>
                  <a:pt x="1800200" y="962239"/>
                  <a:pt x="1793903" y="1022907"/>
                  <a:pt x="1781913" y="1081502"/>
                </a:cubicBezTo>
                <a:lnTo>
                  <a:pt x="1773011" y="1116124"/>
                </a:lnTo>
                <a:lnTo>
                  <a:pt x="27190" y="1116124"/>
                </a:lnTo>
                <a:lnTo>
                  <a:pt x="18287" y="1081502"/>
                </a:lnTo>
                <a:cubicBezTo>
                  <a:pt x="6297" y="1022907"/>
                  <a:pt x="0" y="962239"/>
                  <a:pt x="0" y="900100"/>
                </a:cubicBezTo>
                <a:cubicBezTo>
                  <a:pt x="0" y="402988"/>
                  <a:pt x="402988" y="0"/>
                  <a:pt x="9001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CCA2619-88CC-4F4F-88F9-34B9A413B351}"/>
              </a:ext>
            </a:extLst>
          </p:cNvPr>
          <p:cNvSpPr/>
          <p:nvPr/>
        </p:nvSpPr>
        <p:spPr>
          <a:xfrm>
            <a:off x="9372364" y="3176364"/>
            <a:ext cx="553998" cy="1972656"/>
          </a:xfrm>
          <a:prstGeom prst="rect">
            <a:avLst/>
          </a:prstGeom>
        </p:spPr>
        <p:txBody>
          <a:bodyPr vert="eaVert" wrap="square" lIns="91440" tIns="45720" rIns="91440" bIns="45720">
            <a:normAutofit/>
          </a:bodyPr>
          <a:lstStyle/>
          <a:p>
            <a:r>
              <a:rPr lang="en-US" altLang="zh-CN" sz="2400" b="1" spc="300" dirty="0">
                <a:cs typeface="+mn-ea"/>
                <a:sym typeface="+mn-lt"/>
              </a:rPr>
              <a:t>CONTENT</a:t>
            </a:r>
            <a:r>
              <a:rPr lang="zh-CN" altLang="en-US" sz="2400" b="1" spc="300" dirty="0">
                <a:cs typeface="+mn-ea"/>
                <a:sym typeface="+mn-lt"/>
              </a:rPr>
              <a:t> </a:t>
            </a: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F36562D5-B8D7-48BC-A3A7-360552C37C75}"/>
              </a:ext>
            </a:extLst>
          </p:cNvPr>
          <p:cNvSpPr/>
          <p:nvPr/>
        </p:nvSpPr>
        <p:spPr>
          <a:xfrm>
            <a:off x="1929251" y="1741445"/>
            <a:ext cx="624349" cy="62434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>
                <a:solidFill>
                  <a:schemeClr val="tx1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2658376" y="1881397"/>
            <a:ext cx="4066274" cy="34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BF091657-0F52-41A6-8843-4DF47DEFFA99}"/>
              </a:ext>
            </a:extLst>
          </p:cNvPr>
          <p:cNvSpPr/>
          <p:nvPr/>
        </p:nvSpPr>
        <p:spPr>
          <a:xfrm>
            <a:off x="1929251" y="2533910"/>
            <a:ext cx="624349" cy="62434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tx1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2658376" y="2673862"/>
            <a:ext cx="4066274" cy="34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ECA78BD9-F7C1-409D-94D7-257425571C16}"/>
              </a:ext>
            </a:extLst>
          </p:cNvPr>
          <p:cNvSpPr/>
          <p:nvPr/>
        </p:nvSpPr>
        <p:spPr>
          <a:xfrm>
            <a:off x="1929251" y="3326375"/>
            <a:ext cx="624349" cy="62434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>
                <a:solidFill>
                  <a:schemeClr val="bg1"/>
                </a:solidFill>
                <a:cs typeface="+mn-ea"/>
                <a:sym typeface="+mn-lt"/>
              </a:rPr>
              <a:t>03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2658376" y="3466327"/>
            <a:ext cx="4066274" cy="34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079269CC-7A56-4192-95A0-277015060725}"/>
              </a:ext>
            </a:extLst>
          </p:cNvPr>
          <p:cNvSpPr/>
          <p:nvPr/>
        </p:nvSpPr>
        <p:spPr>
          <a:xfrm>
            <a:off x="1929251" y="4118840"/>
            <a:ext cx="624349" cy="62434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tx1"/>
                </a:solidFill>
                <a:cs typeface="+mn-ea"/>
                <a:sym typeface="+mn-lt"/>
              </a:rPr>
              <a:t>04</a:t>
            </a: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2658376" y="4258792"/>
            <a:ext cx="4066274" cy="34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7686EEC6-7317-4F3B-A67F-21B039799D83}"/>
              </a:ext>
            </a:extLst>
          </p:cNvPr>
          <p:cNvSpPr/>
          <p:nvPr/>
        </p:nvSpPr>
        <p:spPr>
          <a:xfrm>
            <a:off x="1929251" y="4911306"/>
            <a:ext cx="624349" cy="62434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dirty="0">
                <a:solidFill>
                  <a:schemeClr val="tx1"/>
                </a:solidFill>
                <a:cs typeface="+mn-ea"/>
                <a:sym typeface="+mn-lt"/>
              </a:rPr>
              <a:t>05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2658376" y="5051258"/>
            <a:ext cx="4066274" cy="344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cxnSp>
        <p:nvCxnSpPr>
          <p:cNvPr id="25" name="直接连接符 24"/>
          <p:cNvCxnSpPr/>
          <p:nvPr/>
        </p:nvCxnSpPr>
        <p:spPr>
          <a:xfrm>
            <a:off x="2762250" y="2449852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/>
          <p:cNvCxnSpPr/>
          <p:nvPr/>
        </p:nvCxnSpPr>
        <p:spPr>
          <a:xfrm>
            <a:off x="2762250" y="3242317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直接连接符 26"/>
          <p:cNvCxnSpPr/>
          <p:nvPr/>
        </p:nvCxnSpPr>
        <p:spPr>
          <a:xfrm>
            <a:off x="2762250" y="4034782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直接连接符 27"/>
          <p:cNvCxnSpPr/>
          <p:nvPr/>
        </p:nvCxnSpPr>
        <p:spPr>
          <a:xfrm>
            <a:off x="2762250" y="4827247"/>
            <a:ext cx="360045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99256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F146634-7679-42ED-BAB0-D2C6D7024029}"/>
              </a:ext>
            </a:extLst>
          </p:cNvPr>
          <p:cNvSpPr/>
          <p:nvPr/>
        </p:nvSpPr>
        <p:spPr>
          <a:xfrm>
            <a:off x="1313335" y="4695128"/>
            <a:ext cx="9561282" cy="4135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26736AE1-234E-4213-95CC-05B8AAAE25B9}"/>
              </a:ext>
            </a:extLst>
          </p:cNvPr>
          <p:cNvSpPr/>
          <p:nvPr/>
        </p:nvSpPr>
        <p:spPr bwMode="auto">
          <a:xfrm>
            <a:off x="1507437" y="4601857"/>
            <a:ext cx="764423" cy="93271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CB240EB2-0245-4BCF-9600-F527D3115425}"/>
              </a:ext>
            </a:extLst>
          </p:cNvPr>
          <p:cNvSpPr/>
          <p:nvPr/>
        </p:nvSpPr>
        <p:spPr bwMode="auto">
          <a:xfrm>
            <a:off x="2271860" y="4465337"/>
            <a:ext cx="764423" cy="229791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AD5B9086-A006-4F94-A5AA-9348A58C332C}"/>
              </a:ext>
            </a:extLst>
          </p:cNvPr>
          <p:cNvSpPr/>
          <p:nvPr/>
        </p:nvSpPr>
        <p:spPr bwMode="auto">
          <a:xfrm>
            <a:off x="3036283" y="4368970"/>
            <a:ext cx="764423" cy="326157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B1DB7D7-F84A-4181-889E-9B47BB04FC2A}"/>
              </a:ext>
            </a:extLst>
          </p:cNvPr>
          <p:cNvSpPr/>
          <p:nvPr/>
        </p:nvSpPr>
        <p:spPr bwMode="auto">
          <a:xfrm>
            <a:off x="3800706" y="4200329"/>
            <a:ext cx="764423" cy="494798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6007ED6C-8358-4F9C-9983-04FB75797D77}"/>
              </a:ext>
            </a:extLst>
          </p:cNvPr>
          <p:cNvSpPr/>
          <p:nvPr/>
        </p:nvSpPr>
        <p:spPr bwMode="auto">
          <a:xfrm>
            <a:off x="4565129" y="4055777"/>
            <a:ext cx="764423" cy="639349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B1741FD0-6FA2-41C2-99F4-05D8135259FA}"/>
              </a:ext>
            </a:extLst>
          </p:cNvPr>
          <p:cNvSpPr/>
          <p:nvPr/>
        </p:nvSpPr>
        <p:spPr bwMode="auto">
          <a:xfrm>
            <a:off x="5329552" y="3895166"/>
            <a:ext cx="764423" cy="799961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B80904ED-AA6D-4E84-AAC6-BB086A73EC82}"/>
              </a:ext>
            </a:extLst>
          </p:cNvPr>
          <p:cNvSpPr/>
          <p:nvPr/>
        </p:nvSpPr>
        <p:spPr bwMode="auto">
          <a:xfrm>
            <a:off x="6093975" y="3782739"/>
            <a:ext cx="764423" cy="912388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840436C7-BFD2-4BDD-ADCC-1CB11ADB69AD}"/>
              </a:ext>
            </a:extLst>
          </p:cNvPr>
          <p:cNvSpPr/>
          <p:nvPr/>
        </p:nvSpPr>
        <p:spPr bwMode="auto">
          <a:xfrm>
            <a:off x="6858398" y="3525760"/>
            <a:ext cx="764423" cy="1169367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EF3581F8-42C2-4743-9B13-8CFEDA6A372F}"/>
              </a:ext>
            </a:extLst>
          </p:cNvPr>
          <p:cNvSpPr/>
          <p:nvPr/>
        </p:nvSpPr>
        <p:spPr bwMode="auto">
          <a:xfrm>
            <a:off x="7622821" y="3271145"/>
            <a:ext cx="764423" cy="1423982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E7C777FE-21EF-4FF6-8F25-AA3D37C270DE}"/>
              </a:ext>
            </a:extLst>
          </p:cNvPr>
          <p:cNvSpPr/>
          <p:nvPr/>
        </p:nvSpPr>
        <p:spPr bwMode="auto">
          <a:xfrm>
            <a:off x="8387244" y="2931498"/>
            <a:ext cx="764423" cy="1763629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21EA8598-A093-4C21-8B25-496DB7807C4C}"/>
              </a:ext>
            </a:extLst>
          </p:cNvPr>
          <p:cNvSpPr/>
          <p:nvPr/>
        </p:nvSpPr>
        <p:spPr bwMode="auto">
          <a:xfrm>
            <a:off x="9151667" y="2578153"/>
            <a:ext cx="764423" cy="2116975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B4E5F556-8B5B-4F31-A5C1-8AB1BDD035AF}"/>
              </a:ext>
            </a:extLst>
          </p:cNvPr>
          <p:cNvSpPr/>
          <p:nvPr/>
        </p:nvSpPr>
        <p:spPr bwMode="auto">
          <a:xfrm>
            <a:off x="9916090" y="2240868"/>
            <a:ext cx="764423" cy="2454259"/>
          </a:xfrm>
          <a:custGeom>
            <a:avLst/>
            <a:gdLst>
              <a:gd name="T0" fmla="*/ 648 w 648"/>
              <a:gd name="T1" fmla="*/ 1082 h 1082"/>
              <a:gd name="T2" fmla="*/ 0 w 648"/>
              <a:gd name="T3" fmla="*/ 1082 h 1082"/>
              <a:gd name="T4" fmla="*/ 140 w 648"/>
              <a:gd name="T5" fmla="*/ 919 h 1082"/>
              <a:gd name="T6" fmla="*/ 324 w 648"/>
              <a:gd name="T7" fmla="*/ 0 h 1082"/>
              <a:gd name="T8" fmla="*/ 508 w 648"/>
              <a:gd name="T9" fmla="*/ 919 h 1082"/>
              <a:gd name="T10" fmla="*/ 648 w 648"/>
              <a:gd name="T11" fmla="*/ 1082 h 10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48" h="1082">
                <a:moveTo>
                  <a:pt x="648" y="1082"/>
                </a:moveTo>
                <a:cubicBezTo>
                  <a:pt x="0" y="1082"/>
                  <a:pt x="0" y="1082"/>
                  <a:pt x="0" y="1082"/>
                </a:cubicBezTo>
                <a:cubicBezTo>
                  <a:pt x="4" y="1082"/>
                  <a:pt x="98" y="1080"/>
                  <a:pt x="140" y="919"/>
                </a:cubicBezTo>
                <a:cubicBezTo>
                  <a:pt x="182" y="755"/>
                  <a:pt x="223" y="0"/>
                  <a:pt x="324" y="0"/>
                </a:cubicBezTo>
                <a:cubicBezTo>
                  <a:pt x="425" y="0"/>
                  <a:pt x="466" y="755"/>
                  <a:pt x="508" y="919"/>
                </a:cubicBezTo>
                <a:cubicBezTo>
                  <a:pt x="550" y="1080"/>
                  <a:pt x="644" y="1082"/>
                  <a:pt x="648" y="108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泪滴形 18">
            <a:extLst>
              <a:ext uri="{FF2B5EF4-FFF2-40B4-BE49-F238E27FC236}">
                <a16:creationId xmlns:a16="http://schemas.microsoft.com/office/drawing/2014/main" id="{FD4440E6-DFCE-41DF-80DF-66BE245E468A}"/>
              </a:ext>
            </a:extLst>
          </p:cNvPr>
          <p:cNvSpPr/>
          <p:nvPr/>
        </p:nvSpPr>
        <p:spPr>
          <a:xfrm rot="8100000">
            <a:off x="1660427" y="3850054"/>
            <a:ext cx="458437" cy="458438"/>
          </a:xfrm>
          <a:prstGeom prst="teardrop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1AE6CA12-9C29-47BC-B5D1-7BC0685FB51B}"/>
              </a:ext>
            </a:extLst>
          </p:cNvPr>
          <p:cNvSpPr txBox="1"/>
          <p:nvPr/>
        </p:nvSpPr>
        <p:spPr>
          <a:xfrm>
            <a:off x="1668628" y="3933395"/>
            <a:ext cx="413896" cy="307777"/>
          </a:xfrm>
          <a:prstGeom prst="rect">
            <a:avLst/>
          </a:prstGeom>
          <a:noFill/>
        </p:spPr>
        <p:txBody>
          <a:bodyPr wrap="none" anchor="ctr" anchorCtr="0">
            <a:normAutofit/>
          </a:bodyPr>
          <a:lstStyle/>
          <a:p>
            <a:pPr algn="ctr"/>
            <a:r>
              <a:rPr lang="en-AU" sz="1400" b="1" dirty="0">
                <a:solidFill>
                  <a:schemeClr val="bg1"/>
                </a:solidFill>
                <a:cs typeface="+mn-ea"/>
                <a:sym typeface="+mn-lt"/>
              </a:rPr>
              <a:t>1K</a:t>
            </a:r>
          </a:p>
        </p:txBody>
      </p:sp>
      <p:sp>
        <p:nvSpPr>
          <p:cNvPr id="21" name="泪滴形 20">
            <a:extLst>
              <a:ext uri="{FF2B5EF4-FFF2-40B4-BE49-F238E27FC236}">
                <a16:creationId xmlns:a16="http://schemas.microsoft.com/office/drawing/2014/main" id="{434F2A86-5058-4770-B3C6-42F09888DA16}"/>
              </a:ext>
            </a:extLst>
          </p:cNvPr>
          <p:cNvSpPr/>
          <p:nvPr/>
        </p:nvSpPr>
        <p:spPr>
          <a:xfrm rot="8100000">
            <a:off x="10069083" y="1468342"/>
            <a:ext cx="458437" cy="458438"/>
          </a:xfrm>
          <a:prstGeom prst="teardrop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DAD5767B-07EC-42F7-B064-BAD9389A0520}"/>
              </a:ext>
            </a:extLst>
          </p:cNvPr>
          <p:cNvSpPr txBox="1"/>
          <p:nvPr/>
        </p:nvSpPr>
        <p:spPr>
          <a:xfrm>
            <a:off x="10091352" y="1537615"/>
            <a:ext cx="413896" cy="307777"/>
          </a:xfrm>
          <a:prstGeom prst="rect">
            <a:avLst/>
          </a:prstGeom>
          <a:noFill/>
        </p:spPr>
        <p:txBody>
          <a:bodyPr wrap="none" anchor="ctr" anchorCtr="0">
            <a:normAutofit/>
          </a:bodyPr>
          <a:lstStyle/>
          <a:p>
            <a:pPr algn="ctr"/>
            <a:r>
              <a:rPr lang="en-AU" sz="1400" b="1">
                <a:solidFill>
                  <a:schemeClr val="bg1"/>
                </a:solidFill>
                <a:cs typeface="+mn-ea"/>
                <a:sym typeface="+mn-lt"/>
              </a:rPr>
              <a:t>9K</a:t>
            </a: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F21D5BFE-29ED-4045-AAF8-C7D3D49D40C3}"/>
              </a:ext>
            </a:extLst>
          </p:cNvPr>
          <p:cNvSpPr/>
          <p:nvPr/>
        </p:nvSpPr>
        <p:spPr>
          <a:xfrm>
            <a:off x="1067552" y="5171947"/>
            <a:ext cx="503041" cy="50304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591EC006-7D85-4F36-9D27-B8B17196E15F}"/>
              </a:ext>
            </a:extLst>
          </p:cNvPr>
          <p:cNvSpPr txBox="1"/>
          <p:nvPr/>
        </p:nvSpPr>
        <p:spPr bwMode="auto">
          <a:xfrm>
            <a:off x="1570593" y="5229669"/>
            <a:ext cx="114925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1A979978-8F7B-46F0-A904-D203C39D9E42}"/>
              </a:ext>
            </a:extLst>
          </p:cNvPr>
          <p:cNvSpPr/>
          <p:nvPr/>
        </p:nvSpPr>
        <p:spPr>
          <a:xfrm>
            <a:off x="2748472" y="5171947"/>
            <a:ext cx="503041" cy="50304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A8B24AA7-0000-4FEA-832C-7E992B14A5C8}"/>
              </a:ext>
            </a:extLst>
          </p:cNvPr>
          <p:cNvSpPr txBox="1"/>
          <p:nvPr/>
        </p:nvSpPr>
        <p:spPr bwMode="auto">
          <a:xfrm>
            <a:off x="3251513" y="5229669"/>
            <a:ext cx="114925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414F421A-3D96-45D7-B1F5-475B448F170E}"/>
              </a:ext>
            </a:extLst>
          </p:cNvPr>
          <p:cNvSpPr/>
          <p:nvPr/>
        </p:nvSpPr>
        <p:spPr>
          <a:xfrm>
            <a:off x="4429392" y="5171947"/>
            <a:ext cx="503041" cy="50304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5ED5451D-CCCB-455B-AFF1-487F87DD13A1}"/>
              </a:ext>
            </a:extLst>
          </p:cNvPr>
          <p:cNvSpPr txBox="1"/>
          <p:nvPr/>
        </p:nvSpPr>
        <p:spPr bwMode="auto">
          <a:xfrm>
            <a:off x="4932433" y="5229669"/>
            <a:ext cx="114925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6FB80E92-0EDF-4559-A7C6-53C2D15E5D0C}"/>
              </a:ext>
            </a:extLst>
          </p:cNvPr>
          <p:cNvSpPr/>
          <p:nvPr/>
        </p:nvSpPr>
        <p:spPr>
          <a:xfrm>
            <a:off x="6110312" y="5171947"/>
            <a:ext cx="503041" cy="50304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E85FD022-8CF9-44A9-8178-2764FAFA2AB8}"/>
              </a:ext>
            </a:extLst>
          </p:cNvPr>
          <p:cNvSpPr txBox="1"/>
          <p:nvPr/>
        </p:nvSpPr>
        <p:spPr bwMode="auto">
          <a:xfrm>
            <a:off x="6613353" y="5229669"/>
            <a:ext cx="114925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E1551A7C-17B8-4AE1-9E73-BE6EC1386E65}"/>
              </a:ext>
            </a:extLst>
          </p:cNvPr>
          <p:cNvSpPr/>
          <p:nvPr/>
        </p:nvSpPr>
        <p:spPr>
          <a:xfrm>
            <a:off x="7791232" y="5171947"/>
            <a:ext cx="503041" cy="50304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729E9B16-4CCE-4708-8F9F-341091976C66}"/>
              </a:ext>
            </a:extLst>
          </p:cNvPr>
          <p:cNvSpPr txBox="1"/>
          <p:nvPr/>
        </p:nvSpPr>
        <p:spPr bwMode="auto">
          <a:xfrm>
            <a:off x="8294274" y="5229669"/>
            <a:ext cx="114925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CA363707-D3DB-4E9A-9B2B-5668454E5B51}"/>
              </a:ext>
            </a:extLst>
          </p:cNvPr>
          <p:cNvSpPr/>
          <p:nvPr/>
        </p:nvSpPr>
        <p:spPr>
          <a:xfrm>
            <a:off x="9472153" y="5171947"/>
            <a:ext cx="503041" cy="5030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9878912A-B53B-415D-9393-618B176457FE}"/>
              </a:ext>
            </a:extLst>
          </p:cNvPr>
          <p:cNvSpPr txBox="1"/>
          <p:nvPr/>
        </p:nvSpPr>
        <p:spPr bwMode="auto">
          <a:xfrm>
            <a:off x="9975194" y="5229669"/>
            <a:ext cx="114925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6339501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69925" y="4796781"/>
            <a:ext cx="1168139" cy="101565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088339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2395CD1A-8A97-44B0-A604-38A479DA05C2}"/>
              </a:ext>
            </a:extLst>
          </p:cNvPr>
          <p:cNvGrpSpPr/>
          <p:nvPr/>
        </p:nvGrpSpPr>
        <p:grpSpPr>
          <a:xfrm>
            <a:off x="5663955" y="1981823"/>
            <a:ext cx="5650146" cy="2897720"/>
            <a:chOff x="6846586" y="872610"/>
            <a:chExt cx="1559904" cy="1077720"/>
          </a:xfrm>
        </p:grpSpPr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BD2F2051-5925-4F74-984D-75E020DB3093}"/>
                </a:ext>
              </a:extLst>
            </p:cNvPr>
            <p:cNvSpPr/>
            <p:nvPr/>
          </p:nvSpPr>
          <p:spPr bwMode="auto">
            <a:xfrm>
              <a:off x="6846586" y="1012948"/>
              <a:ext cx="277076" cy="937381"/>
            </a:xfrm>
            <a:custGeom>
              <a:avLst/>
              <a:gdLst>
                <a:gd name="T0" fmla="*/ 83 w 154"/>
                <a:gd name="T1" fmla="*/ 0 h 521"/>
                <a:gd name="T2" fmla="*/ 71 w 154"/>
                <a:gd name="T3" fmla="*/ 0 h 521"/>
                <a:gd name="T4" fmla="*/ 71 w 154"/>
                <a:gd name="T5" fmla="*/ 74 h 521"/>
                <a:gd name="T6" fmla="*/ 0 w 154"/>
                <a:gd name="T7" fmla="*/ 74 h 521"/>
                <a:gd name="T8" fmla="*/ 0 w 154"/>
                <a:gd name="T9" fmla="*/ 521 h 521"/>
                <a:gd name="T10" fmla="*/ 154 w 154"/>
                <a:gd name="T11" fmla="*/ 521 h 521"/>
                <a:gd name="T12" fmla="*/ 107 w 154"/>
                <a:gd name="T13" fmla="*/ 521 h 521"/>
                <a:gd name="T14" fmla="*/ 107 w 154"/>
                <a:gd name="T15" fmla="*/ 232 h 521"/>
                <a:gd name="T16" fmla="*/ 147 w 154"/>
                <a:gd name="T17" fmla="*/ 232 h 521"/>
                <a:gd name="T18" fmla="*/ 147 w 154"/>
                <a:gd name="T19" fmla="*/ 204 h 521"/>
                <a:gd name="T20" fmla="*/ 154 w 154"/>
                <a:gd name="T21" fmla="*/ 204 h 521"/>
                <a:gd name="T22" fmla="*/ 154 w 154"/>
                <a:gd name="T23" fmla="*/ 74 h 521"/>
                <a:gd name="T24" fmla="*/ 83 w 154"/>
                <a:gd name="T25" fmla="*/ 74 h 521"/>
                <a:gd name="T26" fmla="*/ 83 w 154"/>
                <a:gd name="T27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4" h="521">
                  <a:moveTo>
                    <a:pt x="83" y="0"/>
                  </a:moveTo>
                  <a:lnTo>
                    <a:pt x="71" y="0"/>
                  </a:lnTo>
                  <a:lnTo>
                    <a:pt x="71" y="74"/>
                  </a:lnTo>
                  <a:lnTo>
                    <a:pt x="0" y="74"/>
                  </a:lnTo>
                  <a:lnTo>
                    <a:pt x="0" y="521"/>
                  </a:lnTo>
                  <a:lnTo>
                    <a:pt x="154" y="521"/>
                  </a:lnTo>
                  <a:lnTo>
                    <a:pt x="107" y="521"/>
                  </a:lnTo>
                  <a:lnTo>
                    <a:pt x="107" y="232"/>
                  </a:lnTo>
                  <a:lnTo>
                    <a:pt x="147" y="232"/>
                  </a:lnTo>
                  <a:lnTo>
                    <a:pt x="147" y="204"/>
                  </a:lnTo>
                  <a:lnTo>
                    <a:pt x="154" y="204"/>
                  </a:lnTo>
                  <a:lnTo>
                    <a:pt x="154" y="74"/>
                  </a:lnTo>
                  <a:lnTo>
                    <a:pt x="83" y="74"/>
                  </a:lnTo>
                  <a:lnTo>
                    <a:pt x="83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4C06C5C2-3BF2-4626-B744-C5AD09EB1AE6}"/>
                </a:ext>
              </a:extLst>
            </p:cNvPr>
            <p:cNvSpPr/>
            <p:nvPr/>
          </p:nvSpPr>
          <p:spPr bwMode="auto">
            <a:xfrm>
              <a:off x="6846586" y="1012948"/>
              <a:ext cx="277076" cy="937381"/>
            </a:xfrm>
            <a:custGeom>
              <a:avLst/>
              <a:gdLst>
                <a:gd name="T0" fmla="*/ 83 w 154"/>
                <a:gd name="T1" fmla="*/ 0 h 521"/>
                <a:gd name="T2" fmla="*/ 71 w 154"/>
                <a:gd name="T3" fmla="*/ 0 h 521"/>
                <a:gd name="T4" fmla="*/ 71 w 154"/>
                <a:gd name="T5" fmla="*/ 74 h 521"/>
                <a:gd name="T6" fmla="*/ 0 w 154"/>
                <a:gd name="T7" fmla="*/ 74 h 521"/>
                <a:gd name="T8" fmla="*/ 0 w 154"/>
                <a:gd name="T9" fmla="*/ 521 h 521"/>
                <a:gd name="T10" fmla="*/ 154 w 154"/>
                <a:gd name="T11" fmla="*/ 521 h 521"/>
                <a:gd name="T12" fmla="*/ 107 w 154"/>
                <a:gd name="T13" fmla="*/ 521 h 521"/>
                <a:gd name="T14" fmla="*/ 107 w 154"/>
                <a:gd name="T15" fmla="*/ 232 h 521"/>
                <a:gd name="T16" fmla="*/ 147 w 154"/>
                <a:gd name="T17" fmla="*/ 232 h 521"/>
                <a:gd name="T18" fmla="*/ 147 w 154"/>
                <a:gd name="T19" fmla="*/ 204 h 521"/>
                <a:gd name="T20" fmla="*/ 154 w 154"/>
                <a:gd name="T21" fmla="*/ 204 h 521"/>
                <a:gd name="T22" fmla="*/ 154 w 154"/>
                <a:gd name="T23" fmla="*/ 74 h 521"/>
                <a:gd name="T24" fmla="*/ 83 w 154"/>
                <a:gd name="T25" fmla="*/ 74 h 521"/>
                <a:gd name="T26" fmla="*/ 83 w 154"/>
                <a:gd name="T27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4" h="521">
                  <a:moveTo>
                    <a:pt x="83" y="0"/>
                  </a:moveTo>
                  <a:lnTo>
                    <a:pt x="71" y="0"/>
                  </a:lnTo>
                  <a:lnTo>
                    <a:pt x="71" y="74"/>
                  </a:lnTo>
                  <a:lnTo>
                    <a:pt x="0" y="74"/>
                  </a:lnTo>
                  <a:lnTo>
                    <a:pt x="0" y="521"/>
                  </a:lnTo>
                  <a:lnTo>
                    <a:pt x="154" y="521"/>
                  </a:lnTo>
                  <a:lnTo>
                    <a:pt x="107" y="521"/>
                  </a:lnTo>
                  <a:lnTo>
                    <a:pt x="107" y="232"/>
                  </a:lnTo>
                  <a:lnTo>
                    <a:pt x="147" y="232"/>
                  </a:lnTo>
                  <a:lnTo>
                    <a:pt x="147" y="204"/>
                  </a:lnTo>
                  <a:lnTo>
                    <a:pt x="154" y="204"/>
                  </a:lnTo>
                  <a:lnTo>
                    <a:pt x="154" y="74"/>
                  </a:lnTo>
                  <a:lnTo>
                    <a:pt x="83" y="74"/>
                  </a:lnTo>
                  <a:lnTo>
                    <a:pt x="8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61A04022-4E70-497F-AFA9-4D4D319E50F4}"/>
                </a:ext>
              </a:extLst>
            </p:cNvPr>
            <p:cNvSpPr/>
            <p:nvPr/>
          </p:nvSpPr>
          <p:spPr bwMode="auto">
            <a:xfrm>
              <a:off x="7553670" y="1417767"/>
              <a:ext cx="39582" cy="152932"/>
            </a:xfrm>
            <a:custGeom>
              <a:avLst/>
              <a:gdLst>
                <a:gd name="T0" fmla="*/ 22 w 22"/>
                <a:gd name="T1" fmla="*/ 0 h 85"/>
                <a:gd name="T2" fmla="*/ 0 w 22"/>
                <a:gd name="T3" fmla="*/ 0 h 85"/>
                <a:gd name="T4" fmla="*/ 0 w 22"/>
                <a:gd name="T5" fmla="*/ 64 h 85"/>
                <a:gd name="T6" fmla="*/ 17 w 22"/>
                <a:gd name="T7" fmla="*/ 64 h 85"/>
                <a:gd name="T8" fmla="*/ 17 w 22"/>
                <a:gd name="T9" fmla="*/ 85 h 85"/>
                <a:gd name="T10" fmla="*/ 22 w 22"/>
                <a:gd name="T11" fmla="*/ 85 h 85"/>
                <a:gd name="T12" fmla="*/ 22 w 22"/>
                <a:gd name="T1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85">
                  <a:moveTo>
                    <a:pt x="22" y="0"/>
                  </a:moveTo>
                  <a:lnTo>
                    <a:pt x="0" y="0"/>
                  </a:lnTo>
                  <a:lnTo>
                    <a:pt x="0" y="64"/>
                  </a:lnTo>
                  <a:lnTo>
                    <a:pt x="17" y="64"/>
                  </a:lnTo>
                  <a:lnTo>
                    <a:pt x="17" y="85"/>
                  </a:lnTo>
                  <a:lnTo>
                    <a:pt x="22" y="85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4340D419-A8AC-4B6C-8E15-9ECA57F75436}"/>
                </a:ext>
              </a:extLst>
            </p:cNvPr>
            <p:cNvSpPr/>
            <p:nvPr/>
          </p:nvSpPr>
          <p:spPr bwMode="auto">
            <a:xfrm>
              <a:off x="7553670" y="1417767"/>
              <a:ext cx="39582" cy="152932"/>
            </a:xfrm>
            <a:custGeom>
              <a:avLst/>
              <a:gdLst>
                <a:gd name="T0" fmla="*/ 22 w 22"/>
                <a:gd name="T1" fmla="*/ 0 h 85"/>
                <a:gd name="T2" fmla="*/ 0 w 22"/>
                <a:gd name="T3" fmla="*/ 0 h 85"/>
                <a:gd name="T4" fmla="*/ 0 w 22"/>
                <a:gd name="T5" fmla="*/ 64 h 85"/>
                <a:gd name="T6" fmla="*/ 17 w 22"/>
                <a:gd name="T7" fmla="*/ 64 h 85"/>
                <a:gd name="T8" fmla="*/ 17 w 22"/>
                <a:gd name="T9" fmla="*/ 85 h 85"/>
                <a:gd name="T10" fmla="*/ 22 w 22"/>
                <a:gd name="T11" fmla="*/ 85 h 85"/>
                <a:gd name="T12" fmla="*/ 22 w 22"/>
                <a:gd name="T13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85">
                  <a:moveTo>
                    <a:pt x="22" y="0"/>
                  </a:moveTo>
                  <a:lnTo>
                    <a:pt x="0" y="0"/>
                  </a:lnTo>
                  <a:lnTo>
                    <a:pt x="0" y="64"/>
                  </a:lnTo>
                  <a:lnTo>
                    <a:pt x="17" y="64"/>
                  </a:lnTo>
                  <a:lnTo>
                    <a:pt x="17" y="85"/>
                  </a:lnTo>
                  <a:lnTo>
                    <a:pt x="22" y="85"/>
                  </a:lnTo>
                  <a:lnTo>
                    <a:pt x="22" y="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4921AFE-6BB3-4101-9901-E2DBF5E645C3}"/>
                </a:ext>
              </a:extLst>
            </p:cNvPr>
            <p:cNvSpPr/>
            <p:nvPr/>
          </p:nvSpPr>
          <p:spPr bwMode="auto">
            <a:xfrm>
              <a:off x="7192032" y="1435759"/>
              <a:ext cx="341847" cy="514570"/>
            </a:xfrm>
            <a:custGeom>
              <a:avLst/>
              <a:gdLst>
                <a:gd name="T0" fmla="*/ 104 w 190"/>
                <a:gd name="T1" fmla="*/ 0 h 286"/>
                <a:gd name="T2" fmla="*/ 85 w 190"/>
                <a:gd name="T3" fmla="*/ 0 h 286"/>
                <a:gd name="T4" fmla="*/ 85 w 190"/>
                <a:gd name="T5" fmla="*/ 38 h 286"/>
                <a:gd name="T6" fmla="*/ 57 w 190"/>
                <a:gd name="T7" fmla="*/ 38 h 286"/>
                <a:gd name="T8" fmla="*/ 57 w 190"/>
                <a:gd name="T9" fmla="*/ 99 h 286"/>
                <a:gd name="T10" fmla="*/ 43 w 190"/>
                <a:gd name="T11" fmla="*/ 99 h 286"/>
                <a:gd name="T12" fmla="*/ 43 w 190"/>
                <a:gd name="T13" fmla="*/ 286 h 286"/>
                <a:gd name="T14" fmla="*/ 0 w 190"/>
                <a:gd name="T15" fmla="*/ 286 h 286"/>
                <a:gd name="T16" fmla="*/ 190 w 190"/>
                <a:gd name="T17" fmla="*/ 286 h 286"/>
                <a:gd name="T18" fmla="*/ 154 w 190"/>
                <a:gd name="T19" fmla="*/ 286 h 286"/>
                <a:gd name="T20" fmla="*/ 154 w 190"/>
                <a:gd name="T21" fmla="*/ 99 h 286"/>
                <a:gd name="T22" fmla="*/ 133 w 190"/>
                <a:gd name="T23" fmla="*/ 99 h 286"/>
                <a:gd name="T24" fmla="*/ 133 w 190"/>
                <a:gd name="T25" fmla="*/ 38 h 286"/>
                <a:gd name="T26" fmla="*/ 104 w 190"/>
                <a:gd name="T27" fmla="*/ 38 h 286"/>
                <a:gd name="T28" fmla="*/ 104 w 190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286">
                  <a:moveTo>
                    <a:pt x="104" y="0"/>
                  </a:moveTo>
                  <a:lnTo>
                    <a:pt x="85" y="0"/>
                  </a:lnTo>
                  <a:lnTo>
                    <a:pt x="85" y="38"/>
                  </a:lnTo>
                  <a:lnTo>
                    <a:pt x="57" y="38"/>
                  </a:lnTo>
                  <a:lnTo>
                    <a:pt x="57" y="99"/>
                  </a:lnTo>
                  <a:lnTo>
                    <a:pt x="43" y="99"/>
                  </a:lnTo>
                  <a:lnTo>
                    <a:pt x="43" y="286"/>
                  </a:lnTo>
                  <a:lnTo>
                    <a:pt x="0" y="286"/>
                  </a:lnTo>
                  <a:lnTo>
                    <a:pt x="190" y="286"/>
                  </a:lnTo>
                  <a:lnTo>
                    <a:pt x="154" y="286"/>
                  </a:lnTo>
                  <a:lnTo>
                    <a:pt x="154" y="99"/>
                  </a:lnTo>
                  <a:lnTo>
                    <a:pt x="133" y="99"/>
                  </a:lnTo>
                  <a:lnTo>
                    <a:pt x="133" y="38"/>
                  </a:lnTo>
                  <a:lnTo>
                    <a:pt x="104" y="38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80536103-E4C1-45F5-9E8D-CEC5C0971DC6}"/>
                </a:ext>
              </a:extLst>
            </p:cNvPr>
            <p:cNvSpPr/>
            <p:nvPr/>
          </p:nvSpPr>
          <p:spPr bwMode="auto">
            <a:xfrm>
              <a:off x="7192032" y="1435759"/>
              <a:ext cx="341847" cy="514570"/>
            </a:xfrm>
            <a:custGeom>
              <a:avLst/>
              <a:gdLst>
                <a:gd name="T0" fmla="*/ 104 w 190"/>
                <a:gd name="T1" fmla="*/ 0 h 286"/>
                <a:gd name="T2" fmla="*/ 85 w 190"/>
                <a:gd name="T3" fmla="*/ 0 h 286"/>
                <a:gd name="T4" fmla="*/ 85 w 190"/>
                <a:gd name="T5" fmla="*/ 38 h 286"/>
                <a:gd name="T6" fmla="*/ 57 w 190"/>
                <a:gd name="T7" fmla="*/ 38 h 286"/>
                <a:gd name="T8" fmla="*/ 57 w 190"/>
                <a:gd name="T9" fmla="*/ 99 h 286"/>
                <a:gd name="T10" fmla="*/ 43 w 190"/>
                <a:gd name="T11" fmla="*/ 99 h 286"/>
                <a:gd name="T12" fmla="*/ 43 w 190"/>
                <a:gd name="T13" fmla="*/ 286 h 286"/>
                <a:gd name="T14" fmla="*/ 0 w 190"/>
                <a:gd name="T15" fmla="*/ 286 h 286"/>
                <a:gd name="T16" fmla="*/ 190 w 190"/>
                <a:gd name="T17" fmla="*/ 286 h 286"/>
                <a:gd name="T18" fmla="*/ 154 w 190"/>
                <a:gd name="T19" fmla="*/ 286 h 286"/>
                <a:gd name="T20" fmla="*/ 154 w 190"/>
                <a:gd name="T21" fmla="*/ 99 h 286"/>
                <a:gd name="T22" fmla="*/ 133 w 190"/>
                <a:gd name="T23" fmla="*/ 99 h 286"/>
                <a:gd name="T24" fmla="*/ 133 w 190"/>
                <a:gd name="T25" fmla="*/ 38 h 286"/>
                <a:gd name="T26" fmla="*/ 104 w 190"/>
                <a:gd name="T27" fmla="*/ 38 h 286"/>
                <a:gd name="T28" fmla="*/ 104 w 190"/>
                <a:gd name="T29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0" h="286">
                  <a:moveTo>
                    <a:pt x="104" y="0"/>
                  </a:moveTo>
                  <a:lnTo>
                    <a:pt x="85" y="0"/>
                  </a:lnTo>
                  <a:lnTo>
                    <a:pt x="85" y="38"/>
                  </a:lnTo>
                  <a:lnTo>
                    <a:pt x="57" y="38"/>
                  </a:lnTo>
                  <a:lnTo>
                    <a:pt x="57" y="99"/>
                  </a:lnTo>
                  <a:lnTo>
                    <a:pt x="43" y="99"/>
                  </a:lnTo>
                  <a:lnTo>
                    <a:pt x="43" y="286"/>
                  </a:lnTo>
                  <a:lnTo>
                    <a:pt x="0" y="286"/>
                  </a:lnTo>
                  <a:lnTo>
                    <a:pt x="190" y="286"/>
                  </a:lnTo>
                  <a:lnTo>
                    <a:pt x="154" y="286"/>
                  </a:lnTo>
                  <a:lnTo>
                    <a:pt x="154" y="99"/>
                  </a:lnTo>
                  <a:lnTo>
                    <a:pt x="133" y="99"/>
                  </a:lnTo>
                  <a:lnTo>
                    <a:pt x="133" y="38"/>
                  </a:lnTo>
                  <a:lnTo>
                    <a:pt x="104" y="38"/>
                  </a:lnTo>
                  <a:lnTo>
                    <a:pt x="10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8672F8C3-7E13-4173-BD76-392FA3377952}"/>
                </a:ext>
              </a:extLst>
            </p:cNvPr>
            <p:cNvSpPr/>
            <p:nvPr/>
          </p:nvSpPr>
          <p:spPr bwMode="auto">
            <a:xfrm>
              <a:off x="8057446" y="1209060"/>
              <a:ext cx="349044" cy="741269"/>
            </a:xfrm>
            <a:custGeom>
              <a:avLst/>
              <a:gdLst>
                <a:gd name="T0" fmla="*/ 106 w 194"/>
                <a:gd name="T1" fmla="*/ 0 h 412"/>
                <a:gd name="T2" fmla="*/ 87 w 194"/>
                <a:gd name="T3" fmla="*/ 0 h 412"/>
                <a:gd name="T4" fmla="*/ 87 w 194"/>
                <a:gd name="T5" fmla="*/ 55 h 412"/>
                <a:gd name="T6" fmla="*/ 59 w 194"/>
                <a:gd name="T7" fmla="*/ 55 h 412"/>
                <a:gd name="T8" fmla="*/ 59 w 194"/>
                <a:gd name="T9" fmla="*/ 142 h 412"/>
                <a:gd name="T10" fmla="*/ 40 w 194"/>
                <a:gd name="T11" fmla="*/ 142 h 412"/>
                <a:gd name="T12" fmla="*/ 40 w 194"/>
                <a:gd name="T13" fmla="*/ 412 h 412"/>
                <a:gd name="T14" fmla="*/ 0 w 194"/>
                <a:gd name="T15" fmla="*/ 412 h 412"/>
                <a:gd name="T16" fmla="*/ 194 w 194"/>
                <a:gd name="T17" fmla="*/ 412 h 412"/>
                <a:gd name="T18" fmla="*/ 194 w 194"/>
                <a:gd name="T19" fmla="*/ 142 h 412"/>
                <a:gd name="T20" fmla="*/ 135 w 194"/>
                <a:gd name="T21" fmla="*/ 142 h 412"/>
                <a:gd name="T22" fmla="*/ 135 w 194"/>
                <a:gd name="T23" fmla="*/ 55 h 412"/>
                <a:gd name="T24" fmla="*/ 106 w 194"/>
                <a:gd name="T25" fmla="*/ 55 h 412"/>
                <a:gd name="T26" fmla="*/ 106 w 194"/>
                <a:gd name="T27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412">
                  <a:moveTo>
                    <a:pt x="106" y="0"/>
                  </a:moveTo>
                  <a:lnTo>
                    <a:pt x="87" y="0"/>
                  </a:lnTo>
                  <a:lnTo>
                    <a:pt x="87" y="55"/>
                  </a:lnTo>
                  <a:lnTo>
                    <a:pt x="59" y="55"/>
                  </a:lnTo>
                  <a:lnTo>
                    <a:pt x="59" y="142"/>
                  </a:lnTo>
                  <a:lnTo>
                    <a:pt x="40" y="142"/>
                  </a:lnTo>
                  <a:lnTo>
                    <a:pt x="40" y="412"/>
                  </a:lnTo>
                  <a:lnTo>
                    <a:pt x="0" y="412"/>
                  </a:lnTo>
                  <a:lnTo>
                    <a:pt x="194" y="412"/>
                  </a:lnTo>
                  <a:lnTo>
                    <a:pt x="194" y="142"/>
                  </a:lnTo>
                  <a:lnTo>
                    <a:pt x="135" y="142"/>
                  </a:lnTo>
                  <a:lnTo>
                    <a:pt x="135" y="55"/>
                  </a:lnTo>
                  <a:lnTo>
                    <a:pt x="106" y="55"/>
                  </a:lnTo>
                  <a:lnTo>
                    <a:pt x="10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842E4CD4-5FE6-430D-B7D1-04E8D8BFD7E5}"/>
                </a:ext>
              </a:extLst>
            </p:cNvPr>
            <p:cNvSpPr/>
            <p:nvPr/>
          </p:nvSpPr>
          <p:spPr bwMode="auto">
            <a:xfrm>
              <a:off x="8057446" y="1209060"/>
              <a:ext cx="349044" cy="741269"/>
            </a:xfrm>
            <a:custGeom>
              <a:avLst/>
              <a:gdLst>
                <a:gd name="T0" fmla="*/ 106 w 194"/>
                <a:gd name="T1" fmla="*/ 0 h 412"/>
                <a:gd name="T2" fmla="*/ 87 w 194"/>
                <a:gd name="T3" fmla="*/ 0 h 412"/>
                <a:gd name="T4" fmla="*/ 87 w 194"/>
                <a:gd name="T5" fmla="*/ 55 h 412"/>
                <a:gd name="T6" fmla="*/ 59 w 194"/>
                <a:gd name="T7" fmla="*/ 55 h 412"/>
                <a:gd name="T8" fmla="*/ 59 w 194"/>
                <a:gd name="T9" fmla="*/ 142 h 412"/>
                <a:gd name="T10" fmla="*/ 40 w 194"/>
                <a:gd name="T11" fmla="*/ 142 h 412"/>
                <a:gd name="T12" fmla="*/ 40 w 194"/>
                <a:gd name="T13" fmla="*/ 412 h 412"/>
                <a:gd name="T14" fmla="*/ 0 w 194"/>
                <a:gd name="T15" fmla="*/ 412 h 412"/>
                <a:gd name="T16" fmla="*/ 194 w 194"/>
                <a:gd name="T17" fmla="*/ 412 h 412"/>
                <a:gd name="T18" fmla="*/ 194 w 194"/>
                <a:gd name="T19" fmla="*/ 142 h 412"/>
                <a:gd name="T20" fmla="*/ 135 w 194"/>
                <a:gd name="T21" fmla="*/ 142 h 412"/>
                <a:gd name="T22" fmla="*/ 135 w 194"/>
                <a:gd name="T23" fmla="*/ 55 h 412"/>
                <a:gd name="T24" fmla="*/ 106 w 194"/>
                <a:gd name="T25" fmla="*/ 55 h 412"/>
                <a:gd name="T26" fmla="*/ 106 w 194"/>
                <a:gd name="T27" fmla="*/ 0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4" h="412">
                  <a:moveTo>
                    <a:pt x="106" y="0"/>
                  </a:moveTo>
                  <a:lnTo>
                    <a:pt x="87" y="0"/>
                  </a:lnTo>
                  <a:lnTo>
                    <a:pt x="87" y="55"/>
                  </a:lnTo>
                  <a:lnTo>
                    <a:pt x="59" y="55"/>
                  </a:lnTo>
                  <a:lnTo>
                    <a:pt x="59" y="142"/>
                  </a:lnTo>
                  <a:lnTo>
                    <a:pt x="40" y="142"/>
                  </a:lnTo>
                  <a:lnTo>
                    <a:pt x="40" y="412"/>
                  </a:lnTo>
                  <a:lnTo>
                    <a:pt x="0" y="412"/>
                  </a:lnTo>
                  <a:lnTo>
                    <a:pt x="194" y="412"/>
                  </a:lnTo>
                  <a:lnTo>
                    <a:pt x="194" y="142"/>
                  </a:lnTo>
                  <a:lnTo>
                    <a:pt x="135" y="142"/>
                  </a:lnTo>
                  <a:lnTo>
                    <a:pt x="135" y="55"/>
                  </a:lnTo>
                  <a:lnTo>
                    <a:pt x="106" y="55"/>
                  </a:lnTo>
                  <a:lnTo>
                    <a:pt x="10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DC50F812-AD2A-42B6-B109-39D95718F06D}"/>
                </a:ext>
              </a:extLst>
            </p:cNvPr>
            <p:cNvSpPr/>
            <p:nvPr/>
          </p:nvSpPr>
          <p:spPr bwMode="auto">
            <a:xfrm>
              <a:off x="7593253" y="872610"/>
              <a:ext cx="318458" cy="1077719"/>
            </a:xfrm>
            <a:custGeom>
              <a:avLst/>
              <a:gdLst>
                <a:gd name="T0" fmla="*/ 92 w 177"/>
                <a:gd name="T1" fmla="*/ 0 h 599"/>
                <a:gd name="T2" fmla="*/ 85 w 177"/>
                <a:gd name="T3" fmla="*/ 0 h 599"/>
                <a:gd name="T4" fmla="*/ 85 w 177"/>
                <a:gd name="T5" fmla="*/ 57 h 599"/>
                <a:gd name="T6" fmla="*/ 42 w 177"/>
                <a:gd name="T7" fmla="*/ 57 h 599"/>
                <a:gd name="T8" fmla="*/ 42 w 177"/>
                <a:gd name="T9" fmla="*/ 175 h 599"/>
                <a:gd name="T10" fmla="*/ 0 w 177"/>
                <a:gd name="T11" fmla="*/ 175 h 599"/>
                <a:gd name="T12" fmla="*/ 0 w 177"/>
                <a:gd name="T13" fmla="*/ 303 h 599"/>
                <a:gd name="T14" fmla="*/ 23 w 177"/>
                <a:gd name="T15" fmla="*/ 303 h 599"/>
                <a:gd name="T16" fmla="*/ 23 w 177"/>
                <a:gd name="T17" fmla="*/ 254 h 599"/>
                <a:gd name="T18" fmla="*/ 33 w 177"/>
                <a:gd name="T19" fmla="*/ 254 h 599"/>
                <a:gd name="T20" fmla="*/ 33 w 177"/>
                <a:gd name="T21" fmla="*/ 303 h 599"/>
                <a:gd name="T22" fmla="*/ 78 w 177"/>
                <a:gd name="T23" fmla="*/ 303 h 599"/>
                <a:gd name="T24" fmla="*/ 78 w 177"/>
                <a:gd name="T25" fmla="*/ 599 h 599"/>
                <a:gd name="T26" fmla="*/ 177 w 177"/>
                <a:gd name="T27" fmla="*/ 599 h 599"/>
                <a:gd name="T28" fmla="*/ 147 w 177"/>
                <a:gd name="T29" fmla="*/ 599 h 599"/>
                <a:gd name="T30" fmla="*/ 147 w 177"/>
                <a:gd name="T31" fmla="*/ 258 h 599"/>
                <a:gd name="T32" fmla="*/ 177 w 177"/>
                <a:gd name="T33" fmla="*/ 258 h 599"/>
                <a:gd name="T34" fmla="*/ 177 w 177"/>
                <a:gd name="T35" fmla="*/ 175 h 599"/>
                <a:gd name="T36" fmla="*/ 135 w 177"/>
                <a:gd name="T37" fmla="*/ 175 h 599"/>
                <a:gd name="T38" fmla="*/ 135 w 177"/>
                <a:gd name="T39" fmla="*/ 57 h 599"/>
                <a:gd name="T40" fmla="*/ 92 w 177"/>
                <a:gd name="T41" fmla="*/ 57 h 599"/>
                <a:gd name="T42" fmla="*/ 92 w 177"/>
                <a:gd name="T4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7" h="599">
                  <a:moveTo>
                    <a:pt x="92" y="0"/>
                  </a:moveTo>
                  <a:lnTo>
                    <a:pt x="85" y="0"/>
                  </a:lnTo>
                  <a:lnTo>
                    <a:pt x="85" y="57"/>
                  </a:lnTo>
                  <a:lnTo>
                    <a:pt x="42" y="57"/>
                  </a:lnTo>
                  <a:lnTo>
                    <a:pt x="42" y="175"/>
                  </a:lnTo>
                  <a:lnTo>
                    <a:pt x="0" y="175"/>
                  </a:lnTo>
                  <a:lnTo>
                    <a:pt x="0" y="303"/>
                  </a:lnTo>
                  <a:lnTo>
                    <a:pt x="23" y="303"/>
                  </a:lnTo>
                  <a:lnTo>
                    <a:pt x="23" y="254"/>
                  </a:lnTo>
                  <a:lnTo>
                    <a:pt x="33" y="254"/>
                  </a:lnTo>
                  <a:lnTo>
                    <a:pt x="33" y="303"/>
                  </a:lnTo>
                  <a:lnTo>
                    <a:pt x="78" y="303"/>
                  </a:lnTo>
                  <a:lnTo>
                    <a:pt x="78" y="599"/>
                  </a:lnTo>
                  <a:lnTo>
                    <a:pt x="177" y="599"/>
                  </a:lnTo>
                  <a:lnTo>
                    <a:pt x="147" y="599"/>
                  </a:lnTo>
                  <a:lnTo>
                    <a:pt x="147" y="258"/>
                  </a:lnTo>
                  <a:lnTo>
                    <a:pt x="177" y="258"/>
                  </a:lnTo>
                  <a:lnTo>
                    <a:pt x="177" y="175"/>
                  </a:lnTo>
                  <a:lnTo>
                    <a:pt x="135" y="175"/>
                  </a:lnTo>
                  <a:lnTo>
                    <a:pt x="135" y="57"/>
                  </a:lnTo>
                  <a:lnTo>
                    <a:pt x="92" y="57"/>
                  </a:lnTo>
                  <a:lnTo>
                    <a:pt x="92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597070BC-8944-48A8-A317-BE645FBDBEFF}"/>
                </a:ext>
              </a:extLst>
            </p:cNvPr>
            <p:cNvSpPr/>
            <p:nvPr/>
          </p:nvSpPr>
          <p:spPr bwMode="auto">
            <a:xfrm>
              <a:off x="7593253" y="872610"/>
              <a:ext cx="318458" cy="1077719"/>
            </a:xfrm>
            <a:custGeom>
              <a:avLst/>
              <a:gdLst>
                <a:gd name="T0" fmla="*/ 92 w 177"/>
                <a:gd name="T1" fmla="*/ 0 h 599"/>
                <a:gd name="T2" fmla="*/ 85 w 177"/>
                <a:gd name="T3" fmla="*/ 0 h 599"/>
                <a:gd name="T4" fmla="*/ 85 w 177"/>
                <a:gd name="T5" fmla="*/ 57 h 599"/>
                <a:gd name="T6" fmla="*/ 42 w 177"/>
                <a:gd name="T7" fmla="*/ 57 h 599"/>
                <a:gd name="T8" fmla="*/ 42 w 177"/>
                <a:gd name="T9" fmla="*/ 175 h 599"/>
                <a:gd name="T10" fmla="*/ 0 w 177"/>
                <a:gd name="T11" fmla="*/ 175 h 599"/>
                <a:gd name="T12" fmla="*/ 0 w 177"/>
                <a:gd name="T13" fmla="*/ 303 h 599"/>
                <a:gd name="T14" fmla="*/ 23 w 177"/>
                <a:gd name="T15" fmla="*/ 303 h 599"/>
                <a:gd name="T16" fmla="*/ 23 w 177"/>
                <a:gd name="T17" fmla="*/ 254 h 599"/>
                <a:gd name="T18" fmla="*/ 33 w 177"/>
                <a:gd name="T19" fmla="*/ 254 h 599"/>
                <a:gd name="T20" fmla="*/ 33 w 177"/>
                <a:gd name="T21" fmla="*/ 303 h 599"/>
                <a:gd name="T22" fmla="*/ 78 w 177"/>
                <a:gd name="T23" fmla="*/ 303 h 599"/>
                <a:gd name="T24" fmla="*/ 78 w 177"/>
                <a:gd name="T25" fmla="*/ 599 h 599"/>
                <a:gd name="T26" fmla="*/ 177 w 177"/>
                <a:gd name="T27" fmla="*/ 599 h 599"/>
                <a:gd name="T28" fmla="*/ 147 w 177"/>
                <a:gd name="T29" fmla="*/ 599 h 599"/>
                <a:gd name="T30" fmla="*/ 147 w 177"/>
                <a:gd name="T31" fmla="*/ 258 h 599"/>
                <a:gd name="T32" fmla="*/ 177 w 177"/>
                <a:gd name="T33" fmla="*/ 258 h 599"/>
                <a:gd name="T34" fmla="*/ 177 w 177"/>
                <a:gd name="T35" fmla="*/ 175 h 599"/>
                <a:gd name="T36" fmla="*/ 135 w 177"/>
                <a:gd name="T37" fmla="*/ 175 h 599"/>
                <a:gd name="T38" fmla="*/ 135 w 177"/>
                <a:gd name="T39" fmla="*/ 57 h 599"/>
                <a:gd name="T40" fmla="*/ 92 w 177"/>
                <a:gd name="T41" fmla="*/ 57 h 599"/>
                <a:gd name="T42" fmla="*/ 92 w 177"/>
                <a:gd name="T43" fmla="*/ 0 h 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77" h="599">
                  <a:moveTo>
                    <a:pt x="92" y="0"/>
                  </a:moveTo>
                  <a:lnTo>
                    <a:pt x="85" y="0"/>
                  </a:lnTo>
                  <a:lnTo>
                    <a:pt x="85" y="57"/>
                  </a:lnTo>
                  <a:lnTo>
                    <a:pt x="42" y="57"/>
                  </a:lnTo>
                  <a:lnTo>
                    <a:pt x="42" y="175"/>
                  </a:lnTo>
                  <a:lnTo>
                    <a:pt x="0" y="175"/>
                  </a:lnTo>
                  <a:lnTo>
                    <a:pt x="0" y="303"/>
                  </a:lnTo>
                  <a:lnTo>
                    <a:pt x="23" y="303"/>
                  </a:lnTo>
                  <a:lnTo>
                    <a:pt x="23" y="254"/>
                  </a:lnTo>
                  <a:lnTo>
                    <a:pt x="33" y="254"/>
                  </a:lnTo>
                  <a:lnTo>
                    <a:pt x="33" y="303"/>
                  </a:lnTo>
                  <a:lnTo>
                    <a:pt x="78" y="303"/>
                  </a:lnTo>
                  <a:lnTo>
                    <a:pt x="78" y="599"/>
                  </a:lnTo>
                  <a:lnTo>
                    <a:pt x="177" y="599"/>
                  </a:lnTo>
                  <a:lnTo>
                    <a:pt x="147" y="599"/>
                  </a:lnTo>
                  <a:lnTo>
                    <a:pt x="147" y="258"/>
                  </a:lnTo>
                  <a:lnTo>
                    <a:pt x="177" y="258"/>
                  </a:lnTo>
                  <a:lnTo>
                    <a:pt x="177" y="175"/>
                  </a:lnTo>
                  <a:lnTo>
                    <a:pt x="135" y="175"/>
                  </a:lnTo>
                  <a:lnTo>
                    <a:pt x="135" y="57"/>
                  </a:lnTo>
                  <a:lnTo>
                    <a:pt x="92" y="57"/>
                  </a:lnTo>
                  <a:lnTo>
                    <a:pt x="9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404DF77B-D6D5-4521-B87C-CD91B30B6D96}"/>
                </a:ext>
              </a:extLst>
            </p:cNvPr>
            <p:cNvSpPr/>
            <p:nvPr/>
          </p:nvSpPr>
          <p:spPr bwMode="auto">
            <a:xfrm>
              <a:off x="7593253" y="1329606"/>
              <a:ext cx="140337" cy="620723"/>
            </a:xfrm>
            <a:custGeom>
              <a:avLst/>
              <a:gdLst>
                <a:gd name="T0" fmla="*/ 33 w 78"/>
                <a:gd name="T1" fmla="*/ 0 h 345"/>
                <a:gd name="T2" fmla="*/ 23 w 78"/>
                <a:gd name="T3" fmla="*/ 0 h 345"/>
                <a:gd name="T4" fmla="*/ 23 w 78"/>
                <a:gd name="T5" fmla="*/ 49 h 345"/>
                <a:gd name="T6" fmla="*/ 0 w 78"/>
                <a:gd name="T7" fmla="*/ 49 h 345"/>
                <a:gd name="T8" fmla="*/ 0 w 78"/>
                <a:gd name="T9" fmla="*/ 134 h 345"/>
                <a:gd name="T10" fmla="*/ 26 w 78"/>
                <a:gd name="T11" fmla="*/ 134 h 345"/>
                <a:gd name="T12" fmla="*/ 26 w 78"/>
                <a:gd name="T13" fmla="*/ 345 h 345"/>
                <a:gd name="T14" fmla="*/ 0 w 78"/>
                <a:gd name="T15" fmla="*/ 345 h 345"/>
                <a:gd name="T16" fmla="*/ 78 w 78"/>
                <a:gd name="T17" fmla="*/ 345 h 345"/>
                <a:gd name="T18" fmla="*/ 78 w 78"/>
                <a:gd name="T19" fmla="*/ 49 h 345"/>
                <a:gd name="T20" fmla="*/ 33 w 78"/>
                <a:gd name="T21" fmla="*/ 49 h 345"/>
                <a:gd name="T22" fmla="*/ 33 w 78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345">
                  <a:moveTo>
                    <a:pt x="33" y="0"/>
                  </a:moveTo>
                  <a:lnTo>
                    <a:pt x="23" y="0"/>
                  </a:lnTo>
                  <a:lnTo>
                    <a:pt x="23" y="49"/>
                  </a:lnTo>
                  <a:lnTo>
                    <a:pt x="0" y="49"/>
                  </a:lnTo>
                  <a:lnTo>
                    <a:pt x="0" y="134"/>
                  </a:lnTo>
                  <a:lnTo>
                    <a:pt x="26" y="134"/>
                  </a:lnTo>
                  <a:lnTo>
                    <a:pt x="26" y="345"/>
                  </a:lnTo>
                  <a:lnTo>
                    <a:pt x="0" y="345"/>
                  </a:lnTo>
                  <a:lnTo>
                    <a:pt x="78" y="345"/>
                  </a:lnTo>
                  <a:lnTo>
                    <a:pt x="78" y="49"/>
                  </a:lnTo>
                  <a:lnTo>
                    <a:pt x="33" y="49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2FC19A51-F2B4-484E-B7FE-26DEC7888161}"/>
                </a:ext>
              </a:extLst>
            </p:cNvPr>
            <p:cNvSpPr/>
            <p:nvPr/>
          </p:nvSpPr>
          <p:spPr bwMode="auto">
            <a:xfrm>
              <a:off x="7593253" y="1329606"/>
              <a:ext cx="140337" cy="620723"/>
            </a:xfrm>
            <a:custGeom>
              <a:avLst/>
              <a:gdLst>
                <a:gd name="T0" fmla="*/ 33 w 78"/>
                <a:gd name="T1" fmla="*/ 0 h 345"/>
                <a:gd name="T2" fmla="*/ 23 w 78"/>
                <a:gd name="T3" fmla="*/ 0 h 345"/>
                <a:gd name="T4" fmla="*/ 23 w 78"/>
                <a:gd name="T5" fmla="*/ 49 h 345"/>
                <a:gd name="T6" fmla="*/ 0 w 78"/>
                <a:gd name="T7" fmla="*/ 49 h 345"/>
                <a:gd name="T8" fmla="*/ 0 w 78"/>
                <a:gd name="T9" fmla="*/ 134 h 345"/>
                <a:gd name="T10" fmla="*/ 26 w 78"/>
                <a:gd name="T11" fmla="*/ 134 h 345"/>
                <a:gd name="T12" fmla="*/ 26 w 78"/>
                <a:gd name="T13" fmla="*/ 345 h 345"/>
                <a:gd name="T14" fmla="*/ 0 w 78"/>
                <a:gd name="T15" fmla="*/ 345 h 345"/>
                <a:gd name="T16" fmla="*/ 78 w 78"/>
                <a:gd name="T17" fmla="*/ 345 h 345"/>
                <a:gd name="T18" fmla="*/ 78 w 78"/>
                <a:gd name="T19" fmla="*/ 49 h 345"/>
                <a:gd name="T20" fmla="*/ 33 w 78"/>
                <a:gd name="T21" fmla="*/ 49 h 345"/>
                <a:gd name="T22" fmla="*/ 33 w 78"/>
                <a:gd name="T23" fmla="*/ 0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345">
                  <a:moveTo>
                    <a:pt x="33" y="0"/>
                  </a:moveTo>
                  <a:lnTo>
                    <a:pt x="23" y="0"/>
                  </a:lnTo>
                  <a:lnTo>
                    <a:pt x="23" y="49"/>
                  </a:lnTo>
                  <a:lnTo>
                    <a:pt x="0" y="49"/>
                  </a:lnTo>
                  <a:lnTo>
                    <a:pt x="0" y="134"/>
                  </a:lnTo>
                  <a:lnTo>
                    <a:pt x="26" y="134"/>
                  </a:lnTo>
                  <a:lnTo>
                    <a:pt x="26" y="345"/>
                  </a:lnTo>
                  <a:lnTo>
                    <a:pt x="0" y="345"/>
                  </a:lnTo>
                  <a:lnTo>
                    <a:pt x="78" y="345"/>
                  </a:lnTo>
                  <a:lnTo>
                    <a:pt x="78" y="49"/>
                  </a:lnTo>
                  <a:lnTo>
                    <a:pt x="33" y="49"/>
                  </a:lnTo>
                  <a:lnTo>
                    <a:pt x="3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32D6AC48-28F2-437A-9368-68C46C0D91BD}"/>
                </a:ext>
              </a:extLst>
            </p:cNvPr>
            <p:cNvSpPr/>
            <p:nvPr/>
          </p:nvSpPr>
          <p:spPr bwMode="auto">
            <a:xfrm>
              <a:off x="7911711" y="1277430"/>
              <a:ext cx="217703" cy="672900"/>
            </a:xfrm>
            <a:custGeom>
              <a:avLst/>
              <a:gdLst>
                <a:gd name="T0" fmla="*/ 74 w 121"/>
                <a:gd name="T1" fmla="*/ 0 h 374"/>
                <a:gd name="T2" fmla="*/ 17 w 121"/>
                <a:gd name="T3" fmla="*/ 0 h 374"/>
                <a:gd name="T4" fmla="*/ 17 w 121"/>
                <a:gd name="T5" fmla="*/ 33 h 374"/>
                <a:gd name="T6" fmla="*/ 0 w 121"/>
                <a:gd name="T7" fmla="*/ 33 h 374"/>
                <a:gd name="T8" fmla="*/ 0 w 121"/>
                <a:gd name="T9" fmla="*/ 374 h 374"/>
                <a:gd name="T10" fmla="*/ 81 w 121"/>
                <a:gd name="T11" fmla="*/ 374 h 374"/>
                <a:gd name="T12" fmla="*/ 26 w 121"/>
                <a:gd name="T13" fmla="*/ 374 h 374"/>
                <a:gd name="T14" fmla="*/ 26 w 121"/>
                <a:gd name="T15" fmla="*/ 163 h 374"/>
                <a:gd name="T16" fmla="*/ 55 w 121"/>
                <a:gd name="T17" fmla="*/ 163 h 374"/>
                <a:gd name="T18" fmla="*/ 55 w 121"/>
                <a:gd name="T19" fmla="*/ 142 h 374"/>
                <a:gd name="T20" fmla="*/ 81 w 121"/>
                <a:gd name="T21" fmla="*/ 142 h 374"/>
                <a:gd name="T22" fmla="*/ 81 w 121"/>
                <a:gd name="T23" fmla="*/ 104 h 374"/>
                <a:gd name="T24" fmla="*/ 121 w 121"/>
                <a:gd name="T25" fmla="*/ 104 h 374"/>
                <a:gd name="T26" fmla="*/ 121 w 121"/>
                <a:gd name="T27" fmla="*/ 33 h 374"/>
                <a:gd name="T28" fmla="*/ 74 w 121"/>
                <a:gd name="T29" fmla="*/ 33 h 374"/>
                <a:gd name="T30" fmla="*/ 74 w 121"/>
                <a:gd name="T31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374">
                  <a:moveTo>
                    <a:pt x="74" y="0"/>
                  </a:moveTo>
                  <a:lnTo>
                    <a:pt x="17" y="0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0" y="374"/>
                  </a:lnTo>
                  <a:lnTo>
                    <a:pt x="81" y="374"/>
                  </a:lnTo>
                  <a:lnTo>
                    <a:pt x="26" y="374"/>
                  </a:lnTo>
                  <a:lnTo>
                    <a:pt x="26" y="163"/>
                  </a:lnTo>
                  <a:lnTo>
                    <a:pt x="55" y="163"/>
                  </a:lnTo>
                  <a:lnTo>
                    <a:pt x="55" y="142"/>
                  </a:lnTo>
                  <a:lnTo>
                    <a:pt x="81" y="142"/>
                  </a:lnTo>
                  <a:lnTo>
                    <a:pt x="81" y="104"/>
                  </a:lnTo>
                  <a:lnTo>
                    <a:pt x="121" y="104"/>
                  </a:lnTo>
                  <a:lnTo>
                    <a:pt x="121" y="33"/>
                  </a:lnTo>
                  <a:lnTo>
                    <a:pt x="74" y="33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D4BAA1FD-A594-4510-AC20-70FFDF66B6B7}"/>
                </a:ext>
              </a:extLst>
            </p:cNvPr>
            <p:cNvSpPr/>
            <p:nvPr/>
          </p:nvSpPr>
          <p:spPr bwMode="auto">
            <a:xfrm>
              <a:off x="7911711" y="1277430"/>
              <a:ext cx="217703" cy="672900"/>
            </a:xfrm>
            <a:custGeom>
              <a:avLst/>
              <a:gdLst>
                <a:gd name="T0" fmla="*/ 74 w 121"/>
                <a:gd name="T1" fmla="*/ 0 h 374"/>
                <a:gd name="T2" fmla="*/ 17 w 121"/>
                <a:gd name="T3" fmla="*/ 0 h 374"/>
                <a:gd name="T4" fmla="*/ 17 w 121"/>
                <a:gd name="T5" fmla="*/ 33 h 374"/>
                <a:gd name="T6" fmla="*/ 0 w 121"/>
                <a:gd name="T7" fmla="*/ 33 h 374"/>
                <a:gd name="T8" fmla="*/ 0 w 121"/>
                <a:gd name="T9" fmla="*/ 374 h 374"/>
                <a:gd name="T10" fmla="*/ 81 w 121"/>
                <a:gd name="T11" fmla="*/ 374 h 374"/>
                <a:gd name="T12" fmla="*/ 26 w 121"/>
                <a:gd name="T13" fmla="*/ 374 h 374"/>
                <a:gd name="T14" fmla="*/ 26 w 121"/>
                <a:gd name="T15" fmla="*/ 163 h 374"/>
                <a:gd name="T16" fmla="*/ 55 w 121"/>
                <a:gd name="T17" fmla="*/ 163 h 374"/>
                <a:gd name="T18" fmla="*/ 55 w 121"/>
                <a:gd name="T19" fmla="*/ 142 h 374"/>
                <a:gd name="T20" fmla="*/ 81 w 121"/>
                <a:gd name="T21" fmla="*/ 142 h 374"/>
                <a:gd name="T22" fmla="*/ 81 w 121"/>
                <a:gd name="T23" fmla="*/ 104 h 374"/>
                <a:gd name="T24" fmla="*/ 121 w 121"/>
                <a:gd name="T25" fmla="*/ 104 h 374"/>
                <a:gd name="T26" fmla="*/ 121 w 121"/>
                <a:gd name="T27" fmla="*/ 33 h 374"/>
                <a:gd name="T28" fmla="*/ 74 w 121"/>
                <a:gd name="T29" fmla="*/ 33 h 374"/>
                <a:gd name="T30" fmla="*/ 74 w 121"/>
                <a:gd name="T31" fmla="*/ 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1" h="374">
                  <a:moveTo>
                    <a:pt x="74" y="0"/>
                  </a:moveTo>
                  <a:lnTo>
                    <a:pt x="17" y="0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0" y="374"/>
                  </a:lnTo>
                  <a:lnTo>
                    <a:pt x="81" y="374"/>
                  </a:lnTo>
                  <a:lnTo>
                    <a:pt x="26" y="374"/>
                  </a:lnTo>
                  <a:lnTo>
                    <a:pt x="26" y="163"/>
                  </a:lnTo>
                  <a:lnTo>
                    <a:pt x="55" y="163"/>
                  </a:lnTo>
                  <a:lnTo>
                    <a:pt x="55" y="142"/>
                  </a:lnTo>
                  <a:lnTo>
                    <a:pt x="81" y="142"/>
                  </a:lnTo>
                  <a:lnTo>
                    <a:pt x="81" y="104"/>
                  </a:lnTo>
                  <a:lnTo>
                    <a:pt x="121" y="104"/>
                  </a:lnTo>
                  <a:lnTo>
                    <a:pt x="121" y="33"/>
                  </a:lnTo>
                  <a:lnTo>
                    <a:pt x="74" y="33"/>
                  </a:lnTo>
                  <a:lnTo>
                    <a:pt x="7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568D1DB2-EE00-46AB-B2D2-655B8A678752}"/>
                </a:ext>
              </a:extLst>
            </p:cNvPr>
            <p:cNvSpPr/>
            <p:nvPr/>
          </p:nvSpPr>
          <p:spPr bwMode="auto">
            <a:xfrm>
              <a:off x="8057446" y="1464546"/>
              <a:ext cx="71968" cy="485783"/>
            </a:xfrm>
            <a:custGeom>
              <a:avLst/>
              <a:gdLst>
                <a:gd name="T0" fmla="*/ 40 w 40"/>
                <a:gd name="T1" fmla="*/ 0 h 270"/>
                <a:gd name="T2" fmla="*/ 0 w 40"/>
                <a:gd name="T3" fmla="*/ 0 h 270"/>
                <a:gd name="T4" fmla="*/ 0 w 40"/>
                <a:gd name="T5" fmla="*/ 38 h 270"/>
                <a:gd name="T6" fmla="*/ 9 w 40"/>
                <a:gd name="T7" fmla="*/ 38 h 270"/>
                <a:gd name="T8" fmla="*/ 9 w 40"/>
                <a:gd name="T9" fmla="*/ 59 h 270"/>
                <a:gd name="T10" fmla="*/ 38 w 40"/>
                <a:gd name="T11" fmla="*/ 59 h 270"/>
                <a:gd name="T12" fmla="*/ 38 w 40"/>
                <a:gd name="T13" fmla="*/ 270 h 270"/>
                <a:gd name="T14" fmla="*/ 0 w 40"/>
                <a:gd name="T15" fmla="*/ 270 h 270"/>
                <a:gd name="T16" fmla="*/ 40 w 40"/>
                <a:gd name="T17" fmla="*/ 270 h 270"/>
                <a:gd name="T18" fmla="*/ 40 w 40"/>
                <a:gd name="T19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70">
                  <a:moveTo>
                    <a:pt x="40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9" y="38"/>
                  </a:lnTo>
                  <a:lnTo>
                    <a:pt x="9" y="59"/>
                  </a:lnTo>
                  <a:lnTo>
                    <a:pt x="38" y="59"/>
                  </a:lnTo>
                  <a:lnTo>
                    <a:pt x="38" y="270"/>
                  </a:lnTo>
                  <a:lnTo>
                    <a:pt x="0" y="270"/>
                  </a:lnTo>
                  <a:lnTo>
                    <a:pt x="40" y="27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8DE0AA0D-2D85-4ED7-9E5C-6A0BAB349701}"/>
                </a:ext>
              </a:extLst>
            </p:cNvPr>
            <p:cNvSpPr/>
            <p:nvPr/>
          </p:nvSpPr>
          <p:spPr bwMode="auto">
            <a:xfrm>
              <a:off x="8057446" y="1464546"/>
              <a:ext cx="71968" cy="485783"/>
            </a:xfrm>
            <a:custGeom>
              <a:avLst/>
              <a:gdLst>
                <a:gd name="T0" fmla="*/ 40 w 40"/>
                <a:gd name="T1" fmla="*/ 0 h 270"/>
                <a:gd name="T2" fmla="*/ 0 w 40"/>
                <a:gd name="T3" fmla="*/ 0 h 270"/>
                <a:gd name="T4" fmla="*/ 0 w 40"/>
                <a:gd name="T5" fmla="*/ 38 h 270"/>
                <a:gd name="T6" fmla="*/ 9 w 40"/>
                <a:gd name="T7" fmla="*/ 38 h 270"/>
                <a:gd name="T8" fmla="*/ 9 w 40"/>
                <a:gd name="T9" fmla="*/ 59 h 270"/>
                <a:gd name="T10" fmla="*/ 38 w 40"/>
                <a:gd name="T11" fmla="*/ 59 h 270"/>
                <a:gd name="T12" fmla="*/ 38 w 40"/>
                <a:gd name="T13" fmla="*/ 270 h 270"/>
                <a:gd name="T14" fmla="*/ 0 w 40"/>
                <a:gd name="T15" fmla="*/ 270 h 270"/>
                <a:gd name="T16" fmla="*/ 40 w 40"/>
                <a:gd name="T17" fmla="*/ 270 h 270"/>
                <a:gd name="T18" fmla="*/ 40 w 40"/>
                <a:gd name="T19" fmla="*/ 0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270">
                  <a:moveTo>
                    <a:pt x="40" y="0"/>
                  </a:moveTo>
                  <a:lnTo>
                    <a:pt x="0" y="0"/>
                  </a:lnTo>
                  <a:lnTo>
                    <a:pt x="0" y="38"/>
                  </a:lnTo>
                  <a:lnTo>
                    <a:pt x="9" y="38"/>
                  </a:lnTo>
                  <a:lnTo>
                    <a:pt x="9" y="59"/>
                  </a:lnTo>
                  <a:lnTo>
                    <a:pt x="38" y="59"/>
                  </a:lnTo>
                  <a:lnTo>
                    <a:pt x="38" y="270"/>
                  </a:lnTo>
                  <a:lnTo>
                    <a:pt x="0" y="270"/>
                  </a:lnTo>
                  <a:lnTo>
                    <a:pt x="40" y="270"/>
                  </a:lnTo>
                  <a:lnTo>
                    <a:pt x="4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矩形 97">
              <a:extLst>
                <a:ext uri="{FF2B5EF4-FFF2-40B4-BE49-F238E27FC236}">
                  <a16:creationId xmlns:a16="http://schemas.microsoft.com/office/drawing/2014/main" id="{8967F05D-5006-48F8-A5C1-A11424D188B0}"/>
                </a:ext>
              </a:extLst>
            </p:cNvPr>
            <p:cNvSpPr/>
            <p:nvPr/>
          </p:nvSpPr>
          <p:spPr bwMode="auto">
            <a:xfrm>
              <a:off x="7857735" y="1336803"/>
              <a:ext cx="53976" cy="61352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矩形 98">
              <a:extLst>
                <a:ext uri="{FF2B5EF4-FFF2-40B4-BE49-F238E27FC236}">
                  <a16:creationId xmlns:a16="http://schemas.microsoft.com/office/drawing/2014/main" id="{26EB9030-823D-4E58-A7C7-1B12828FE9FF}"/>
                </a:ext>
              </a:extLst>
            </p:cNvPr>
            <p:cNvSpPr/>
            <p:nvPr/>
          </p:nvSpPr>
          <p:spPr bwMode="auto">
            <a:xfrm>
              <a:off x="7857735" y="1336803"/>
              <a:ext cx="53976" cy="6135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3A1D74A6-B130-4336-AD72-9E1F75F99D7C}"/>
                </a:ext>
              </a:extLst>
            </p:cNvPr>
            <p:cNvSpPr/>
            <p:nvPr/>
          </p:nvSpPr>
          <p:spPr bwMode="auto">
            <a:xfrm>
              <a:off x="7469108" y="1532916"/>
              <a:ext cx="84562" cy="417414"/>
            </a:xfrm>
            <a:custGeom>
              <a:avLst/>
              <a:gdLst>
                <a:gd name="T0" fmla="*/ 47 w 47"/>
                <a:gd name="T1" fmla="*/ 0 h 232"/>
                <a:gd name="T2" fmla="*/ 28 w 47"/>
                <a:gd name="T3" fmla="*/ 0 h 232"/>
                <a:gd name="T4" fmla="*/ 28 w 47"/>
                <a:gd name="T5" fmla="*/ 21 h 232"/>
                <a:gd name="T6" fmla="*/ 0 w 47"/>
                <a:gd name="T7" fmla="*/ 21 h 232"/>
                <a:gd name="T8" fmla="*/ 0 w 47"/>
                <a:gd name="T9" fmla="*/ 45 h 232"/>
                <a:gd name="T10" fmla="*/ 36 w 47"/>
                <a:gd name="T11" fmla="*/ 45 h 232"/>
                <a:gd name="T12" fmla="*/ 36 w 47"/>
                <a:gd name="T13" fmla="*/ 232 h 232"/>
                <a:gd name="T14" fmla="*/ 47 w 47"/>
                <a:gd name="T15" fmla="*/ 232 h 232"/>
                <a:gd name="T16" fmla="*/ 47 w 47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232">
                  <a:moveTo>
                    <a:pt x="47" y="0"/>
                  </a:moveTo>
                  <a:lnTo>
                    <a:pt x="28" y="0"/>
                  </a:lnTo>
                  <a:lnTo>
                    <a:pt x="28" y="21"/>
                  </a:lnTo>
                  <a:lnTo>
                    <a:pt x="0" y="21"/>
                  </a:lnTo>
                  <a:lnTo>
                    <a:pt x="0" y="45"/>
                  </a:lnTo>
                  <a:lnTo>
                    <a:pt x="36" y="45"/>
                  </a:lnTo>
                  <a:lnTo>
                    <a:pt x="36" y="232"/>
                  </a:lnTo>
                  <a:lnTo>
                    <a:pt x="47" y="232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7668CBF2-15B2-4B24-8AF9-B9DCD79C0A4E}"/>
                </a:ext>
              </a:extLst>
            </p:cNvPr>
            <p:cNvSpPr/>
            <p:nvPr/>
          </p:nvSpPr>
          <p:spPr bwMode="auto">
            <a:xfrm>
              <a:off x="7469108" y="1532916"/>
              <a:ext cx="84562" cy="417414"/>
            </a:xfrm>
            <a:custGeom>
              <a:avLst/>
              <a:gdLst>
                <a:gd name="T0" fmla="*/ 47 w 47"/>
                <a:gd name="T1" fmla="*/ 0 h 232"/>
                <a:gd name="T2" fmla="*/ 28 w 47"/>
                <a:gd name="T3" fmla="*/ 0 h 232"/>
                <a:gd name="T4" fmla="*/ 28 w 47"/>
                <a:gd name="T5" fmla="*/ 21 h 232"/>
                <a:gd name="T6" fmla="*/ 0 w 47"/>
                <a:gd name="T7" fmla="*/ 21 h 232"/>
                <a:gd name="T8" fmla="*/ 0 w 47"/>
                <a:gd name="T9" fmla="*/ 45 h 232"/>
                <a:gd name="T10" fmla="*/ 36 w 47"/>
                <a:gd name="T11" fmla="*/ 45 h 232"/>
                <a:gd name="T12" fmla="*/ 36 w 47"/>
                <a:gd name="T13" fmla="*/ 232 h 232"/>
                <a:gd name="T14" fmla="*/ 47 w 47"/>
                <a:gd name="T15" fmla="*/ 232 h 232"/>
                <a:gd name="T16" fmla="*/ 47 w 47"/>
                <a:gd name="T17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232">
                  <a:moveTo>
                    <a:pt x="47" y="0"/>
                  </a:moveTo>
                  <a:lnTo>
                    <a:pt x="28" y="0"/>
                  </a:lnTo>
                  <a:lnTo>
                    <a:pt x="28" y="21"/>
                  </a:lnTo>
                  <a:lnTo>
                    <a:pt x="0" y="21"/>
                  </a:lnTo>
                  <a:lnTo>
                    <a:pt x="0" y="45"/>
                  </a:lnTo>
                  <a:lnTo>
                    <a:pt x="36" y="45"/>
                  </a:lnTo>
                  <a:lnTo>
                    <a:pt x="36" y="232"/>
                  </a:lnTo>
                  <a:lnTo>
                    <a:pt x="47" y="232"/>
                  </a:lnTo>
                  <a:lnTo>
                    <a:pt x="4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73EFCF87-8B49-47B2-B405-5AAF0D9B538C}"/>
                </a:ext>
              </a:extLst>
            </p:cNvPr>
            <p:cNvSpPr/>
            <p:nvPr/>
          </p:nvSpPr>
          <p:spPr bwMode="auto">
            <a:xfrm>
              <a:off x="7553670" y="1532916"/>
              <a:ext cx="39582" cy="417414"/>
            </a:xfrm>
            <a:custGeom>
              <a:avLst/>
              <a:gdLst>
                <a:gd name="T0" fmla="*/ 17 w 22"/>
                <a:gd name="T1" fmla="*/ 0 h 232"/>
                <a:gd name="T2" fmla="*/ 0 w 22"/>
                <a:gd name="T3" fmla="*/ 0 h 232"/>
                <a:gd name="T4" fmla="*/ 0 w 22"/>
                <a:gd name="T5" fmla="*/ 232 h 232"/>
                <a:gd name="T6" fmla="*/ 22 w 22"/>
                <a:gd name="T7" fmla="*/ 232 h 232"/>
                <a:gd name="T8" fmla="*/ 22 w 22"/>
                <a:gd name="T9" fmla="*/ 21 h 232"/>
                <a:gd name="T10" fmla="*/ 17 w 22"/>
                <a:gd name="T11" fmla="*/ 21 h 232"/>
                <a:gd name="T12" fmla="*/ 17 w 22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32">
                  <a:moveTo>
                    <a:pt x="17" y="0"/>
                  </a:moveTo>
                  <a:lnTo>
                    <a:pt x="0" y="0"/>
                  </a:lnTo>
                  <a:lnTo>
                    <a:pt x="0" y="232"/>
                  </a:lnTo>
                  <a:lnTo>
                    <a:pt x="22" y="232"/>
                  </a:lnTo>
                  <a:lnTo>
                    <a:pt x="22" y="21"/>
                  </a:lnTo>
                  <a:lnTo>
                    <a:pt x="17" y="21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4B8BA9DE-75AA-42A2-90C4-D8479722F7F5}"/>
                </a:ext>
              </a:extLst>
            </p:cNvPr>
            <p:cNvSpPr/>
            <p:nvPr/>
          </p:nvSpPr>
          <p:spPr bwMode="auto">
            <a:xfrm>
              <a:off x="7553670" y="1532916"/>
              <a:ext cx="39582" cy="417414"/>
            </a:xfrm>
            <a:custGeom>
              <a:avLst/>
              <a:gdLst>
                <a:gd name="T0" fmla="*/ 17 w 22"/>
                <a:gd name="T1" fmla="*/ 0 h 232"/>
                <a:gd name="T2" fmla="*/ 0 w 22"/>
                <a:gd name="T3" fmla="*/ 0 h 232"/>
                <a:gd name="T4" fmla="*/ 0 w 22"/>
                <a:gd name="T5" fmla="*/ 232 h 232"/>
                <a:gd name="T6" fmla="*/ 22 w 22"/>
                <a:gd name="T7" fmla="*/ 232 h 232"/>
                <a:gd name="T8" fmla="*/ 22 w 22"/>
                <a:gd name="T9" fmla="*/ 21 h 232"/>
                <a:gd name="T10" fmla="*/ 17 w 22"/>
                <a:gd name="T11" fmla="*/ 21 h 232"/>
                <a:gd name="T12" fmla="*/ 17 w 22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232">
                  <a:moveTo>
                    <a:pt x="17" y="0"/>
                  </a:moveTo>
                  <a:lnTo>
                    <a:pt x="0" y="0"/>
                  </a:lnTo>
                  <a:lnTo>
                    <a:pt x="0" y="232"/>
                  </a:lnTo>
                  <a:lnTo>
                    <a:pt x="22" y="232"/>
                  </a:lnTo>
                  <a:lnTo>
                    <a:pt x="22" y="21"/>
                  </a:lnTo>
                  <a:lnTo>
                    <a:pt x="17" y="21"/>
                  </a:lnTo>
                  <a:lnTo>
                    <a:pt x="1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4" name="矩形 103">
              <a:extLst>
                <a:ext uri="{FF2B5EF4-FFF2-40B4-BE49-F238E27FC236}">
                  <a16:creationId xmlns:a16="http://schemas.microsoft.com/office/drawing/2014/main" id="{09ED67BE-2D9F-4186-84E7-D5E352F86DFB}"/>
                </a:ext>
              </a:extLst>
            </p:cNvPr>
            <p:cNvSpPr/>
            <p:nvPr/>
          </p:nvSpPr>
          <p:spPr bwMode="auto">
            <a:xfrm>
              <a:off x="7469108" y="1613879"/>
              <a:ext cx="64771" cy="33645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5" name="矩形 104">
              <a:extLst>
                <a:ext uri="{FF2B5EF4-FFF2-40B4-BE49-F238E27FC236}">
                  <a16:creationId xmlns:a16="http://schemas.microsoft.com/office/drawing/2014/main" id="{4301BECC-09B8-4963-B56E-D08B156B0E3F}"/>
                </a:ext>
              </a:extLst>
            </p:cNvPr>
            <p:cNvSpPr/>
            <p:nvPr/>
          </p:nvSpPr>
          <p:spPr bwMode="auto">
            <a:xfrm>
              <a:off x="7469108" y="1613879"/>
              <a:ext cx="64771" cy="336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6" name="矩形 105">
              <a:extLst>
                <a:ext uri="{FF2B5EF4-FFF2-40B4-BE49-F238E27FC236}">
                  <a16:creationId xmlns:a16="http://schemas.microsoft.com/office/drawing/2014/main" id="{3CD57DF4-89F8-4C70-9E3B-313B9F5EFFB0}"/>
                </a:ext>
              </a:extLst>
            </p:cNvPr>
            <p:cNvSpPr/>
            <p:nvPr/>
          </p:nvSpPr>
          <p:spPr bwMode="auto">
            <a:xfrm>
              <a:off x="7593253" y="1570699"/>
              <a:ext cx="46779" cy="3796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7" name="矩形 106">
              <a:extLst>
                <a:ext uri="{FF2B5EF4-FFF2-40B4-BE49-F238E27FC236}">
                  <a16:creationId xmlns:a16="http://schemas.microsoft.com/office/drawing/2014/main" id="{8692A7BD-30DC-4D3A-B7DF-13470769DF08}"/>
                </a:ext>
              </a:extLst>
            </p:cNvPr>
            <p:cNvSpPr/>
            <p:nvPr/>
          </p:nvSpPr>
          <p:spPr bwMode="auto">
            <a:xfrm>
              <a:off x="7593253" y="1570699"/>
              <a:ext cx="46779" cy="379631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3C124222-B8B3-44DA-BAAD-2700335F3A87}"/>
                </a:ext>
              </a:extLst>
            </p:cNvPr>
            <p:cNvSpPr/>
            <p:nvPr/>
          </p:nvSpPr>
          <p:spPr bwMode="auto">
            <a:xfrm>
              <a:off x="7958490" y="1532916"/>
              <a:ext cx="98956" cy="417414"/>
            </a:xfrm>
            <a:custGeom>
              <a:avLst/>
              <a:gdLst>
                <a:gd name="T0" fmla="*/ 55 w 55"/>
                <a:gd name="T1" fmla="*/ 0 h 232"/>
                <a:gd name="T2" fmla="*/ 29 w 55"/>
                <a:gd name="T3" fmla="*/ 0 h 232"/>
                <a:gd name="T4" fmla="*/ 29 w 55"/>
                <a:gd name="T5" fmla="*/ 21 h 232"/>
                <a:gd name="T6" fmla="*/ 0 w 55"/>
                <a:gd name="T7" fmla="*/ 21 h 232"/>
                <a:gd name="T8" fmla="*/ 0 w 55"/>
                <a:gd name="T9" fmla="*/ 232 h 232"/>
                <a:gd name="T10" fmla="*/ 55 w 55"/>
                <a:gd name="T11" fmla="*/ 232 h 232"/>
                <a:gd name="T12" fmla="*/ 55 w 55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232">
                  <a:moveTo>
                    <a:pt x="55" y="0"/>
                  </a:moveTo>
                  <a:lnTo>
                    <a:pt x="29" y="0"/>
                  </a:lnTo>
                  <a:lnTo>
                    <a:pt x="29" y="21"/>
                  </a:lnTo>
                  <a:lnTo>
                    <a:pt x="0" y="21"/>
                  </a:lnTo>
                  <a:lnTo>
                    <a:pt x="0" y="232"/>
                  </a:lnTo>
                  <a:lnTo>
                    <a:pt x="55" y="232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7A2937C8-09DA-4BAF-8651-982DEC7CAB4E}"/>
                </a:ext>
              </a:extLst>
            </p:cNvPr>
            <p:cNvSpPr/>
            <p:nvPr/>
          </p:nvSpPr>
          <p:spPr bwMode="auto">
            <a:xfrm>
              <a:off x="7958490" y="1532916"/>
              <a:ext cx="98956" cy="417414"/>
            </a:xfrm>
            <a:custGeom>
              <a:avLst/>
              <a:gdLst>
                <a:gd name="T0" fmla="*/ 55 w 55"/>
                <a:gd name="T1" fmla="*/ 0 h 232"/>
                <a:gd name="T2" fmla="*/ 29 w 55"/>
                <a:gd name="T3" fmla="*/ 0 h 232"/>
                <a:gd name="T4" fmla="*/ 29 w 55"/>
                <a:gd name="T5" fmla="*/ 21 h 232"/>
                <a:gd name="T6" fmla="*/ 0 w 55"/>
                <a:gd name="T7" fmla="*/ 21 h 232"/>
                <a:gd name="T8" fmla="*/ 0 w 55"/>
                <a:gd name="T9" fmla="*/ 232 h 232"/>
                <a:gd name="T10" fmla="*/ 55 w 55"/>
                <a:gd name="T11" fmla="*/ 232 h 232"/>
                <a:gd name="T12" fmla="*/ 55 w 55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5" h="232">
                  <a:moveTo>
                    <a:pt x="55" y="0"/>
                  </a:moveTo>
                  <a:lnTo>
                    <a:pt x="29" y="0"/>
                  </a:lnTo>
                  <a:lnTo>
                    <a:pt x="29" y="21"/>
                  </a:lnTo>
                  <a:lnTo>
                    <a:pt x="0" y="21"/>
                  </a:lnTo>
                  <a:lnTo>
                    <a:pt x="0" y="232"/>
                  </a:lnTo>
                  <a:lnTo>
                    <a:pt x="55" y="232"/>
                  </a:lnTo>
                  <a:lnTo>
                    <a:pt x="55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B43DE786-FAE8-4103-9DC9-904E227E9AF8}"/>
                </a:ext>
              </a:extLst>
            </p:cNvPr>
            <p:cNvSpPr/>
            <p:nvPr/>
          </p:nvSpPr>
          <p:spPr bwMode="auto">
            <a:xfrm>
              <a:off x="8057446" y="1532916"/>
              <a:ext cx="68369" cy="417414"/>
            </a:xfrm>
            <a:custGeom>
              <a:avLst/>
              <a:gdLst>
                <a:gd name="T0" fmla="*/ 9 w 38"/>
                <a:gd name="T1" fmla="*/ 0 h 232"/>
                <a:gd name="T2" fmla="*/ 0 w 38"/>
                <a:gd name="T3" fmla="*/ 0 h 232"/>
                <a:gd name="T4" fmla="*/ 0 w 38"/>
                <a:gd name="T5" fmla="*/ 232 h 232"/>
                <a:gd name="T6" fmla="*/ 38 w 38"/>
                <a:gd name="T7" fmla="*/ 232 h 232"/>
                <a:gd name="T8" fmla="*/ 38 w 38"/>
                <a:gd name="T9" fmla="*/ 21 h 232"/>
                <a:gd name="T10" fmla="*/ 9 w 38"/>
                <a:gd name="T11" fmla="*/ 21 h 232"/>
                <a:gd name="T12" fmla="*/ 9 w 38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32">
                  <a:moveTo>
                    <a:pt x="9" y="0"/>
                  </a:moveTo>
                  <a:lnTo>
                    <a:pt x="0" y="0"/>
                  </a:lnTo>
                  <a:lnTo>
                    <a:pt x="0" y="232"/>
                  </a:lnTo>
                  <a:lnTo>
                    <a:pt x="38" y="232"/>
                  </a:lnTo>
                  <a:lnTo>
                    <a:pt x="38" y="21"/>
                  </a:lnTo>
                  <a:lnTo>
                    <a:pt x="9" y="2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E02B6755-923B-4DF0-9E1B-C483FEE8AB39}"/>
                </a:ext>
              </a:extLst>
            </p:cNvPr>
            <p:cNvSpPr/>
            <p:nvPr/>
          </p:nvSpPr>
          <p:spPr bwMode="auto">
            <a:xfrm>
              <a:off x="8057446" y="1532916"/>
              <a:ext cx="68369" cy="417414"/>
            </a:xfrm>
            <a:custGeom>
              <a:avLst/>
              <a:gdLst>
                <a:gd name="T0" fmla="*/ 9 w 38"/>
                <a:gd name="T1" fmla="*/ 0 h 232"/>
                <a:gd name="T2" fmla="*/ 0 w 38"/>
                <a:gd name="T3" fmla="*/ 0 h 232"/>
                <a:gd name="T4" fmla="*/ 0 w 38"/>
                <a:gd name="T5" fmla="*/ 232 h 232"/>
                <a:gd name="T6" fmla="*/ 38 w 38"/>
                <a:gd name="T7" fmla="*/ 232 h 232"/>
                <a:gd name="T8" fmla="*/ 38 w 38"/>
                <a:gd name="T9" fmla="*/ 21 h 232"/>
                <a:gd name="T10" fmla="*/ 9 w 38"/>
                <a:gd name="T11" fmla="*/ 21 h 232"/>
                <a:gd name="T12" fmla="*/ 9 w 38"/>
                <a:gd name="T13" fmla="*/ 0 h 2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" h="232">
                  <a:moveTo>
                    <a:pt x="9" y="0"/>
                  </a:moveTo>
                  <a:lnTo>
                    <a:pt x="0" y="0"/>
                  </a:lnTo>
                  <a:lnTo>
                    <a:pt x="0" y="232"/>
                  </a:lnTo>
                  <a:lnTo>
                    <a:pt x="38" y="232"/>
                  </a:lnTo>
                  <a:lnTo>
                    <a:pt x="38" y="21"/>
                  </a:lnTo>
                  <a:lnTo>
                    <a:pt x="9" y="21"/>
                  </a:lnTo>
                  <a:lnTo>
                    <a:pt x="9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7146D90E-9A19-4C5C-9B99-72A1BE89CF91}"/>
                </a:ext>
              </a:extLst>
            </p:cNvPr>
            <p:cNvSpPr/>
            <p:nvPr/>
          </p:nvSpPr>
          <p:spPr bwMode="auto">
            <a:xfrm>
              <a:off x="7123662" y="1379984"/>
              <a:ext cx="145735" cy="570345"/>
            </a:xfrm>
            <a:custGeom>
              <a:avLst/>
              <a:gdLst>
                <a:gd name="T0" fmla="*/ 41 w 81"/>
                <a:gd name="T1" fmla="*/ 0 h 317"/>
                <a:gd name="T2" fmla="*/ 0 w 81"/>
                <a:gd name="T3" fmla="*/ 0 h 317"/>
                <a:gd name="T4" fmla="*/ 0 w 81"/>
                <a:gd name="T5" fmla="*/ 317 h 317"/>
                <a:gd name="T6" fmla="*/ 38 w 81"/>
                <a:gd name="T7" fmla="*/ 317 h 317"/>
                <a:gd name="T8" fmla="*/ 38 w 81"/>
                <a:gd name="T9" fmla="*/ 130 h 317"/>
                <a:gd name="T10" fmla="*/ 81 w 81"/>
                <a:gd name="T11" fmla="*/ 130 h 317"/>
                <a:gd name="T12" fmla="*/ 81 w 81"/>
                <a:gd name="T13" fmla="*/ 28 h 317"/>
                <a:gd name="T14" fmla="*/ 41 w 81"/>
                <a:gd name="T15" fmla="*/ 28 h 317"/>
                <a:gd name="T16" fmla="*/ 41 w 81"/>
                <a:gd name="T17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317">
                  <a:moveTo>
                    <a:pt x="41" y="0"/>
                  </a:moveTo>
                  <a:lnTo>
                    <a:pt x="0" y="0"/>
                  </a:lnTo>
                  <a:lnTo>
                    <a:pt x="0" y="317"/>
                  </a:lnTo>
                  <a:lnTo>
                    <a:pt x="38" y="317"/>
                  </a:lnTo>
                  <a:lnTo>
                    <a:pt x="38" y="130"/>
                  </a:lnTo>
                  <a:lnTo>
                    <a:pt x="81" y="130"/>
                  </a:lnTo>
                  <a:lnTo>
                    <a:pt x="81" y="28"/>
                  </a:lnTo>
                  <a:lnTo>
                    <a:pt x="41" y="28"/>
                  </a:lnTo>
                  <a:lnTo>
                    <a:pt x="41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F91FE102-9DDA-47C4-98BF-7CB9EC9CA808}"/>
                </a:ext>
              </a:extLst>
            </p:cNvPr>
            <p:cNvSpPr/>
            <p:nvPr/>
          </p:nvSpPr>
          <p:spPr bwMode="auto">
            <a:xfrm>
              <a:off x="7123662" y="1379984"/>
              <a:ext cx="145735" cy="570345"/>
            </a:xfrm>
            <a:custGeom>
              <a:avLst/>
              <a:gdLst>
                <a:gd name="T0" fmla="*/ 41 w 81"/>
                <a:gd name="T1" fmla="*/ 0 h 317"/>
                <a:gd name="T2" fmla="*/ 0 w 81"/>
                <a:gd name="T3" fmla="*/ 0 h 317"/>
                <a:gd name="T4" fmla="*/ 0 w 81"/>
                <a:gd name="T5" fmla="*/ 317 h 317"/>
                <a:gd name="T6" fmla="*/ 38 w 81"/>
                <a:gd name="T7" fmla="*/ 317 h 317"/>
                <a:gd name="T8" fmla="*/ 38 w 81"/>
                <a:gd name="T9" fmla="*/ 130 h 317"/>
                <a:gd name="T10" fmla="*/ 81 w 81"/>
                <a:gd name="T11" fmla="*/ 130 h 317"/>
                <a:gd name="T12" fmla="*/ 81 w 81"/>
                <a:gd name="T13" fmla="*/ 28 h 317"/>
                <a:gd name="T14" fmla="*/ 41 w 81"/>
                <a:gd name="T15" fmla="*/ 28 h 317"/>
                <a:gd name="T16" fmla="*/ 41 w 81"/>
                <a:gd name="T17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1" h="317">
                  <a:moveTo>
                    <a:pt x="41" y="0"/>
                  </a:moveTo>
                  <a:lnTo>
                    <a:pt x="0" y="0"/>
                  </a:lnTo>
                  <a:lnTo>
                    <a:pt x="0" y="317"/>
                  </a:lnTo>
                  <a:lnTo>
                    <a:pt x="38" y="317"/>
                  </a:lnTo>
                  <a:lnTo>
                    <a:pt x="38" y="130"/>
                  </a:lnTo>
                  <a:lnTo>
                    <a:pt x="81" y="130"/>
                  </a:lnTo>
                  <a:lnTo>
                    <a:pt x="81" y="28"/>
                  </a:lnTo>
                  <a:lnTo>
                    <a:pt x="41" y="28"/>
                  </a:lnTo>
                  <a:lnTo>
                    <a:pt x="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688A5FC4-1FFE-4BFF-B82F-0A788254EB41}"/>
                </a:ext>
              </a:extLst>
            </p:cNvPr>
            <p:cNvSpPr/>
            <p:nvPr/>
          </p:nvSpPr>
          <p:spPr bwMode="auto">
            <a:xfrm>
              <a:off x="7039100" y="1379984"/>
              <a:ext cx="84562" cy="570345"/>
            </a:xfrm>
            <a:custGeom>
              <a:avLst/>
              <a:gdLst>
                <a:gd name="T0" fmla="*/ 47 w 47"/>
                <a:gd name="T1" fmla="*/ 0 h 317"/>
                <a:gd name="T2" fmla="*/ 40 w 47"/>
                <a:gd name="T3" fmla="*/ 0 h 317"/>
                <a:gd name="T4" fmla="*/ 40 w 47"/>
                <a:gd name="T5" fmla="*/ 28 h 317"/>
                <a:gd name="T6" fmla="*/ 0 w 47"/>
                <a:gd name="T7" fmla="*/ 28 h 317"/>
                <a:gd name="T8" fmla="*/ 0 w 47"/>
                <a:gd name="T9" fmla="*/ 317 h 317"/>
                <a:gd name="T10" fmla="*/ 47 w 47"/>
                <a:gd name="T11" fmla="*/ 317 h 317"/>
                <a:gd name="T12" fmla="*/ 47 w 47"/>
                <a:gd name="T13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17">
                  <a:moveTo>
                    <a:pt x="47" y="0"/>
                  </a:moveTo>
                  <a:lnTo>
                    <a:pt x="40" y="0"/>
                  </a:lnTo>
                  <a:lnTo>
                    <a:pt x="40" y="28"/>
                  </a:lnTo>
                  <a:lnTo>
                    <a:pt x="0" y="28"/>
                  </a:lnTo>
                  <a:lnTo>
                    <a:pt x="0" y="317"/>
                  </a:lnTo>
                  <a:lnTo>
                    <a:pt x="47" y="317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0E90233-61D1-4393-8D42-9B08E158E24D}"/>
                </a:ext>
              </a:extLst>
            </p:cNvPr>
            <p:cNvSpPr/>
            <p:nvPr/>
          </p:nvSpPr>
          <p:spPr bwMode="auto">
            <a:xfrm>
              <a:off x="7039100" y="1379984"/>
              <a:ext cx="84562" cy="570345"/>
            </a:xfrm>
            <a:custGeom>
              <a:avLst/>
              <a:gdLst>
                <a:gd name="T0" fmla="*/ 47 w 47"/>
                <a:gd name="T1" fmla="*/ 0 h 317"/>
                <a:gd name="T2" fmla="*/ 40 w 47"/>
                <a:gd name="T3" fmla="*/ 0 h 317"/>
                <a:gd name="T4" fmla="*/ 40 w 47"/>
                <a:gd name="T5" fmla="*/ 28 h 317"/>
                <a:gd name="T6" fmla="*/ 0 w 47"/>
                <a:gd name="T7" fmla="*/ 28 h 317"/>
                <a:gd name="T8" fmla="*/ 0 w 47"/>
                <a:gd name="T9" fmla="*/ 317 h 317"/>
                <a:gd name="T10" fmla="*/ 47 w 47"/>
                <a:gd name="T11" fmla="*/ 317 h 317"/>
                <a:gd name="T12" fmla="*/ 47 w 47"/>
                <a:gd name="T13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317">
                  <a:moveTo>
                    <a:pt x="47" y="0"/>
                  </a:moveTo>
                  <a:lnTo>
                    <a:pt x="40" y="0"/>
                  </a:lnTo>
                  <a:lnTo>
                    <a:pt x="40" y="28"/>
                  </a:lnTo>
                  <a:lnTo>
                    <a:pt x="0" y="28"/>
                  </a:lnTo>
                  <a:lnTo>
                    <a:pt x="0" y="317"/>
                  </a:lnTo>
                  <a:lnTo>
                    <a:pt x="47" y="317"/>
                  </a:lnTo>
                  <a:lnTo>
                    <a:pt x="4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6" name="矩形 115">
              <a:extLst>
                <a:ext uri="{FF2B5EF4-FFF2-40B4-BE49-F238E27FC236}">
                  <a16:creationId xmlns:a16="http://schemas.microsoft.com/office/drawing/2014/main" id="{D6C3CB15-9F24-44D9-864B-0BC5B1E3FC68}"/>
                </a:ext>
              </a:extLst>
            </p:cNvPr>
            <p:cNvSpPr/>
            <p:nvPr/>
          </p:nvSpPr>
          <p:spPr bwMode="auto">
            <a:xfrm>
              <a:off x="7192032" y="1613879"/>
              <a:ext cx="77365" cy="33645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7" name="矩形 116">
              <a:extLst>
                <a:ext uri="{FF2B5EF4-FFF2-40B4-BE49-F238E27FC236}">
                  <a16:creationId xmlns:a16="http://schemas.microsoft.com/office/drawing/2014/main" id="{64ECDF64-D435-483C-B2DD-F82F06EFCFAF}"/>
                </a:ext>
              </a:extLst>
            </p:cNvPr>
            <p:cNvSpPr/>
            <p:nvPr/>
          </p:nvSpPr>
          <p:spPr bwMode="auto">
            <a:xfrm>
              <a:off x="7192032" y="1613879"/>
              <a:ext cx="77365" cy="3364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29" name="矩形 28">
            <a:extLst>
              <a:ext uri="{FF2B5EF4-FFF2-40B4-BE49-F238E27FC236}">
                <a16:creationId xmlns:a16="http://schemas.microsoft.com/office/drawing/2014/main" id="{7DFE7089-9C99-4930-91C6-C73B00B94C83}"/>
              </a:ext>
            </a:extLst>
          </p:cNvPr>
          <p:cNvSpPr/>
          <p:nvPr/>
        </p:nvSpPr>
        <p:spPr>
          <a:xfrm>
            <a:off x="1356395" y="2315929"/>
            <a:ext cx="2232246" cy="478544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effectLst/>
                <a:cs typeface="+mn-ea"/>
                <a:sym typeface="+mn-lt"/>
              </a:rPr>
              <a:t>Copy paste fonts. Choose the only option to retain text......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effectLst/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B4DD4CBA-29E6-4F81-A798-35FE6D750D17}"/>
              </a:ext>
            </a:extLst>
          </p:cNvPr>
          <p:cNvSpPr/>
          <p:nvPr/>
        </p:nvSpPr>
        <p:spPr>
          <a:xfrm>
            <a:off x="1356395" y="1693032"/>
            <a:ext cx="1018432" cy="672130"/>
          </a:xfrm>
          <a:prstGeom prst="rect">
            <a:avLst/>
          </a:prstGeom>
        </p:spPr>
        <p:txBody>
          <a:bodyPr wrap="square" lIns="91440" tIns="45720" rIns="91440" bIns="45720">
            <a:normAutofit fontScale="85000" lnSpcReduction="10000"/>
          </a:bodyPr>
          <a:lstStyle/>
          <a:p>
            <a:r>
              <a:rPr lang="en-US" altLang="zh-CN" sz="3600" dirty="0">
                <a:solidFill>
                  <a:schemeClr val="accent1"/>
                </a:solidFill>
                <a:effectLst/>
                <a:cs typeface="+mn-ea"/>
                <a:sym typeface="+mn-lt"/>
              </a:rPr>
              <a:t>45%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7283C04B-14B2-4E9C-90F0-8E7A2E027E81}"/>
              </a:ext>
            </a:extLst>
          </p:cNvPr>
          <p:cNvSpPr/>
          <p:nvPr/>
        </p:nvSpPr>
        <p:spPr>
          <a:xfrm>
            <a:off x="2378347" y="1931774"/>
            <a:ext cx="1210295" cy="384154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/>
          <a:p>
            <a:r>
              <a:rPr lang="en-US" altLang="zh-CN" sz="2000" b="1" dirty="0">
                <a:effectLst/>
                <a:cs typeface="+mn-ea"/>
                <a:sym typeface="+mn-lt"/>
              </a:rPr>
              <a:t>Text here</a:t>
            </a:r>
            <a:endParaRPr lang="zh-CN" altLang="en-US" sz="2000" b="1" dirty="0">
              <a:effectLst/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4737B90-1DC8-4AF1-BEA2-6FA2F1378AE1}"/>
              </a:ext>
            </a:extLst>
          </p:cNvPr>
          <p:cNvSpPr/>
          <p:nvPr/>
        </p:nvSpPr>
        <p:spPr>
          <a:xfrm>
            <a:off x="1352875" y="3893325"/>
            <a:ext cx="2232246" cy="478544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effectLst/>
                <a:cs typeface="+mn-ea"/>
                <a:sym typeface="+mn-lt"/>
              </a:rPr>
              <a:t>Copy paste fonts. Choose the only option to retain text......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effectLst/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092E9C4E-1E1C-4F8B-931C-E45F9A60582E}"/>
              </a:ext>
            </a:extLst>
          </p:cNvPr>
          <p:cNvSpPr/>
          <p:nvPr/>
        </p:nvSpPr>
        <p:spPr>
          <a:xfrm>
            <a:off x="1352875" y="3270428"/>
            <a:ext cx="1018432" cy="672130"/>
          </a:xfrm>
          <a:prstGeom prst="rect">
            <a:avLst/>
          </a:prstGeom>
        </p:spPr>
        <p:txBody>
          <a:bodyPr wrap="square" lIns="91440" tIns="45720" rIns="91440" bIns="45720">
            <a:normAutofit fontScale="85000" lnSpcReduction="10000"/>
          </a:bodyPr>
          <a:lstStyle/>
          <a:p>
            <a:r>
              <a:rPr lang="en-US" altLang="zh-CN" sz="3600" dirty="0">
                <a:solidFill>
                  <a:schemeClr val="bg1">
                    <a:lumMod val="65000"/>
                  </a:schemeClr>
                </a:solidFill>
                <a:effectLst/>
                <a:cs typeface="+mn-ea"/>
                <a:sym typeface="+mn-lt"/>
              </a:rPr>
              <a:t>60%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DD3E6F29-1D23-421B-95E8-47DD9ED6D410}"/>
              </a:ext>
            </a:extLst>
          </p:cNvPr>
          <p:cNvSpPr/>
          <p:nvPr/>
        </p:nvSpPr>
        <p:spPr>
          <a:xfrm>
            <a:off x="2374827" y="3509170"/>
            <a:ext cx="1210295" cy="384154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/>
          <a:p>
            <a:r>
              <a:rPr lang="en-US" altLang="zh-CN" sz="2000" b="1" dirty="0">
                <a:effectLst/>
                <a:cs typeface="+mn-ea"/>
                <a:sym typeface="+mn-lt"/>
              </a:rPr>
              <a:t>Text here</a:t>
            </a:r>
            <a:endParaRPr lang="zh-CN" altLang="en-US" sz="2000" b="1" dirty="0">
              <a:effectLst/>
              <a:cs typeface="+mn-ea"/>
              <a:sym typeface="+mn-lt"/>
            </a:endParaRP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4F584DAD-875F-482F-BFA9-5ECEF51220F0}"/>
              </a:ext>
            </a:extLst>
          </p:cNvPr>
          <p:cNvSpPr/>
          <p:nvPr/>
        </p:nvSpPr>
        <p:spPr>
          <a:xfrm>
            <a:off x="1352874" y="5470720"/>
            <a:ext cx="2232246" cy="478544"/>
          </a:xfrm>
          <a:prstGeom prst="rect">
            <a:avLst/>
          </a:prstGeom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effectLst/>
                <a:cs typeface="+mn-ea"/>
                <a:sym typeface="+mn-lt"/>
              </a:rPr>
              <a:t>Copy paste fonts. Choose the only option to retain text......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effectLst/>
              <a:cs typeface="+mn-ea"/>
              <a:sym typeface="+mn-lt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8A791EEC-7F2F-449E-A962-5552EE9EAC06}"/>
              </a:ext>
            </a:extLst>
          </p:cNvPr>
          <p:cNvSpPr/>
          <p:nvPr/>
        </p:nvSpPr>
        <p:spPr>
          <a:xfrm>
            <a:off x="1352874" y="4847823"/>
            <a:ext cx="1018432" cy="672130"/>
          </a:xfrm>
          <a:prstGeom prst="rect">
            <a:avLst/>
          </a:prstGeom>
        </p:spPr>
        <p:txBody>
          <a:bodyPr wrap="square" lIns="91440" tIns="45720" rIns="91440" bIns="45720">
            <a:normAutofit fontScale="85000" lnSpcReduction="10000"/>
          </a:bodyPr>
          <a:lstStyle/>
          <a:p>
            <a:r>
              <a:rPr lang="en-US" altLang="zh-CN" sz="3600">
                <a:solidFill>
                  <a:schemeClr val="accent1"/>
                </a:solidFill>
                <a:effectLst/>
                <a:cs typeface="+mn-ea"/>
                <a:sym typeface="+mn-lt"/>
              </a:rPr>
              <a:t>88%</a:t>
            </a:r>
            <a:endParaRPr lang="en-US" altLang="zh-CN" sz="3600" dirty="0">
              <a:solidFill>
                <a:schemeClr val="accent1"/>
              </a:solidFill>
              <a:effectLst/>
              <a:cs typeface="+mn-ea"/>
              <a:sym typeface="+mn-lt"/>
            </a:endParaRP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BE24037-1E4B-44EF-B623-437B89E7EE94}"/>
              </a:ext>
            </a:extLst>
          </p:cNvPr>
          <p:cNvSpPr/>
          <p:nvPr/>
        </p:nvSpPr>
        <p:spPr>
          <a:xfrm>
            <a:off x="2374826" y="5086565"/>
            <a:ext cx="1210295" cy="384154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fontScale="85000" lnSpcReduction="10000"/>
          </a:bodyPr>
          <a:lstStyle/>
          <a:p>
            <a:r>
              <a:rPr lang="en-US" altLang="zh-CN" sz="2000" b="1" dirty="0">
                <a:effectLst/>
                <a:cs typeface="+mn-ea"/>
                <a:sym typeface="+mn-lt"/>
              </a:rPr>
              <a:t>Text here</a:t>
            </a:r>
            <a:endParaRPr lang="zh-CN" altLang="en-US" sz="2000" b="1" dirty="0">
              <a:effectLst/>
              <a:cs typeface="+mn-ea"/>
              <a:sym typeface="+mn-lt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C908ACFB-4342-41AD-9B47-78F2DE42594D}"/>
              </a:ext>
            </a:extLst>
          </p:cNvPr>
          <p:cNvSpPr/>
          <p:nvPr/>
        </p:nvSpPr>
        <p:spPr bwMode="auto">
          <a:xfrm>
            <a:off x="7464147" y="5437704"/>
            <a:ext cx="3492791" cy="55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ctr" eaLnBrk="1" hangingPunct="1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.....</a:t>
            </a:r>
            <a:r>
              <a:rPr lang="zh-CN" altLang="en-US" sz="1100" dirty="0">
                <a:cs typeface="+mn-ea"/>
                <a:sym typeface="+mn-lt"/>
              </a:rPr>
              <a:t>  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35AFEB48-D8F8-4155-BF6E-1A5CDF8E1AD9}"/>
              </a:ext>
            </a:extLst>
          </p:cNvPr>
          <p:cNvSpPr txBox="1"/>
          <p:nvPr/>
        </p:nvSpPr>
        <p:spPr bwMode="auto">
          <a:xfrm>
            <a:off x="7464147" y="5024803"/>
            <a:ext cx="3492791" cy="412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/>
          <a:p>
            <a:pPr algn="ctr" eaLnBrk="1" hangingPunct="1"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cxnSp>
        <p:nvCxnSpPr>
          <p:cNvPr id="40" name="连接符: 肘形 39">
            <a:extLst>
              <a:ext uri="{FF2B5EF4-FFF2-40B4-BE49-F238E27FC236}">
                <a16:creationId xmlns:a16="http://schemas.microsoft.com/office/drawing/2014/main" id="{D78F0CC0-D4FA-4E59-857E-7A096118B36B}"/>
              </a:ext>
            </a:extLst>
          </p:cNvPr>
          <p:cNvCxnSpPr>
            <a:stCxn id="29" idx="3"/>
            <a:endCxn id="38" idx="1"/>
          </p:cNvCxnSpPr>
          <p:nvPr/>
        </p:nvCxnSpPr>
        <p:spPr>
          <a:xfrm>
            <a:off x="3588641" y="2555202"/>
            <a:ext cx="3875505" cy="3160182"/>
          </a:xfrm>
          <a:prstGeom prst="bentConnector3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连接符: 肘形 40">
            <a:extLst>
              <a:ext uri="{FF2B5EF4-FFF2-40B4-BE49-F238E27FC236}">
                <a16:creationId xmlns:a16="http://schemas.microsoft.com/office/drawing/2014/main" id="{9F30A1C8-15E4-42C8-886E-A1AC28A7FFC5}"/>
              </a:ext>
            </a:extLst>
          </p:cNvPr>
          <p:cNvCxnSpPr>
            <a:stCxn id="32" idx="3"/>
            <a:endCxn id="38" idx="1"/>
          </p:cNvCxnSpPr>
          <p:nvPr/>
        </p:nvCxnSpPr>
        <p:spPr>
          <a:xfrm>
            <a:off x="3585121" y="4132597"/>
            <a:ext cx="3879025" cy="1582786"/>
          </a:xfrm>
          <a:prstGeom prst="bentConnector3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连接符: 肘形 41">
            <a:extLst>
              <a:ext uri="{FF2B5EF4-FFF2-40B4-BE49-F238E27FC236}">
                <a16:creationId xmlns:a16="http://schemas.microsoft.com/office/drawing/2014/main" id="{26BA690C-367F-4A2C-BB95-0C4466B4981D}"/>
              </a:ext>
            </a:extLst>
          </p:cNvPr>
          <p:cNvCxnSpPr>
            <a:stCxn id="35" idx="3"/>
            <a:endCxn id="38" idx="1"/>
          </p:cNvCxnSpPr>
          <p:nvPr/>
        </p:nvCxnSpPr>
        <p:spPr>
          <a:xfrm>
            <a:off x="3585120" y="5709992"/>
            <a:ext cx="3879026" cy="5391"/>
          </a:xfrm>
          <a:prstGeom prst="bentConnector3">
            <a:avLst/>
          </a:prstGeom>
          <a:ln w="3175" cap="rnd">
            <a:solidFill>
              <a:schemeClr val="bg1">
                <a:lumMod val="8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文本框 42">
            <a:extLst>
              <a:ext uri="{FF2B5EF4-FFF2-40B4-BE49-F238E27FC236}">
                <a16:creationId xmlns:a16="http://schemas.microsoft.com/office/drawing/2014/main" id="{232708CA-2B02-43F7-8781-1B5363176DD0}"/>
              </a:ext>
            </a:extLst>
          </p:cNvPr>
          <p:cNvSpPr txBox="1"/>
          <p:nvPr/>
        </p:nvSpPr>
        <p:spPr>
          <a:xfrm>
            <a:off x="5663948" y="5291697"/>
            <a:ext cx="914399" cy="412903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/>
          <a:p>
            <a:r>
              <a:rPr lang="en-US" altLang="zh-CN" sz="2000" b="1" dirty="0">
                <a:cs typeface="+mn-ea"/>
                <a:sym typeface="+mn-lt"/>
              </a:rPr>
              <a:t>Text</a:t>
            </a:r>
            <a:endParaRPr lang="zh-CN" altLang="en-US" sz="2000" b="1" dirty="0">
              <a:cs typeface="+mn-ea"/>
              <a:sym typeface="+mn-lt"/>
            </a:endParaRPr>
          </a:p>
        </p:txBody>
      </p:sp>
      <p:grpSp>
        <p:nvGrpSpPr>
          <p:cNvPr id="44" name="组合 43">
            <a:extLst>
              <a:ext uri="{FF2B5EF4-FFF2-40B4-BE49-F238E27FC236}">
                <a16:creationId xmlns:a16="http://schemas.microsoft.com/office/drawing/2014/main" id="{C9A03CF7-DE5F-48BA-ADFE-BBCF0E2C37FD}"/>
              </a:ext>
            </a:extLst>
          </p:cNvPr>
          <p:cNvGrpSpPr/>
          <p:nvPr/>
        </p:nvGrpSpPr>
        <p:grpSpPr>
          <a:xfrm>
            <a:off x="8396902" y="1215108"/>
            <a:ext cx="1636589" cy="3749337"/>
            <a:chOff x="40205026" y="18367376"/>
            <a:chExt cx="2908300" cy="6662738"/>
          </a:xfrm>
        </p:grpSpPr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BFD88750-E9E8-4349-8324-BAA9BC9383F5}"/>
                </a:ext>
              </a:extLst>
            </p:cNvPr>
            <p:cNvSpPr/>
            <p:nvPr/>
          </p:nvSpPr>
          <p:spPr bwMode="auto">
            <a:xfrm>
              <a:off x="40813038" y="23039389"/>
              <a:ext cx="239713" cy="292100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22" y="16"/>
                </a:cxn>
                <a:cxn ang="0">
                  <a:pos x="36" y="37"/>
                </a:cxn>
                <a:cxn ang="0">
                  <a:pos x="0" y="22"/>
                </a:cxn>
                <a:cxn ang="0">
                  <a:pos x="9" y="0"/>
                </a:cxn>
              </a:cxnLst>
              <a:rect l="0" t="0" r="r" b="b"/>
              <a:pathLst>
                <a:path w="41" h="50">
                  <a:moveTo>
                    <a:pt x="9" y="0"/>
                  </a:moveTo>
                  <a:cubicBezTo>
                    <a:pt x="9" y="0"/>
                    <a:pt x="15" y="9"/>
                    <a:pt x="22" y="16"/>
                  </a:cubicBezTo>
                  <a:cubicBezTo>
                    <a:pt x="31" y="24"/>
                    <a:pt x="41" y="31"/>
                    <a:pt x="36" y="37"/>
                  </a:cubicBezTo>
                  <a:cubicBezTo>
                    <a:pt x="27" y="50"/>
                    <a:pt x="1" y="26"/>
                    <a:pt x="0" y="22"/>
                  </a:cubicBezTo>
                  <a:lnTo>
                    <a:pt x="9" y="0"/>
                  </a:lnTo>
                  <a:close/>
                </a:path>
              </a:pathLst>
            </a:custGeom>
            <a:solidFill>
              <a:srgbClr val="F9DAB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4F75A544-0512-4DFA-87EC-FC2E6D1AEA6D}"/>
                </a:ext>
              </a:extLst>
            </p:cNvPr>
            <p:cNvSpPr/>
            <p:nvPr/>
          </p:nvSpPr>
          <p:spPr bwMode="auto">
            <a:xfrm>
              <a:off x="40632063" y="22548851"/>
              <a:ext cx="460375" cy="841375"/>
            </a:xfrm>
            <a:custGeom>
              <a:avLst/>
              <a:gdLst/>
              <a:ahLst/>
              <a:cxnLst>
                <a:cxn ang="0">
                  <a:pos x="11" y="22"/>
                </a:cxn>
                <a:cxn ang="0">
                  <a:pos x="11" y="84"/>
                </a:cxn>
                <a:cxn ang="0">
                  <a:pos x="42" y="141"/>
                </a:cxn>
                <a:cxn ang="0">
                  <a:pos x="46" y="120"/>
                </a:cxn>
                <a:cxn ang="0">
                  <a:pos x="47" y="75"/>
                </a:cxn>
                <a:cxn ang="0">
                  <a:pos x="71" y="95"/>
                </a:cxn>
                <a:cxn ang="0">
                  <a:pos x="65" y="50"/>
                </a:cxn>
                <a:cxn ang="0">
                  <a:pos x="63" y="28"/>
                </a:cxn>
                <a:cxn ang="0">
                  <a:pos x="69" y="8"/>
                </a:cxn>
                <a:cxn ang="0">
                  <a:pos x="19" y="0"/>
                </a:cxn>
                <a:cxn ang="0">
                  <a:pos x="11" y="22"/>
                </a:cxn>
              </a:cxnLst>
              <a:rect l="0" t="0" r="r" b="b"/>
              <a:pathLst>
                <a:path w="79" h="144">
                  <a:moveTo>
                    <a:pt x="11" y="22"/>
                  </a:moveTo>
                  <a:cubicBezTo>
                    <a:pt x="11" y="22"/>
                    <a:pt x="0" y="50"/>
                    <a:pt x="11" y="84"/>
                  </a:cubicBezTo>
                  <a:cubicBezTo>
                    <a:pt x="23" y="119"/>
                    <a:pt x="31" y="144"/>
                    <a:pt x="42" y="141"/>
                  </a:cubicBezTo>
                  <a:cubicBezTo>
                    <a:pt x="54" y="139"/>
                    <a:pt x="46" y="120"/>
                    <a:pt x="46" y="120"/>
                  </a:cubicBezTo>
                  <a:cubicBezTo>
                    <a:pt x="46" y="120"/>
                    <a:pt x="37" y="89"/>
                    <a:pt x="47" y="75"/>
                  </a:cubicBezTo>
                  <a:cubicBezTo>
                    <a:pt x="47" y="75"/>
                    <a:pt x="58" y="102"/>
                    <a:pt x="71" y="95"/>
                  </a:cubicBezTo>
                  <a:cubicBezTo>
                    <a:pt x="79" y="91"/>
                    <a:pt x="77" y="81"/>
                    <a:pt x="65" y="50"/>
                  </a:cubicBezTo>
                  <a:cubicBezTo>
                    <a:pt x="62" y="40"/>
                    <a:pt x="63" y="28"/>
                    <a:pt x="63" y="28"/>
                  </a:cubicBezTo>
                  <a:cubicBezTo>
                    <a:pt x="69" y="8"/>
                    <a:pt x="69" y="8"/>
                    <a:pt x="69" y="8"/>
                  </a:cubicBezTo>
                  <a:cubicBezTo>
                    <a:pt x="19" y="0"/>
                    <a:pt x="19" y="0"/>
                    <a:pt x="19" y="0"/>
                  </a:cubicBezTo>
                  <a:lnTo>
                    <a:pt x="11" y="22"/>
                  </a:lnTo>
                  <a:close/>
                </a:path>
              </a:pathLst>
            </a:custGeom>
            <a:solidFill>
              <a:srgbClr val="F9DAB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A7B7887D-162A-4132-9FA2-1A522D56B25D}"/>
                </a:ext>
              </a:extLst>
            </p:cNvPr>
            <p:cNvSpPr/>
            <p:nvPr/>
          </p:nvSpPr>
          <p:spPr bwMode="auto">
            <a:xfrm>
              <a:off x="40847963" y="23063201"/>
              <a:ext cx="76200" cy="185738"/>
            </a:xfrm>
            <a:custGeom>
              <a:avLst/>
              <a:gdLst/>
              <a:ahLst/>
              <a:cxnLst>
                <a:cxn ang="0">
                  <a:pos x="9" y="3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13" y="9"/>
                </a:cxn>
                <a:cxn ang="0">
                  <a:pos x="9" y="32"/>
                </a:cxn>
              </a:cxnLst>
              <a:rect l="0" t="0" r="r" b="b"/>
              <a:pathLst>
                <a:path w="13" h="32">
                  <a:moveTo>
                    <a:pt x="9" y="32"/>
                  </a:moveTo>
                  <a:cubicBezTo>
                    <a:pt x="9" y="32"/>
                    <a:pt x="0" y="19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8" y="2"/>
                    <a:pt x="10" y="5"/>
                    <a:pt x="13" y="9"/>
                  </a:cubicBezTo>
                  <a:cubicBezTo>
                    <a:pt x="13" y="9"/>
                    <a:pt x="5" y="22"/>
                    <a:pt x="9" y="32"/>
                  </a:cubicBezTo>
                  <a:close/>
                </a:path>
              </a:pathLst>
            </a:custGeom>
            <a:solidFill>
              <a:srgbClr val="EFC4A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7FF285EC-CFB8-4993-8F31-A9B199DAA253}"/>
                </a:ext>
              </a:extLst>
            </p:cNvPr>
            <p:cNvSpPr/>
            <p:nvPr/>
          </p:nvSpPr>
          <p:spPr bwMode="auto">
            <a:xfrm>
              <a:off x="42267188" y="23039389"/>
              <a:ext cx="244475" cy="292100"/>
            </a:xfrm>
            <a:custGeom>
              <a:avLst/>
              <a:gdLst/>
              <a:ahLst/>
              <a:cxnLst>
                <a:cxn ang="0">
                  <a:pos x="32" y="0"/>
                </a:cxn>
                <a:cxn ang="0">
                  <a:pos x="19" y="16"/>
                </a:cxn>
                <a:cxn ang="0">
                  <a:pos x="5" y="37"/>
                </a:cxn>
                <a:cxn ang="0">
                  <a:pos x="42" y="22"/>
                </a:cxn>
                <a:cxn ang="0">
                  <a:pos x="32" y="0"/>
                </a:cxn>
              </a:cxnLst>
              <a:rect l="0" t="0" r="r" b="b"/>
              <a:pathLst>
                <a:path w="42" h="50">
                  <a:moveTo>
                    <a:pt x="32" y="0"/>
                  </a:moveTo>
                  <a:cubicBezTo>
                    <a:pt x="32" y="0"/>
                    <a:pt x="26" y="9"/>
                    <a:pt x="19" y="16"/>
                  </a:cubicBezTo>
                  <a:cubicBezTo>
                    <a:pt x="10" y="24"/>
                    <a:pt x="0" y="31"/>
                    <a:pt x="5" y="37"/>
                  </a:cubicBezTo>
                  <a:cubicBezTo>
                    <a:pt x="14" y="50"/>
                    <a:pt x="40" y="26"/>
                    <a:pt x="42" y="22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F9DAB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71F0EBFA-1831-4BAE-A736-5D11A71B6218}"/>
                </a:ext>
              </a:extLst>
            </p:cNvPr>
            <p:cNvSpPr/>
            <p:nvPr/>
          </p:nvSpPr>
          <p:spPr bwMode="auto">
            <a:xfrm>
              <a:off x="42225913" y="22548851"/>
              <a:ext cx="461963" cy="841375"/>
            </a:xfrm>
            <a:custGeom>
              <a:avLst/>
              <a:gdLst/>
              <a:ahLst/>
              <a:cxnLst>
                <a:cxn ang="0">
                  <a:pos x="68" y="22"/>
                </a:cxn>
                <a:cxn ang="0">
                  <a:pos x="68" y="84"/>
                </a:cxn>
                <a:cxn ang="0">
                  <a:pos x="37" y="141"/>
                </a:cxn>
                <a:cxn ang="0">
                  <a:pos x="33" y="120"/>
                </a:cxn>
                <a:cxn ang="0">
                  <a:pos x="32" y="75"/>
                </a:cxn>
                <a:cxn ang="0">
                  <a:pos x="9" y="95"/>
                </a:cxn>
                <a:cxn ang="0">
                  <a:pos x="14" y="50"/>
                </a:cxn>
                <a:cxn ang="0">
                  <a:pos x="16" y="28"/>
                </a:cxn>
                <a:cxn ang="0">
                  <a:pos x="11" y="8"/>
                </a:cxn>
                <a:cxn ang="0">
                  <a:pos x="60" y="0"/>
                </a:cxn>
                <a:cxn ang="0">
                  <a:pos x="68" y="22"/>
                </a:cxn>
              </a:cxnLst>
              <a:rect l="0" t="0" r="r" b="b"/>
              <a:pathLst>
                <a:path w="79" h="144">
                  <a:moveTo>
                    <a:pt x="68" y="22"/>
                  </a:moveTo>
                  <a:cubicBezTo>
                    <a:pt x="68" y="22"/>
                    <a:pt x="79" y="50"/>
                    <a:pt x="68" y="84"/>
                  </a:cubicBezTo>
                  <a:cubicBezTo>
                    <a:pt x="57" y="119"/>
                    <a:pt x="49" y="144"/>
                    <a:pt x="37" y="141"/>
                  </a:cubicBezTo>
                  <a:cubicBezTo>
                    <a:pt x="26" y="139"/>
                    <a:pt x="33" y="120"/>
                    <a:pt x="33" y="120"/>
                  </a:cubicBezTo>
                  <a:cubicBezTo>
                    <a:pt x="33" y="120"/>
                    <a:pt x="42" y="89"/>
                    <a:pt x="32" y="75"/>
                  </a:cubicBezTo>
                  <a:cubicBezTo>
                    <a:pt x="32" y="75"/>
                    <a:pt x="22" y="102"/>
                    <a:pt x="9" y="95"/>
                  </a:cubicBezTo>
                  <a:cubicBezTo>
                    <a:pt x="0" y="91"/>
                    <a:pt x="2" y="81"/>
                    <a:pt x="14" y="50"/>
                  </a:cubicBezTo>
                  <a:cubicBezTo>
                    <a:pt x="18" y="40"/>
                    <a:pt x="16" y="28"/>
                    <a:pt x="16" y="2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60" y="0"/>
                    <a:pt x="60" y="0"/>
                    <a:pt x="60" y="0"/>
                  </a:cubicBezTo>
                  <a:lnTo>
                    <a:pt x="68" y="22"/>
                  </a:lnTo>
                  <a:close/>
                </a:path>
              </a:pathLst>
            </a:custGeom>
            <a:solidFill>
              <a:srgbClr val="F9DAB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03117588-B47F-4C2C-9DC7-FA3C13B051FF}"/>
                </a:ext>
              </a:extLst>
            </p:cNvPr>
            <p:cNvSpPr/>
            <p:nvPr/>
          </p:nvSpPr>
          <p:spPr bwMode="auto">
            <a:xfrm>
              <a:off x="42400538" y="23063201"/>
              <a:ext cx="71438" cy="185738"/>
            </a:xfrm>
            <a:custGeom>
              <a:avLst/>
              <a:gdLst/>
              <a:ahLst/>
              <a:cxnLst>
                <a:cxn ang="0">
                  <a:pos x="3" y="3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0" y="9"/>
                </a:cxn>
                <a:cxn ang="0">
                  <a:pos x="3" y="32"/>
                </a:cxn>
              </a:cxnLst>
              <a:rect l="0" t="0" r="r" b="b"/>
              <a:pathLst>
                <a:path w="12" h="32">
                  <a:moveTo>
                    <a:pt x="3" y="32"/>
                  </a:moveTo>
                  <a:cubicBezTo>
                    <a:pt x="3" y="32"/>
                    <a:pt x="12" y="19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2"/>
                    <a:pt x="2" y="5"/>
                    <a:pt x="0" y="9"/>
                  </a:cubicBezTo>
                  <a:cubicBezTo>
                    <a:pt x="0" y="9"/>
                    <a:pt x="7" y="22"/>
                    <a:pt x="3" y="32"/>
                  </a:cubicBezTo>
                  <a:close/>
                </a:path>
              </a:pathLst>
            </a:custGeom>
            <a:solidFill>
              <a:srgbClr val="EFC4A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BCF17521-9F52-462B-86B5-EBB543F90C83}"/>
                </a:ext>
              </a:extLst>
            </p:cNvPr>
            <p:cNvSpPr/>
            <p:nvPr/>
          </p:nvSpPr>
          <p:spPr bwMode="auto">
            <a:xfrm>
              <a:off x="40994013" y="22817139"/>
              <a:ext cx="1336675" cy="2062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29" y="0"/>
                </a:cxn>
                <a:cxn ang="0">
                  <a:pos x="203" y="331"/>
                </a:cxn>
                <a:cxn ang="0">
                  <a:pos x="111" y="353"/>
                </a:cxn>
                <a:cxn ang="0">
                  <a:pos x="21" y="328"/>
                </a:cxn>
                <a:cxn ang="0">
                  <a:pos x="0" y="0"/>
                </a:cxn>
              </a:cxnLst>
              <a:rect l="0" t="0" r="r" b="b"/>
              <a:pathLst>
                <a:path w="229" h="353">
                  <a:moveTo>
                    <a:pt x="0" y="0"/>
                  </a:moveTo>
                  <a:cubicBezTo>
                    <a:pt x="229" y="0"/>
                    <a:pt x="229" y="0"/>
                    <a:pt x="229" y="0"/>
                  </a:cubicBezTo>
                  <a:cubicBezTo>
                    <a:pt x="229" y="0"/>
                    <a:pt x="209" y="288"/>
                    <a:pt x="203" y="331"/>
                  </a:cubicBezTo>
                  <a:cubicBezTo>
                    <a:pt x="111" y="353"/>
                    <a:pt x="111" y="353"/>
                    <a:pt x="111" y="353"/>
                  </a:cubicBezTo>
                  <a:cubicBezTo>
                    <a:pt x="21" y="328"/>
                    <a:pt x="21" y="328"/>
                    <a:pt x="21" y="32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EBBA4344-7CE2-42C1-BFDA-A358210C8B5D}"/>
                </a:ext>
              </a:extLst>
            </p:cNvPr>
            <p:cNvSpPr/>
            <p:nvPr/>
          </p:nvSpPr>
          <p:spPr bwMode="auto">
            <a:xfrm>
              <a:off x="41582976" y="23429914"/>
              <a:ext cx="111125" cy="1489075"/>
            </a:xfrm>
            <a:custGeom>
              <a:avLst/>
              <a:gdLst/>
              <a:ahLst/>
              <a:cxnLst>
                <a:cxn ang="0">
                  <a:pos x="70" y="905"/>
                </a:cxn>
                <a:cxn ang="0">
                  <a:pos x="48" y="0"/>
                </a:cxn>
                <a:cxn ang="0">
                  <a:pos x="0" y="902"/>
                </a:cxn>
                <a:cxn ang="0">
                  <a:pos x="37" y="938"/>
                </a:cxn>
                <a:cxn ang="0">
                  <a:pos x="70" y="905"/>
                </a:cxn>
              </a:cxnLst>
              <a:rect l="0" t="0" r="r" b="b"/>
              <a:pathLst>
                <a:path w="70" h="938">
                  <a:moveTo>
                    <a:pt x="70" y="905"/>
                  </a:moveTo>
                  <a:lnTo>
                    <a:pt x="48" y="0"/>
                  </a:lnTo>
                  <a:lnTo>
                    <a:pt x="0" y="902"/>
                  </a:lnTo>
                  <a:lnTo>
                    <a:pt x="37" y="938"/>
                  </a:lnTo>
                  <a:lnTo>
                    <a:pt x="70" y="905"/>
                  </a:lnTo>
                  <a:close/>
                </a:path>
              </a:pathLst>
            </a:custGeom>
            <a:solidFill>
              <a:srgbClr val="2F3233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D1038488-D6EB-4050-81F9-AFE1654A62A2}"/>
                </a:ext>
              </a:extLst>
            </p:cNvPr>
            <p:cNvSpPr/>
            <p:nvPr/>
          </p:nvSpPr>
          <p:spPr bwMode="auto">
            <a:xfrm>
              <a:off x="40555863" y="24639589"/>
              <a:ext cx="1168400" cy="390525"/>
            </a:xfrm>
            <a:custGeom>
              <a:avLst/>
              <a:gdLst/>
              <a:ahLst/>
              <a:cxnLst>
                <a:cxn ang="0">
                  <a:pos x="99" y="4"/>
                </a:cxn>
                <a:cxn ang="0">
                  <a:pos x="100" y="65"/>
                </a:cxn>
                <a:cxn ang="0">
                  <a:pos x="185" y="41"/>
                </a:cxn>
                <a:cxn ang="0">
                  <a:pos x="99" y="4"/>
                </a:cxn>
              </a:cxnLst>
              <a:rect l="0" t="0" r="r" b="b"/>
              <a:pathLst>
                <a:path w="200" h="67">
                  <a:moveTo>
                    <a:pt x="99" y="4"/>
                  </a:moveTo>
                  <a:cubicBezTo>
                    <a:pt x="68" y="7"/>
                    <a:pt x="0" y="67"/>
                    <a:pt x="100" y="65"/>
                  </a:cubicBezTo>
                  <a:cubicBezTo>
                    <a:pt x="200" y="63"/>
                    <a:pt x="186" y="49"/>
                    <a:pt x="185" y="41"/>
                  </a:cubicBezTo>
                  <a:cubicBezTo>
                    <a:pt x="183" y="33"/>
                    <a:pt x="144" y="0"/>
                    <a:pt x="99" y="4"/>
                  </a:cubicBezTo>
                  <a:close/>
                </a:path>
              </a:pathLst>
            </a:custGeom>
            <a:solidFill>
              <a:srgbClr val="242728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AD4BD73B-95E3-4DA3-969E-94BAA494549F}"/>
                </a:ext>
              </a:extLst>
            </p:cNvPr>
            <p:cNvSpPr/>
            <p:nvPr/>
          </p:nvSpPr>
          <p:spPr bwMode="auto">
            <a:xfrm>
              <a:off x="41560751" y="24639589"/>
              <a:ext cx="1166813" cy="390525"/>
            </a:xfrm>
            <a:custGeom>
              <a:avLst/>
              <a:gdLst/>
              <a:ahLst/>
              <a:cxnLst>
                <a:cxn ang="0">
                  <a:pos x="102" y="4"/>
                </a:cxn>
                <a:cxn ang="0">
                  <a:pos x="100" y="65"/>
                </a:cxn>
                <a:cxn ang="0">
                  <a:pos x="16" y="41"/>
                </a:cxn>
                <a:cxn ang="0">
                  <a:pos x="102" y="4"/>
                </a:cxn>
              </a:cxnLst>
              <a:rect l="0" t="0" r="r" b="b"/>
              <a:pathLst>
                <a:path w="200" h="67">
                  <a:moveTo>
                    <a:pt x="102" y="4"/>
                  </a:moveTo>
                  <a:cubicBezTo>
                    <a:pt x="133" y="7"/>
                    <a:pt x="200" y="67"/>
                    <a:pt x="100" y="65"/>
                  </a:cubicBezTo>
                  <a:cubicBezTo>
                    <a:pt x="0" y="63"/>
                    <a:pt x="14" y="49"/>
                    <a:pt x="16" y="41"/>
                  </a:cubicBezTo>
                  <a:cubicBezTo>
                    <a:pt x="17" y="33"/>
                    <a:pt x="56" y="0"/>
                    <a:pt x="102" y="4"/>
                  </a:cubicBezTo>
                  <a:close/>
                </a:path>
              </a:pathLst>
            </a:custGeom>
            <a:solidFill>
              <a:srgbClr val="242728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D2EB7A07-5C01-4E2B-AD05-883453F9234D}"/>
                </a:ext>
              </a:extLst>
            </p:cNvPr>
            <p:cNvSpPr/>
            <p:nvPr/>
          </p:nvSpPr>
          <p:spPr bwMode="auto">
            <a:xfrm>
              <a:off x="40695563" y="22531389"/>
              <a:ext cx="357188" cy="204788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22"/>
                </a:cxn>
                <a:cxn ang="0">
                  <a:pos x="61" y="34"/>
                </a:cxn>
                <a:cxn ang="0">
                  <a:pos x="61" y="0"/>
                </a:cxn>
                <a:cxn ang="0">
                  <a:pos x="5" y="0"/>
                </a:cxn>
              </a:cxnLst>
              <a:rect l="0" t="0" r="r" b="b"/>
              <a:pathLst>
                <a:path w="61" h="35">
                  <a:moveTo>
                    <a:pt x="5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0" y="22"/>
                    <a:pt x="25" y="35"/>
                    <a:pt x="61" y="34"/>
                  </a:cubicBezTo>
                  <a:cubicBezTo>
                    <a:pt x="61" y="0"/>
                    <a:pt x="61" y="0"/>
                    <a:pt x="61" y="0"/>
                  </a:cubicBezTo>
                  <a:lnTo>
                    <a:pt x="5" y="0"/>
                  </a:lnTo>
                  <a:close/>
                </a:path>
              </a:pathLst>
            </a:custGeom>
            <a:solidFill>
              <a:srgbClr val="F9F5E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A01606F9-BE60-41B4-A4FA-7C25412CEC4E}"/>
                </a:ext>
              </a:extLst>
            </p:cNvPr>
            <p:cNvSpPr/>
            <p:nvPr/>
          </p:nvSpPr>
          <p:spPr bwMode="auto">
            <a:xfrm>
              <a:off x="42271951" y="22531389"/>
              <a:ext cx="357188" cy="204788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61" y="22"/>
                </a:cxn>
                <a:cxn ang="0">
                  <a:pos x="0" y="34"/>
                </a:cxn>
                <a:cxn ang="0">
                  <a:pos x="0" y="0"/>
                </a:cxn>
                <a:cxn ang="0">
                  <a:pos x="56" y="0"/>
                </a:cxn>
              </a:cxnLst>
              <a:rect l="0" t="0" r="r" b="b"/>
              <a:pathLst>
                <a:path w="61" h="35">
                  <a:moveTo>
                    <a:pt x="56" y="0"/>
                  </a:move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35" y="35"/>
                    <a:pt x="0" y="3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56" y="0"/>
                  </a:lnTo>
                  <a:close/>
                </a:path>
              </a:pathLst>
            </a:custGeom>
            <a:solidFill>
              <a:srgbClr val="F9F5E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8C382BE0-2C26-4221-9B40-FDF6A3309DCA}"/>
                </a:ext>
              </a:extLst>
            </p:cNvPr>
            <p:cNvSpPr/>
            <p:nvPr/>
          </p:nvSpPr>
          <p:spPr bwMode="auto">
            <a:xfrm>
              <a:off x="40690801" y="21024851"/>
              <a:ext cx="1944688" cy="1833563"/>
            </a:xfrm>
            <a:custGeom>
              <a:avLst/>
              <a:gdLst/>
              <a:ahLst/>
              <a:cxnLst>
                <a:cxn ang="0">
                  <a:pos x="277" y="277"/>
                </a:cxn>
                <a:cxn ang="0">
                  <a:pos x="333" y="263"/>
                </a:cxn>
                <a:cxn ang="0">
                  <a:pos x="271" y="4"/>
                </a:cxn>
                <a:cxn ang="0">
                  <a:pos x="239" y="0"/>
                </a:cxn>
                <a:cxn ang="0">
                  <a:pos x="166" y="5"/>
                </a:cxn>
                <a:cxn ang="0">
                  <a:pos x="93" y="0"/>
                </a:cxn>
                <a:cxn ang="0">
                  <a:pos x="61" y="4"/>
                </a:cxn>
                <a:cxn ang="0">
                  <a:pos x="0" y="263"/>
                </a:cxn>
                <a:cxn ang="0">
                  <a:pos x="56" y="277"/>
                </a:cxn>
                <a:cxn ang="0">
                  <a:pos x="52" y="307"/>
                </a:cxn>
                <a:cxn ang="0">
                  <a:pos x="166" y="314"/>
                </a:cxn>
                <a:cxn ang="0">
                  <a:pos x="281" y="307"/>
                </a:cxn>
                <a:cxn ang="0">
                  <a:pos x="277" y="277"/>
                </a:cxn>
              </a:cxnLst>
              <a:rect l="0" t="0" r="r" b="b"/>
              <a:pathLst>
                <a:path w="333" h="314">
                  <a:moveTo>
                    <a:pt x="277" y="277"/>
                  </a:moveTo>
                  <a:cubicBezTo>
                    <a:pt x="311" y="276"/>
                    <a:pt x="333" y="263"/>
                    <a:pt x="333" y="263"/>
                  </a:cubicBezTo>
                  <a:cubicBezTo>
                    <a:pt x="333" y="263"/>
                    <a:pt x="274" y="9"/>
                    <a:pt x="271" y="4"/>
                  </a:cubicBezTo>
                  <a:cubicBezTo>
                    <a:pt x="269" y="0"/>
                    <a:pt x="239" y="0"/>
                    <a:pt x="239" y="0"/>
                  </a:cubicBezTo>
                  <a:cubicBezTo>
                    <a:pt x="166" y="5"/>
                    <a:pt x="166" y="5"/>
                    <a:pt x="166" y="5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64" y="0"/>
                    <a:pt x="61" y="4"/>
                  </a:cubicBezTo>
                  <a:cubicBezTo>
                    <a:pt x="58" y="9"/>
                    <a:pt x="0" y="263"/>
                    <a:pt x="0" y="263"/>
                  </a:cubicBezTo>
                  <a:cubicBezTo>
                    <a:pt x="0" y="263"/>
                    <a:pt x="22" y="276"/>
                    <a:pt x="56" y="277"/>
                  </a:cubicBezTo>
                  <a:cubicBezTo>
                    <a:pt x="52" y="307"/>
                    <a:pt x="52" y="307"/>
                    <a:pt x="52" y="307"/>
                  </a:cubicBezTo>
                  <a:cubicBezTo>
                    <a:pt x="52" y="307"/>
                    <a:pt x="77" y="314"/>
                    <a:pt x="166" y="314"/>
                  </a:cubicBezTo>
                  <a:cubicBezTo>
                    <a:pt x="256" y="314"/>
                    <a:pt x="281" y="307"/>
                    <a:pt x="281" y="307"/>
                  </a:cubicBezTo>
                  <a:lnTo>
                    <a:pt x="277" y="277"/>
                  </a:lnTo>
                  <a:close/>
                </a:path>
              </a:pathLst>
            </a:custGeom>
            <a:solidFill>
              <a:srgbClr val="51515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椭圆 57">
              <a:extLst>
                <a:ext uri="{FF2B5EF4-FFF2-40B4-BE49-F238E27FC236}">
                  <a16:creationId xmlns:a16="http://schemas.microsoft.com/office/drawing/2014/main" id="{3057034E-B3E9-45F9-84AC-5C066C248CD5}"/>
                </a:ext>
              </a:extLst>
            </p:cNvPr>
            <p:cNvSpPr/>
            <p:nvPr/>
          </p:nvSpPr>
          <p:spPr bwMode="auto">
            <a:xfrm>
              <a:off x="41595676" y="21316951"/>
              <a:ext cx="133350" cy="133350"/>
            </a:xfrm>
            <a:prstGeom prst="ellipse">
              <a:avLst/>
            </a:pr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椭圆 58">
              <a:extLst>
                <a:ext uri="{FF2B5EF4-FFF2-40B4-BE49-F238E27FC236}">
                  <a16:creationId xmlns:a16="http://schemas.microsoft.com/office/drawing/2014/main" id="{3FD0BDDC-8BC6-4ED5-8E3F-69D1CFAECDEC}"/>
                </a:ext>
              </a:extLst>
            </p:cNvPr>
            <p:cNvSpPr/>
            <p:nvPr/>
          </p:nvSpPr>
          <p:spPr bwMode="auto">
            <a:xfrm>
              <a:off x="41595676" y="21574126"/>
              <a:ext cx="133350" cy="133350"/>
            </a:xfrm>
            <a:prstGeom prst="ellipse">
              <a:avLst/>
            </a:pr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椭圆 59">
              <a:extLst>
                <a:ext uri="{FF2B5EF4-FFF2-40B4-BE49-F238E27FC236}">
                  <a16:creationId xmlns:a16="http://schemas.microsoft.com/office/drawing/2014/main" id="{234A9895-F8BA-4E02-A968-9BEBFE334B24}"/>
                </a:ext>
              </a:extLst>
            </p:cNvPr>
            <p:cNvSpPr/>
            <p:nvPr/>
          </p:nvSpPr>
          <p:spPr bwMode="auto">
            <a:xfrm>
              <a:off x="41595676" y="21836064"/>
              <a:ext cx="133350" cy="134938"/>
            </a:xfrm>
            <a:prstGeom prst="ellipse">
              <a:avLst/>
            </a:pr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椭圆 60">
              <a:extLst>
                <a:ext uri="{FF2B5EF4-FFF2-40B4-BE49-F238E27FC236}">
                  <a16:creationId xmlns:a16="http://schemas.microsoft.com/office/drawing/2014/main" id="{7B9C38CE-DEA2-40A5-895B-68D251E12769}"/>
                </a:ext>
              </a:extLst>
            </p:cNvPr>
            <p:cNvSpPr/>
            <p:nvPr/>
          </p:nvSpPr>
          <p:spPr bwMode="auto">
            <a:xfrm>
              <a:off x="41595676" y="22093239"/>
              <a:ext cx="133350" cy="134938"/>
            </a:xfrm>
            <a:prstGeom prst="ellipse">
              <a:avLst/>
            </a:pr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椭圆 61">
              <a:extLst>
                <a:ext uri="{FF2B5EF4-FFF2-40B4-BE49-F238E27FC236}">
                  <a16:creationId xmlns:a16="http://schemas.microsoft.com/office/drawing/2014/main" id="{53BD1CF4-44AD-492E-8ECA-28D32BF2CFD2}"/>
                </a:ext>
              </a:extLst>
            </p:cNvPr>
            <p:cNvSpPr/>
            <p:nvPr/>
          </p:nvSpPr>
          <p:spPr bwMode="auto">
            <a:xfrm>
              <a:off x="41595676" y="22356764"/>
              <a:ext cx="133350" cy="133350"/>
            </a:xfrm>
            <a:prstGeom prst="ellipse">
              <a:avLst/>
            </a:pr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矩形 62">
              <a:extLst>
                <a:ext uri="{FF2B5EF4-FFF2-40B4-BE49-F238E27FC236}">
                  <a16:creationId xmlns:a16="http://schemas.microsoft.com/office/drawing/2014/main" id="{69BE8233-1BC5-475E-ACD4-08ED5AB9D873}"/>
                </a:ext>
              </a:extLst>
            </p:cNvPr>
            <p:cNvSpPr/>
            <p:nvPr/>
          </p:nvSpPr>
          <p:spPr bwMode="auto">
            <a:xfrm>
              <a:off x="41817926" y="21450301"/>
              <a:ext cx="285750" cy="169863"/>
            </a:xfrm>
            <a:prstGeom prst="rect">
              <a:avLst/>
            </a:prstGeom>
            <a:solidFill>
              <a:srgbClr val="F4BB3B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矩形 63">
              <a:extLst>
                <a:ext uri="{FF2B5EF4-FFF2-40B4-BE49-F238E27FC236}">
                  <a16:creationId xmlns:a16="http://schemas.microsoft.com/office/drawing/2014/main" id="{5A82C0EA-35EF-4E2C-9E58-80E29D6AD7C3}"/>
                </a:ext>
              </a:extLst>
            </p:cNvPr>
            <p:cNvSpPr/>
            <p:nvPr/>
          </p:nvSpPr>
          <p:spPr bwMode="auto">
            <a:xfrm>
              <a:off x="41846501" y="21485226"/>
              <a:ext cx="227013" cy="30163"/>
            </a:xfrm>
            <a:prstGeom prst="rect">
              <a:avLst/>
            </a:prstGeom>
            <a:solidFill>
              <a:srgbClr val="EA9628"/>
            </a:solidFill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B074ECEA-2D89-42E4-8222-B9547E853FCE}"/>
                </a:ext>
              </a:extLst>
            </p:cNvPr>
            <p:cNvSpPr/>
            <p:nvPr/>
          </p:nvSpPr>
          <p:spPr bwMode="auto">
            <a:xfrm>
              <a:off x="42162413" y="21543964"/>
              <a:ext cx="227013" cy="1098550"/>
            </a:xfrm>
            <a:custGeom>
              <a:avLst/>
              <a:gdLst/>
              <a:ahLst/>
              <a:cxnLst>
                <a:cxn ang="0">
                  <a:pos x="25" y="188"/>
                </a:cxn>
                <a:cxn ang="0">
                  <a:pos x="0" y="0"/>
                </a:cxn>
                <a:cxn ang="0">
                  <a:pos x="39" y="187"/>
                </a:cxn>
                <a:cxn ang="0">
                  <a:pos x="25" y="188"/>
                </a:cxn>
              </a:cxnLst>
              <a:rect l="0" t="0" r="r" b="b"/>
              <a:pathLst>
                <a:path w="39" h="188">
                  <a:moveTo>
                    <a:pt x="25" y="18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9" y="187"/>
                    <a:pt x="39" y="187"/>
                    <a:pt x="39" y="187"/>
                  </a:cubicBezTo>
                  <a:cubicBezTo>
                    <a:pt x="34" y="188"/>
                    <a:pt x="30" y="188"/>
                    <a:pt x="25" y="188"/>
                  </a:cubicBezTo>
                  <a:close/>
                </a:path>
              </a:pathLst>
            </a:cu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69D4A552-1887-46CB-AD27-FF96F2C6E886}"/>
                </a:ext>
              </a:extLst>
            </p:cNvPr>
            <p:cNvSpPr/>
            <p:nvPr/>
          </p:nvSpPr>
          <p:spPr bwMode="auto">
            <a:xfrm>
              <a:off x="40928926" y="21543964"/>
              <a:ext cx="228600" cy="1098550"/>
            </a:xfrm>
            <a:custGeom>
              <a:avLst/>
              <a:gdLst/>
              <a:ahLst/>
              <a:cxnLst>
                <a:cxn ang="0">
                  <a:pos x="15" y="188"/>
                </a:cxn>
                <a:cxn ang="0">
                  <a:pos x="39" y="0"/>
                </a:cxn>
                <a:cxn ang="0">
                  <a:pos x="0" y="187"/>
                </a:cxn>
                <a:cxn ang="0">
                  <a:pos x="15" y="188"/>
                </a:cxn>
              </a:cxnLst>
              <a:rect l="0" t="0" r="r" b="b"/>
              <a:pathLst>
                <a:path w="39" h="188">
                  <a:moveTo>
                    <a:pt x="15" y="188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0" y="187"/>
                    <a:pt x="0" y="187"/>
                    <a:pt x="0" y="187"/>
                  </a:cubicBezTo>
                  <a:cubicBezTo>
                    <a:pt x="5" y="188"/>
                    <a:pt x="10" y="188"/>
                    <a:pt x="15" y="188"/>
                  </a:cubicBezTo>
                  <a:close/>
                </a:path>
              </a:pathLst>
            </a:cu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911CD5F1-63EC-4C46-92C5-4E17DA088A0E}"/>
                </a:ext>
              </a:extLst>
            </p:cNvPr>
            <p:cNvSpPr/>
            <p:nvPr/>
          </p:nvSpPr>
          <p:spPr bwMode="auto">
            <a:xfrm>
              <a:off x="41233726" y="20796251"/>
              <a:ext cx="852488" cy="374650"/>
            </a:xfrm>
            <a:custGeom>
              <a:avLst/>
              <a:gdLst/>
              <a:ahLst/>
              <a:cxnLst>
                <a:cxn ang="0">
                  <a:pos x="146" y="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39"/>
                </a:cxn>
                <a:cxn ang="0">
                  <a:pos x="73" y="64"/>
                </a:cxn>
                <a:cxn ang="0">
                  <a:pos x="146" y="39"/>
                </a:cxn>
                <a:cxn ang="0">
                  <a:pos x="146" y="0"/>
                </a:cxn>
              </a:cxnLst>
              <a:rect l="0" t="0" r="r" b="b"/>
              <a:pathLst>
                <a:path w="146" h="64">
                  <a:moveTo>
                    <a:pt x="146" y="0"/>
                  </a:moveTo>
                  <a:cubicBezTo>
                    <a:pt x="73" y="0"/>
                    <a:pt x="73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39"/>
                    <a:pt x="24" y="64"/>
                    <a:pt x="73" y="64"/>
                  </a:cubicBezTo>
                  <a:cubicBezTo>
                    <a:pt x="122" y="64"/>
                    <a:pt x="146" y="39"/>
                    <a:pt x="146" y="39"/>
                  </a:cubicBezTo>
                  <a:lnTo>
                    <a:pt x="146" y="0"/>
                  </a:lnTo>
                  <a:close/>
                </a:path>
              </a:pathLst>
            </a:custGeom>
            <a:solidFill>
              <a:srgbClr val="393C3D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7694A880-D57B-489B-BC4B-F009FDF27DBD}"/>
                </a:ext>
              </a:extLst>
            </p:cNvPr>
            <p:cNvSpPr/>
            <p:nvPr/>
          </p:nvSpPr>
          <p:spPr bwMode="auto">
            <a:xfrm>
              <a:off x="40270113" y="18951576"/>
              <a:ext cx="2779713" cy="1255713"/>
            </a:xfrm>
            <a:custGeom>
              <a:avLst/>
              <a:gdLst/>
              <a:ahLst/>
              <a:cxnLst>
                <a:cxn ang="0">
                  <a:pos x="64" y="215"/>
                </a:cxn>
                <a:cxn ang="0">
                  <a:pos x="238" y="0"/>
                </a:cxn>
                <a:cxn ang="0">
                  <a:pos x="412" y="215"/>
                </a:cxn>
                <a:cxn ang="0">
                  <a:pos x="64" y="215"/>
                </a:cxn>
              </a:cxnLst>
              <a:rect l="0" t="0" r="r" b="b"/>
              <a:pathLst>
                <a:path w="476" h="215">
                  <a:moveTo>
                    <a:pt x="64" y="215"/>
                  </a:moveTo>
                  <a:cubicBezTo>
                    <a:pt x="64" y="215"/>
                    <a:pt x="0" y="0"/>
                    <a:pt x="238" y="0"/>
                  </a:cubicBezTo>
                  <a:cubicBezTo>
                    <a:pt x="476" y="0"/>
                    <a:pt x="412" y="215"/>
                    <a:pt x="412" y="215"/>
                  </a:cubicBezTo>
                  <a:lnTo>
                    <a:pt x="64" y="215"/>
                  </a:lnTo>
                  <a:close/>
                </a:path>
              </a:pathLst>
            </a:custGeom>
            <a:solidFill>
              <a:srgbClr val="7F573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7C18F981-6839-43D5-9040-F7C635FB33C5}"/>
                </a:ext>
              </a:extLst>
            </p:cNvPr>
            <p:cNvSpPr/>
            <p:nvPr/>
          </p:nvSpPr>
          <p:spPr bwMode="auto">
            <a:xfrm>
              <a:off x="40538401" y="20096164"/>
              <a:ext cx="508000" cy="560388"/>
            </a:xfrm>
            <a:custGeom>
              <a:avLst/>
              <a:gdLst/>
              <a:ahLst/>
              <a:cxnLst>
                <a:cxn ang="0">
                  <a:pos x="48" y="17"/>
                </a:cxn>
                <a:cxn ang="0">
                  <a:pos x="18" y="9"/>
                </a:cxn>
                <a:cxn ang="0">
                  <a:pos x="87" y="95"/>
                </a:cxn>
                <a:cxn ang="0">
                  <a:pos x="48" y="17"/>
                </a:cxn>
              </a:cxnLst>
              <a:rect l="0" t="0" r="r" b="b"/>
              <a:pathLst>
                <a:path w="87" h="96">
                  <a:moveTo>
                    <a:pt x="48" y="17"/>
                  </a:moveTo>
                  <a:cubicBezTo>
                    <a:pt x="48" y="17"/>
                    <a:pt x="36" y="0"/>
                    <a:pt x="18" y="9"/>
                  </a:cubicBezTo>
                  <a:cubicBezTo>
                    <a:pt x="0" y="19"/>
                    <a:pt x="6" y="96"/>
                    <a:pt x="87" y="95"/>
                  </a:cubicBezTo>
                  <a:lnTo>
                    <a:pt x="48" y="17"/>
                  </a:lnTo>
                  <a:close/>
                </a:path>
              </a:pathLst>
            </a:custGeom>
            <a:solidFill>
              <a:srgbClr val="F4D3B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8ECBB198-EC96-4B1B-85C6-6B5E76B55F68}"/>
                </a:ext>
              </a:extLst>
            </p:cNvPr>
            <p:cNvSpPr/>
            <p:nvPr/>
          </p:nvSpPr>
          <p:spPr bwMode="auto">
            <a:xfrm>
              <a:off x="42284651" y="20096164"/>
              <a:ext cx="508000" cy="560388"/>
            </a:xfrm>
            <a:custGeom>
              <a:avLst/>
              <a:gdLst/>
              <a:ahLst/>
              <a:cxnLst>
                <a:cxn ang="0">
                  <a:pos x="39" y="17"/>
                </a:cxn>
                <a:cxn ang="0">
                  <a:pos x="69" y="9"/>
                </a:cxn>
                <a:cxn ang="0">
                  <a:pos x="0" y="95"/>
                </a:cxn>
                <a:cxn ang="0">
                  <a:pos x="39" y="17"/>
                </a:cxn>
              </a:cxnLst>
              <a:rect l="0" t="0" r="r" b="b"/>
              <a:pathLst>
                <a:path w="87" h="96">
                  <a:moveTo>
                    <a:pt x="39" y="17"/>
                  </a:moveTo>
                  <a:cubicBezTo>
                    <a:pt x="39" y="17"/>
                    <a:pt x="51" y="0"/>
                    <a:pt x="69" y="9"/>
                  </a:cubicBezTo>
                  <a:cubicBezTo>
                    <a:pt x="87" y="19"/>
                    <a:pt x="81" y="96"/>
                    <a:pt x="0" y="95"/>
                  </a:cubicBezTo>
                  <a:lnTo>
                    <a:pt x="39" y="17"/>
                  </a:lnTo>
                  <a:close/>
                </a:path>
              </a:pathLst>
            </a:custGeom>
            <a:solidFill>
              <a:srgbClr val="F4D3B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EED52D9A-FC59-4D89-B1EE-F40A4B269233}"/>
                </a:ext>
              </a:extLst>
            </p:cNvPr>
            <p:cNvSpPr/>
            <p:nvPr/>
          </p:nvSpPr>
          <p:spPr bwMode="auto">
            <a:xfrm>
              <a:off x="40713026" y="19658014"/>
              <a:ext cx="1898650" cy="13430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2" y="230"/>
                </a:cxn>
                <a:cxn ang="0">
                  <a:pos x="325" y="0"/>
                </a:cxn>
                <a:cxn ang="0">
                  <a:pos x="0" y="0"/>
                </a:cxn>
              </a:cxnLst>
              <a:rect l="0" t="0" r="r" b="b"/>
              <a:pathLst>
                <a:path w="325" h="230">
                  <a:moveTo>
                    <a:pt x="0" y="0"/>
                  </a:moveTo>
                  <a:cubicBezTo>
                    <a:pt x="0" y="215"/>
                    <a:pt x="162" y="230"/>
                    <a:pt x="162" y="230"/>
                  </a:cubicBezTo>
                  <a:cubicBezTo>
                    <a:pt x="162" y="230"/>
                    <a:pt x="325" y="215"/>
                    <a:pt x="32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9DAB4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6FDB0492-2CF1-4C27-B1FE-B4F360EE4BA5}"/>
                </a:ext>
              </a:extLst>
            </p:cNvPr>
            <p:cNvSpPr/>
            <p:nvPr/>
          </p:nvSpPr>
          <p:spPr bwMode="auto">
            <a:xfrm>
              <a:off x="41286113" y="20674014"/>
              <a:ext cx="752475" cy="82550"/>
            </a:xfrm>
            <a:custGeom>
              <a:avLst/>
              <a:gdLst/>
              <a:ahLst/>
              <a:cxnLst>
                <a:cxn ang="0">
                  <a:pos x="54" y="14"/>
                </a:cxn>
                <a:cxn ang="0">
                  <a:pos x="3" y="10"/>
                </a:cxn>
                <a:cxn ang="0">
                  <a:pos x="1" y="6"/>
                </a:cxn>
                <a:cxn ang="0">
                  <a:pos x="4" y="4"/>
                </a:cxn>
                <a:cxn ang="0">
                  <a:pos x="125" y="0"/>
                </a:cxn>
                <a:cxn ang="0">
                  <a:pos x="129" y="2"/>
                </a:cxn>
                <a:cxn ang="0">
                  <a:pos x="126" y="6"/>
                </a:cxn>
                <a:cxn ang="0">
                  <a:pos x="54" y="14"/>
                </a:cxn>
              </a:cxnLst>
              <a:rect l="0" t="0" r="r" b="b"/>
              <a:pathLst>
                <a:path w="129" h="14">
                  <a:moveTo>
                    <a:pt x="54" y="14"/>
                  </a:moveTo>
                  <a:cubicBezTo>
                    <a:pt x="24" y="14"/>
                    <a:pt x="3" y="10"/>
                    <a:pt x="3" y="10"/>
                  </a:cubicBezTo>
                  <a:cubicBezTo>
                    <a:pt x="1" y="9"/>
                    <a:pt x="0" y="8"/>
                    <a:pt x="1" y="6"/>
                  </a:cubicBezTo>
                  <a:cubicBezTo>
                    <a:pt x="1" y="5"/>
                    <a:pt x="3" y="4"/>
                    <a:pt x="4" y="4"/>
                  </a:cubicBezTo>
                  <a:cubicBezTo>
                    <a:pt x="5" y="4"/>
                    <a:pt x="62" y="14"/>
                    <a:pt x="125" y="0"/>
                  </a:cubicBezTo>
                  <a:cubicBezTo>
                    <a:pt x="127" y="0"/>
                    <a:pt x="128" y="1"/>
                    <a:pt x="129" y="2"/>
                  </a:cubicBezTo>
                  <a:cubicBezTo>
                    <a:pt x="129" y="4"/>
                    <a:pt x="128" y="6"/>
                    <a:pt x="126" y="6"/>
                  </a:cubicBezTo>
                  <a:cubicBezTo>
                    <a:pt x="100" y="12"/>
                    <a:pt x="75" y="14"/>
                    <a:pt x="54" y="14"/>
                  </a:cubicBezTo>
                  <a:close/>
                </a:path>
              </a:pathLst>
            </a:custGeom>
            <a:solidFill>
              <a:srgbClr val="EFC4A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B3B28245-7942-4C03-8B85-C928438F04BD}"/>
                </a:ext>
              </a:extLst>
            </p:cNvPr>
            <p:cNvSpPr/>
            <p:nvPr/>
          </p:nvSpPr>
          <p:spPr bwMode="auto">
            <a:xfrm>
              <a:off x="41530588" y="20808951"/>
              <a:ext cx="246063" cy="58738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2" y="7"/>
                </a:cxn>
                <a:cxn ang="0">
                  <a:pos x="0" y="3"/>
                </a:cxn>
                <a:cxn ang="0">
                  <a:pos x="4" y="2"/>
                </a:cxn>
                <a:cxn ang="0">
                  <a:pos x="37" y="1"/>
                </a:cxn>
                <a:cxn ang="0">
                  <a:pos x="41" y="2"/>
                </a:cxn>
                <a:cxn ang="0">
                  <a:pos x="40" y="6"/>
                </a:cxn>
                <a:cxn ang="0">
                  <a:pos x="20" y="10"/>
                </a:cxn>
              </a:cxnLst>
              <a:rect l="0" t="0" r="r" b="b"/>
              <a:pathLst>
                <a:path w="42" h="10">
                  <a:moveTo>
                    <a:pt x="20" y="10"/>
                  </a:moveTo>
                  <a:cubicBezTo>
                    <a:pt x="10" y="10"/>
                    <a:pt x="2" y="7"/>
                    <a:pt x="2" y="7"/>
                  </a:cubicBezTo>
                  <a:cubicBezTo>
                    <a:pt x="0" y="7"/>
                    <a:pt x="0" y="5"/>
                    <a:pt x="0" y="3"/>
                  </a:cubicBezTo>
                  <a:cubicBezTo>
                    <a:pt x="1" y="2"/>
                    <a:pt x="3" y="1"/>
                    <a:pt x="4" y="2"/>
                  </a:cubicBezTo>
                  <a:cubicBezTo>
                    <a:pt x="4" y="2"/>
                    <a:pt x="22" y="8"/>
                    <a:pt x="37" y="1"/>
                  </a:cubicBezTo>
                  <a:cubicBezTo>
                    <a:pt x="39" y="0"/>
                    <a:pt x="40" y="1"/>
                    <a:pt x="41" y="2"/>
                  </a:cubicBezTo>
                  <a:cubicBezTo>
                    <a:pt x="42" y="4"/>
                    <a:pt x="41" y="6"/>
                    <a:pt x="40" y="6"/>
                  </a:cubicBezTo>
                  <a:cubicBezTo>
                    <a:pt x="33" y="9"/>
                    <a:pt x="26" y="10"/>
                    <a:pt x="20" y="10"/>
                  </a:cubicBezTo>
                  <a:close/>
                </a:path>
              </a:pathLst>
            </a:custGeom>
            <a:solidFill>
              <a:srgbClr val="EFC4A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38CCFE08-CE71-4452-B214-177CA6ED5350}"/>
                </a:ext>
              </a:extLst>
            </p:cNvPr>
            <p:cNvSpPr/>
            <p:nvPr/>
          </p:nvSpPr>
          <p:spPr bwMode="auto">
            <a:xfrm>
              <a:off x="41484551" y="20545426"/>
              <a:ext cx="344488" cy="65088"/>
            </a:xfrm>
            <a:custGeom>
              <a:avLst/>
              <a:gdLst/>
              <a:ahLst/>
              <a:cxnLst>
                <a:cxn ang="0">
                  <a:pos x="29" y="11"/>
                </a:cxn>
                <a:cxn ang="0">
                  <a:pos x="0" y="0"/>
                </a:cxn>
                <a:cxn ang="0">
                  <a:pos x="29" y="6"/>
                </a:cxn>
                <a:cxn ang="0">
                  <a:pos x="59" y="0"/>
                </a:cxn>
                <a:cxn ang="0">
                  <a:pos x="29" y="11"/>
                </a:cxn>
              </a:cxnLst>
              <a:rect l="0" t="0" r="r" b="b"/>
              <a:pathLst>
                <a:path w="59" h="11">
                  <a:moveTo>
                    <a:pt x="29" y="11"/>
                  </a:moveTo>
                  <a:cubicBezTo>
                    <a:pt x="11" y="11"/>
                    <a:pt x="0" y="0"/>
                    <a:pt x="0" y="0"/>
                  </a:cubicBezTo>
                  <a:cubicBezTo>
                    <a:pt x="0" y="0"/>
                    <a:pt x="17" y="6"/>
                    <a:pt x="29" y="6"/>
                  </a:cubicBezTo>
                  <a:cubicBezTo>
                    <a:pt x="41" y="6"/>
                    <a:pt x="59" y="0"/>
                    <a:pt x="59" y="0"/>
                  </a:cubicBezTo>
                  <a:cubicBezTo>
                    <a:pt x="59" y="0"/>
                    <a:pt x="47" y="11"/>
                    <a:pt x="29" y="11"/>
                  </a:cubicBezTo>
                  <a:close/>
                </a:path>
              </a:pathLst>
            </a:custGeom>
            <a:solidFill>
              <a:srgbClr val="EFC4A0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8F0AA6F9-91EA-427F-B454-F4110E107275}"/>
                </a:ext>
              </a:extLst>
            </p:cNvPr>
            <p:cNvSpPr/>
            <p:nvPr/>
          </p:nvSpPr>
          <p:spPr bwMode="auto">
            <a:xfrm>
              <a:off x="42021126" y="20015201"/>
              <a:ext cx="403225" cy="13335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33"/>
                </a:cxn>
                <a:cxn ang="0">
                  <a:pos x="254" y="0"/>
                </a:cxn>
                <a:cxn ang="0">
                  <a:pos x="254" y="47"/>
                </a:cxn>
                <a:cxn ang="0">
                  <a:pos x="0" y="84"/>
                </a:cxn>
              </a:cxnLst>
              <a:rect l="0" t="0" r="r" b="b"/>
              <a:pathLst>
                <a:path w="254" h="84">
                  <a:moveTo>
                    <a:pt x="0" y="84"/>
                  </a:moveTo>
                  <a:lnTo>
                    <a:pt x="0" y="33"/>
                  </a:lnTo>
                  <a:lnTo>
                    <a:pt x="254" y="0"/>
                  </a:lnTo>
                  <a:lnTo>
                    <a:pt x="254" y="47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7F573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84D813A3-32F3-4086-8530-FEE95C32E3E5}"/>
                </a:ext>
              </a:extLst>
            </p:cNvPr>
            <p:cNvSpPr/>
            <p:nvPr/>
          </p:nvSpPr>
          <p:spPr bwMode="auto">
            <a:xfrm>
              <a:off x="41011476" y="20196176"/>
              <a:ext cx="268288" cy="209550"/>
            </a:xfrm>
            <a:custGeom>
              <a:avLst/>
              <a:gdLst/>
              <a:ahLst/>
              <a:cxnLst>
                <a:cxn ang="0">
                  <a:pos x="6" y="36"/>
                </a:cxn>
                <a:cxn ang="0">
                  <a:pos x="3" y="34"/>
                </a:cxn>
                <a:cxn ang="0">
                  <a:pos x="18" y="4"/>
                </a:cxn>
                <a:cxn ang="0">
                  <a:pos x="45" y="21"/>
                </a:cxn>
                <a:cxn ang="0">
                  <a:pos x="43" y="25"/>
                </a:cxn>
                <a:cxn ang="0">
                  <a:pos x="40" y="23"/>
                </a:cxn>
                <a:cxn ang="0">
                  <a:pos x="20" y="9"/>
                </a:cxn>
                <a:cxn ang="0">
                  <a:pos x="9" y="33"/>
                </a:cxn>
                <a:cxn ang="0">
                  <a:pos x="6" y="36"/>
                </a:cxn>
              </a:cxnLst>
              <a:rect l="0" t="0" r="r" b="b"/>
              <a:pathLst>
                <a:path w="46" h="36">
                  <a:moveTo>
                    <a:pt x="6" y="36"/>
                  </a:moveTo>
                  <a:cubicBezTo>
                    <a:pt x="4" y="36"/>
                    <a:pt x="3" y="35"/>
                    <a:pt x="3" y="34"/>
                  </a:cubicBezTo>
                  <a:cubicBezTo>
                    <a:pt x="3" y="32"/>
                    <a:pt x="0" y="8"/>
                    <a:pt x="18" y="4"/>
                  </a:cubicBezTo>
                  <a:cubicBezTo>
                    <a:pt x="32" y="0"/>
                    <a:pt x="42" y="13"/>
                    <a:pt x="45" y="21"/>
                  </a:cubicBezTo>
                  <a:cubicBezTo>
                    <a:pt x="46" y="22"/>
                    <a:pt x="45" y="24"/>
                    <a:pt x="43" y="25"/>
                  </a:cubicBezTo>
                  <a:cubicBezTo>
                    <a:pt x="42" y="25"/>
                    <a:pt x="40" y="25"/>
                    <a:pt x="40" y="23"/>
                  </a:cubicBezTo>
                  <a:cubicBezTo>
                    <a:pt x="39" y="22"/>
                    <a:pt x="33" y="6"/>
                    <a:pt x="20" y="9"/>
                  </a:cubicBezTo>
                  <a:cubicBezTo>
                    <a:pt x="7" y="13"/>
                    <a:pt x="9" y="33"/>
                    <a:pt x="9" y="33"/>
                  </a:cubicBezTo>
                  <a:cubicBezTo>
                    <a:pt x="9" y="35"/>
                    <a:pt x="8" y="36"/>
                    <a:pt x="6" y="36"/>
                  </a:cubicBezTo>
                  <a:close/>
                </a:path>
              </a:pathLst>
            </a:custGeom>
            <a:solidFill>
              <a:srgbClr val="51515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34081D6A-BE9E-4D4F-9DF9-8FDB6E8BF285}"/>
                </a:ext>
              </a:extLst>
            </p:cNvPr>
            <p:cNvSpPr/>
            <p:nvPr/>
          </p:nvSpPr>
          <p:spPr bwMode="auto">
            <a:xfrm>
              <a:off x="40900351" y="20015201"/>
              <a:ext cx="409575" cy="133350"/>
            </a:xfrm>
            <a:custGeom>
              <a:avLst/>
              <a:gdLst/>
              <a:ahLst/>
              <a:cxnLst>
                <a:cxn ang="0">
                  <a:pos x="258" y="84"/>
                </a:cxn>
                <a:cxn ang="0">
                  <a:pos x="258" y="33"/>
                </a:cxn>
                <a:cxn ang="0">
                  <a:pos x="0" y="0"/>
                </a:cxn>
                <a:cxn ang="0">
                  <a:pos x="0" y="47"/>
                </a:cxn>
                <a:cxn ang="0">
                  <a:pos x="258" y="84"/>
                </a:cxn>
              </a:cxnLst>
              <a:rect l="0" t="0" r="r" b="b"/>
              <a:pathLst>
                <a:path w="258" h="84">
                  <a:moveTo>
                    <a:pt x="258" y="84"/>
                  </a:moveTo>
                  <a:lnTo>
                    <a:pt x="258" y="33"/>
                  </a:lnTo>
                  <a:lnTo>
                    <a:pt x="0" y="0"/>
                  </a:lnTo>
                  <a:lnTo>
                    <a:pt x="0" y="47"/>
                  </a:lnTo>
                  <a:lnTo>
                    <a:pt x="258" y="84"/>
                  </a:lnTo>
                  <a:close/>
                </a:path>
              </a:pathLst>
            </a:custGeom>
            <a:solidFill>
              <a:srgbClr val="7F573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26248E73-5ACB-4933-A968-6AA3FF67DC36}"/>
                </a:ext>
              </a:extLst>
            </p:cNvPr>
            <p:cNvSpPr/>
            <p:nvPr/>
          </p:nvSpPr>
          <p:spPr bwMode="auto">
            <a:xfrm>
              <a:off x="42051288" y="20196176"/>
              <a:ext cx="261938" cy="209550"/>
            </a:xfrm>
            <a:custGeom>
              <a:avLst/>
              <a:gdLst/>
              <a:ahLst/>
              <a:cxnLst>
                <a:cxn ang="0">
                  <a:pos x="40" y="36"/>
                </a:cxn>
                <a:cxn ang="0">
                  <a:pos x="39" y="36"/>
                </a:cxn>
                <a:cxn ang="0">
                  <a:pos x="37" y="33"/>
                </a:cxn>
                <a:cxn ang="0">
                  <a:pos x="26" y="9"/>
                </a:cxn>
                <a:cxn ang="0">
                  <a:pos x="6" y="23"/>
                </a:cxn>
                <a:cxn ang="0">
                  <a:pos x="2" y="25"/>
                </a:cxn>
                <a:cxn ang="0">
                  <a:pos x="0" y="21"/>
                </a:cxn>
                <a:cxn ang="0">
                  <a:pos x="27" y="4"/>
                </a:cxn>
                <a:cxn ang="0">
                  <a:pos x="43" y="34"/>
                </a:cxn>
                <a:cxn ang="0">
                  <a:pos x="40" y="36"/>
                </a:cxn>
              </a:cxnLst>
              <a:rect l="0" t="0" r="r" b="b"/>
              <a:pathLst>
                <a:path w="45" h="36">
                  <a:moveTo>
                    <a:pt x="40" y="36"/>
                  </a:moveTo>
                  <a:cubicBezTo>
                    <a:pt x="39" y="36"/>
                    <a:pt x="39" y="36"/>
                    <a:pt x="39" y="36"/>
                  </a:cubicBezTo>
                  <a:cubicBezTo>
                    <a:pt x="38" y="36"/>
                    <a:pt x="37" y="35"/>
                    <a:pt x="37" y="33"/>
                  </a:cubicBezTo>
                  <a:cubicBezTo>
                    <a:pt x="37" y="33"/>
                    <a:pt x="39" y="13"/>
                    <a:pt x="26" y="9"/>
                  </a:cubicBezTo>
                  <a:cubicBezTo>
                    <a:pt x="13" y="6"/>
                    <a:pt x="6" y="23"/>
                    <a:pt x="6" y="23"/>
                  </a:cubicBezTo>
                  <a:cubicBezTo>
                    <a:pt x="5" y="25"/>
                    <a:pt x="3" y="25"/>
                    <a:pt x="2" y="25"/>
                  </a:cubicBezTo>
                  <a:cubicBezTo>
                    <a:pt x="0" y="24"/>
                    <a:pt x="0" y="22"/>
                    <a:pt x="0" y="21"/>
                  </a:cubicBezTo>
                  <a:cubicBezTo>
                    <a:pt x="3" y="13"/>
                    <a:pt x="13" y="0"/>
                    <a:pt x="27" y="4"/>
                  </a:cubicBezTo>
                  <a:cubicBezTo>
                    <a:pt x="45" y="8"/>
                    <a:pt x="43" y="32"/>
                    <a:pt x="43" y="34"/>
                  </a:cubicBezTo>
                  <a:cubicBezTo>
                    <a:pt x="43" y="35"/>
                    <a:pt x="41" y="36"/>
                    <a:pt x="40" y="36"/>
                  </a:cubicBezTo>
                  <a:close/>
                </a:path>
              </a:pathLst>
            </a:custGeom>
            <a:solidFill>
              <a:srgbClr val="51515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194211BB-F880-4103-894E-A84D521CDA1F}"/>
                </a:ext>
              </a:extLst>
            </p:cNvPr>
            <p:cNvSpPr/>
            <p:nvPr/>
          </p:nvSpPr>
          <p:spPr bwMode="auto">
            <a:xfrm>
              <a:off x="40684451" y="19396076"/>
              <a:ext cx="1938338" cy="601663"/>
            </a:xfrm>
            <a:custGeom>
              <a:avLst/>
              <a:gdLst/>
              <a:ahLst/>
              <a:cxnLst>
                <a:cxn ang="0">
                  <a:pos x="0" y="61"/>
                </a:cxn>
                <a:cxn ang="0">
                  <a:pos x="88" y="99"/>
                </a:cxn>
                <a:cxn ang="0">
                  <a:pos x="139" y="77"/>
                </a:cxn>
                <a:cxn ang="0">
                  <a:pos x="186" y="67"/>
                </a:cxn>
                <a:cxn ang="0">
                  <a:pos x="226" y="51"/>
                </a:cxn>
                <a:cxn ang="0">
                  <a:pos x="264" y="51"/>
                </a:cxn>
                <a:cxn ang="0">
                  <a:pos x="296" y="58"/>
                </a:cxn>
                <a:cxn ang="0">
                  <a:pos x="332" y="64"/>
                </a:cxn>
                <a:cxn ang="0">
                  <a:pos x="332" y="0"/>
                </a:cxn>
                <a:cxn ang="0">
                  <a:pos x="0" y="0"/>
                </a:cxn>
                <a:cxn ang="0">
                  <a:pos x="0" y="61"/>
                </a:cxn>
              </a:cxnLst>
              <a:rect l="0" t="0" r="r" b="b"/>
              <a:pathLst>
                <a:path w="332" h="103">
                  <a:moveTo>
                    <a:pt x="0" y="61"/>
                  </a:moveTo>
                  <a:cubicBezTo>
                    <a:pt x="0" y="61"/>
                    <a:pt x="22" y="103"/>
                    <a:pt x="88" y="99"/>
                  </a:cubicBezTo>
                  <a:cubicBezTo>
                    <a:pt x="129" y="96"/>
                    <a:pt x="139" y="77"/>
                    <a:pt x="139" y="77"/>
                  </a:cubicBezTo>
                  <a:cubicBezTo>
                    <a:pt x="139" y="77"/>
                    <a:pt x="156" y="89"/>
                    <a:pt x="186" y="67"/>
                  </a:cubicBezTo>
                  <a:cubicBezTo>
                    <a:pt x="186" y="67"/>
                    <a:pt x="189" y="91"/>
                    <a:pt x="226" y="51"/>
                  </a:cubicBezTo>
                  <a:cubicBezTo>
                    <a:pt x="226" y="51"/>
                    <a:pt x="220" y="88"/>
                    <a:pt x="264" y="51"/>
                  </a:cubicBezTo>
                  <a:cubicBezTo>
                    <a:pt x="264" y="51"/>
                    <a:pt x="263" y="81"/>
                    <a:pt x="296" y="58"/>
                  </a:cubicBezTo>
                  <a:cubicBezTo>
                    <a:pt x="296" y="58"/>
                    <a:pt x="306" y="82"/>
                    <a:pt x="332" y="64"/>
                  </a:cubicBezTo>
                  <a:cubicBezTo>
                    <a:pt x="332" y="0"/>
                    <a:pt x="332" y="0"/>
                    <a:pt x="332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61"/>
                  </a:lnTo>
                  <a:close/>
                </a:path>
              </a:pathLst>
            </a:custGeom>
            <a:solidFill>
              <a:srgbClr val="7F5732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9FE8229C-441D-4AE0-A5A5-595101300101}"/>
                </a:ext>
              </a:extLst>
            </p:cNvPr>
            <p:cNvSpPr/>
            <p:nvPr/>
          </p:nvSpPr>
          <p:spPr bwMode="auto">
            <a:xfrm>
              <a:off x="40205026" y="18367376"/>
              <a:ext cx="2908300" cy="1558925"/>
            </a:xfrm>
            <a:custGeom>
              <a:avLst/>
              <a:gdLst/>
              <a:ahLst/>
              <a:cxnLst>
                <a:cxn ang="0">
                  <a:pos x="249" y="0"/>
                </a:cxn>
                <a:cxn ang="0">
                  <a:pos x="249" y="0"/>
                </a:cxn>
                <a:cxn ang="0">
                  <a:pos x="3" y="194"/>
                </a:cxn>
                <a:cxn ang="0">
                  <a:pos x="42" y="236"/>
                </a:cxn>
                <a:cxn ang="0">
                  <a:pos x="68" y="267"/>
                </a:cxn>
                <a:cxn ang="0">
                  <a:pos x="249" y="168"/>
                </a:cxn>
                <a:cxn ang="0">
                  <a:pos x="431" y="267"/>
                </a:cxn>
                <a:cxn ang="0">
                  <a:pos x="456" y="236"/>
                </a:cxn>
                <a:cxn ang="0">
                  <a:pos x="496" y="194"/>
                </a:cxn>
                <a:cxn ang="0">
                  <a:pos x="249" y="0"/>
                </a:cxn>
              </a:cxnLst>
              <a:rect l="0" t="0" r="r" b="b"/>
              <a:pathLst>
                <a:path w="498" h="267">
                  <a:moveTo>
                    <a:pt x="249" y="0"/>
                  </a:moveTo>
                  <a:cubicBezTo>
                    <a:pt x="249" y="0"/>
                    <a:pt x="249" y="0"/>
                    <a:pt x="249" y="0"/>
                  </a:cubicBezTo>
                  <a:cubicBezTo>
                    <a:pt x="130" y="0"/>
                    <a:pt x="0" y="152"/>
                    <a:pt x="3" y="194"/>
                  </a:cubicBezTo>
                  <a:cubicBezTo>
                    <a:pt x="4" y="215"/>
                    <a:pt x="27" y="223"/>
                    <a:pt x="42" y="236"/>
                  </a:cubicBezTo>
                  <a:cubicBezTo>
                    <a:pt x="59" y="250"/>
                    <a:pt x="68" y="267"/>
                    <a:pt x="68" y="267"/>
                  </a:cubicBezTo>
                  <a:cubicBezTo>
                    <a:pt x="107" y="198"/>
                    <a:pt x="165" y="168"/>
                    <a:pt x="249" y="168"/>
                  </a:cubicBezTo>
                  <a:cubicBezTo>
                    <a:pt x="333" y="168"/>
                    <a:pt x="391" y="198"/>
                    <a:pt x="431" y="267"/>
                  </a:cubicBezTo>
                  <a:cubicBezTo>
                    <a:pt x="431" y="267"/>
                    <a:pt x="440" y="250"/>
                    <a:pt x="456" y="236"/>
                  </a:cubicBezTo>
                  <a:cubicBezTo>
                    <a:pt x="471" y="223"/>
                    <a:pt x="494" y="215"/>
                    <a:pt x="496" y="194"/>
                  </a:cubicBezTo>
                  <a:cubicBezTo>
                    <a:pt x="498" y="152"/>
                    <a:pt x="368" y="0"/>
                    <a:pt x="249" y="0"/>
                  </a:cubicBezTo>
                  <a:close/>
                </a:path>
              </a:pathLst>
            </a:custGeom>
            <a:solidFill>
              <a:srgbClr val="515151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A583441E-05DE-4AD9-8044-DDEF92C5290E}"/>
                </a:ext>
              </a:extLst>
            </p:cNvPr>
            <p:cNvSpPr/>
            <p:nvPr/>
          </p:nvSpPr>
          <p:spPr bwMode="auto">
            <a:xfrm>
              <a:off x="40503476" y="18969039"/>
              <a:ext cx="2312988" cy="917575"/>
            </a:xfrm>
            <a:custGeom>
              <a:avLst/>
              <a:gdLst/>
              <a:ahLst/>
              <a:cxnLst>
                <a:cxn ang="0">
                  <a:pos x="198" y="0"/>
                </a:cxn>
                <a:cxn ang="0">
                  <a:pos x="0" y="109"/>
                </a:cxn>
                <a:cxn ang="0">
                  <a:pos x="21" y="157"/>
                </a:cxn>
                <a:cxn ang="0">
                  <a:pos x="198" y="65"/>
                </a:cxn>
                <a:cxn ang="0">
                  <a:pos x="375" y="157"/>
                </a:cxn>
                <a:cxn ang="0">
                  <a:pos x="396" y="109"/>
                </a:cxn>
                <a:cxn ang="0">
                  <a:pos x="198" y="0"/>
                </a:cxn>
              </a:cxnLst>
              <a:rect l="0" t="0" r="r" b="b"/>
              <a:pathLst>
                <a:path w="396" h="157">
                  <a:moveTo>
                    <a:pt x="198" y="0"/>
                  </a:moveTo>
                  <a:cubicBezTo>
                    <a:pt x="175" y="0"/>
                    <a:pt x="80" y="1"/>
                    <a:pt x="0" y="109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60" y="93"/>
                    <a:pt x="117" y="65"/>
                    <a:pt x="198" y="65"/>
                  </a:cubicBezTo>
                  <a:cubicBezTo>
                    <a:pt x="279" y="65"/>
                    <a:pt x="336" y="93"/>
                    <a:pt x="375" y="157"/>
                  </a:cubicBezTo>
                  <a:cubicBezTo>
                    <a:pt x="396" y="109"/>
                    <a:pt x="396" y="109"/>
                    <a:pt x="396" y="109"/>
                  </a:cubicBezTo>
                  <a:cubicBezTo>
                    <a:pt x="316" y="1"/>
                    <a:pt x="221" y="0"/>
                    <a:pt x="198" y="0"/>
                  </a:cubicBezTo>
                  <a:close/>
                </a:path>
              </a:pathLst>
            </a:custGeom>
            <a:solidFill>
              <a:srgbClr val="E8E3D9"/>
            </a:solidFill>
            <a:ln w="9525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9414012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6762873-4134-40BA-ACA7-7162EB491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B9F6611-1E21-4060-AF15-41E084C789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82B200D-E51A-43D0-B4DF-0B0F8AB20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3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箭头: 五边形 23">
            <a:extLst>
              <a:ext uri="{FF2B5EF4-FFF2-40B4-BE49-F238E27FC236}">
                <a16:creationId xmlns:a16="http://schemas.microsoft.com/office/drawing/2014/main" id="{7A5DACAE-C0BE-440B-A1C8-CF0F0F7E9211}"/>
              </a:ext>
            </a:extLst>
          </p:cNvPr>
          <p:cNvSpPr/>
          <p:nvPr/>
        </p:nvSpPr>
        <p:spPr>
          <a:xfrm flipH="1">
            <a:off x="5240263" y="1865939"/>
            <a:ext cx="4706395" cy="876771"/>
          </a:xfrm>
          <a:prstGeom prst="homePlate">
            <a:avLst>
              <a:gd name="adj" fmla="val 29123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785D30D2-46C6-4ED7-8A23-83F1D49C7682}"/>
              </a:ext>
            </a:extLst>
          </p:cNvPr>
          <p:cNvSpPr/>
          <p:nvPr/>
        </p:nvSpPr>
        <p:spPr>
          <a:xfrm rot="16200000" flipH="1">
            <a:off x="9720773" y="1747451"/>
            <a:ext cx="1226213" cy="779348"/>
          </a:xfrm>
          <a:custGeom>
            <a:avLst/>
            <a:gdLst>
              <a:gd name="connsiteX0" fmla="*/ 0 w 1016000"/>
              <a:gd name="connsiteY0" fmla="*/ 0 h 768404"/>
              <a:gd name="connsiteX1" fmla="*/ 1016000 w 1016000"/>
              <a:gd name="connsiteY1" fmla="*/ 0 h 768404"/>
              <a:gd name="connsiteX2" fmla="*/ 1016000 w 1016000"/>
              <a:gd name="connsiteY2" fmla="*/ 768404 h 768404"/>
              <a:gd name="connsiteX3" fmla="*/ 0 w 1016000"/>
              <a:gd name="connsiteY3" fmla="*/ 768404 h 768404"/>
              <a:gd name="connsiteX4" fmla="*/ 0 w 1016000"/>
              <a:gd name="connsiteY4" fmla="*/ 0 h 768404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745673 w 1745673"/>
              <a:gd name="connsiteY2" fmla="*/ 768404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317048 w 1745673"/>
              <a:gd name="connsiteY2" fmla="*/ 770785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0148 w 1736148"/>
              <a:gd name="connsiteY0" fmla="*/ 0 h 770785"/>
              <a:gd name="connsiteX1" fmla="*/ 1736148 w 1736148"/>
              <a:gd name="connsiteY1" fmla="*/ 0 h 770785"/>
              <a:gd name="connsiteX2" fmla="*/ 1307523 w 1736148"/>
              <a:gd name="connsiteY2" fmla="*/ 770785 h 770785"/>
              <a:gd name="connsiteX3" fmla="*/ 0 w 1736148"/>
              <a:gd name="connsiteY3" fmla="*/ 770497 h 770785"/>
              <a:gd name="connsiteX4" fmla="*/ 720148 w 1736148"/>
              <a:gd name="connsiteY4" fmla="*/ 0 h 770785"/>
              <a:gd name="connsiteX0" fmla="*/ 720148 w 1736148"/>
              <a:gd name="connsiteY0" fmla="*/ 0 h 770785"/>
              <a:gd name="connsiteX1" fmla="*/ 1736148 w 1736148"/>
              <a:gd name="connsiteY1" fmla="*/ 0 h 770785"/>
              <a:gd name="connsiteX2" fmla="*/ 1369545 w 1736148"/>
              <a:gd name="connsiteY2" fmla="*/ 770785 h 770785"/>
              <a:gd name="connsiteX3" fmla="*/ 0 w 1736148"/>
              <a:gd name="connsiteY3" fmla="*/ 770497 h 770785"/>
              <a:gd name="connsiteX4" fmla="*/ 720148 w 1736148"/>
              <a:gd name="connsiteY4" fmla="*/ 0 h 770785"/>
              <a:gd name="connsiteX0" fmla="*/ 446799 w 1736148"/>
              <a:gd name="connsiteY0" fmla="*/ 0 h 773231"/>
              <a:gd name="connsiteX1" fmla="*/ 1736148 w 1736148"/>
              <a:gd name="connsiteY1" fmla="*/ 2446 h 773231"/>
              <a:gd name="connsiteX2" fmla="*/ 1369545 w 1736148"/>
              <a:gd name="connsiteY2" fmla="*/ 773231 h 773231"/>
              <a:gd name="connsiteX3" fmla="*/ 0 w 1736148"/>
              <a:gd name="connsiteY3" fmla="*/ 772943 h 773231"/>
              <a:gd name="connsiteX4" fmla="*/ 446799 w 1736148"/>
              <a:gd name="connsiteY4" fmla="*/ 0 h 773231"/>
              <a:gd name="connsiteX0" fmla="*/ 446799 w 1605827"/>
              <a:gd name="connsiteY0" fmla="*/ 0 h 773231"/>
              <a:gd name="connsiteX1" fmla="*/ 1605827 w 1605827"/>
              <a:gd name="connsiteY1" fmla="*/ 2446 h 773231"/>
              <a:gd name="connsiteX2" fmla="*/ 1369545 w 1605827"/>
              <a:gd name="connsiteY2" fmla="*/ 773231 h 773231"/>
              <a:gd name="connsiteX3" fmla="*/ 0 w 1605827"/>
              <a:gd name="connsiteY3" fmla="*/ 772943 h 773231"/>
              <a:gd name="connsiteX4" fmla="*/ 446799 w 1605827"/>
              <a:gd name="connsiteY4" fmla="*/ 0 h 773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5827" h="773231">
                <a:moveTo>
                  <a:pt x="446799" y="0"/>
                </a:moveTo>
                <a:lnTo>
                  <a:pt x="1605827" y="2446"/>
                </a:lnTo>
                <a:lnTo>
                  <a:pt x="1369545" y="773231"/>
                </a:lnTo>
                <a:lnTo>
                  <a:pt x="0" y="772943"/>
                </a:lnTo>
                <a:lnTo>
                  <a:pt x="446799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26" name="箭头: 五边形 25">
            <a:extLst>
              <a:ext uri="{FF2B5EF4-FFF2-40B4-BE49-F238E27FC236}">
                <a16:creationId xmlns:a16="http://schemas.microsoft.com/office/drawing/2014/main" id="{6F2E7EA4-01A0-445F-A272-007978432AE4}"/>
              </a:ext>
            </a:extLst>
          </p:cNvPr>
          <p:cNvSpPr/>
          <p:nvPr/>
        </p:nvSpPr>
        <p:spPr>
          <a:xfrm flipH="1">
            <a:off x="4507549" y="2742712"/>
            <a:ext cx="5439109" cy="897997"/>
          </a:xfrm>
          <a:prstGeom prst="homePlate">
            <a:avLst>
              <a:gd name="adj" fmla="val 29123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133A2C3F-D551-4CA9-B823-CA02CEA8B4B5}"/>
              </a:ext>
            </a:extLst>
          </p:cNvPr>
          <p:cNvSpPr/>
          <p:nvPr/>
        </p:nvSpPr>
        <p:spPr>
          <a:xfrm rot="16200000" flipH="1">
            <a:off x="9802245" y="2714157"/>
            <a:ext cx="1065726" cy="776895"/>
          </a:xfrm>
          <a:custGeom>
            <a:avLst/>
            <a:gdLst>
              <a:gd name="connsiteX0" fmla="*/ 0 w 1016000"/>
              <a:gd name="connsiteY0" fmla="*/ 0 h 768404"/>
              <a:gd name="connsiteX1" fmla="*/ 1016000 w 1016000"/>
              <a:gd name="connsiteY1" fmla="*/ 0 h 768404"/>
              <a:gd name="connsiteX2" fmla="*/ 1016000 w 1016000"/>
              <a:gd name="connsiteY2" fmla="*/ 768404 h 768404"/>
              <a:gd name="connsiteX3" fmla="*/ 0 w 1016000"/>
              <a:gd name="connsiteY3" fmla="*/ 768404 h 768404"/>
              <a:gd name="connsiteX4" fmla="*/ 0 w 1016000"/>
              <a:gd name="connsiteY4" fmla="*/ 0 h 768404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745673 w 1745673"/>
              <a:gd name="connsiteY2" fmla="*/ 768404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317048 w 1745673"/>
              <a:gd name="connsiteY2" fmla="*/ 770785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0148 w 1736148"/>
              <a:gd name="connsiteY0" fmla="*/ 0 h 770785"/>
              <a:gd name="connsiteX1" fmla="*/ 1736148 w 1736148"/>
              <a:gd name="connsiteY1" fmla="*/ 0 h 770785"/>
              <a:gd name="connsiteX2" fmla="*/ 1307523 w 1736148"/>
              <a:gd name="connsiteY2" fmla="*/ 770785 h 770785"/>
              <a:gd name="connsiteX3" fmla="*/ 0 w 1736148"/>
              <a:gd name="connsiteY3" fmla="*/ 770497 h 770785"/>
              <a:gd name="connsiteX4" fmla="*/ 720148 w 1736148"/>
              <a:gd name="connsiteY4" fmla="*/ 0 h 770785"/>
              <a:gd name="connsiteX0" fmla="*/ 720148 w 1736148"/>
              <a:gd name="connsiteY0" fmla="*/ 0 h 770497"/>
              <a:gd name="connsiteX1" fmla="*/ 1736148 w 1736148"/>
              <a:gd name="connsiteY1" fmla="*/ 0 h 770497"/>
              <a:gd name="connsiteX2" fmla="*/ 1590892 w 1736148"/>
              <a:gd name="connsiteY2" fmla="*/ 768404 h 770497"/>
              <a:gd name="connsiteX3" fmla="*/ 0 w 1736148"/>
              <a:gd name="connsiteY3" fmla="*/ 770497 h 770497"/>
              <a:gd name="connsiteX4" fmla="*/ 720148 w 1736148"/>
              <a:gd name="connsiteY4" fmla="*/ 0 h 770497"/>
              <a:gd name="connsiteX0" fmla="*/ 429636 w 1445636"/>
              <a:gd name="connsiteY0" fmla="*/ 0 h 768404"/>
              <a:gd name="connsiteX1" fmla="*/ 1445636 w 1445636"/>
              <a:gd name="connsiteY1" fmla="*/ 0 h 768404"/>
              <a:gd name="connsiteX2" fmla="*/ 1300380 w 1445636"/>
              <a:gd name="connsiteY2" fmla="*/ 768404 h 768404"/>
              <a:gd name="connsiteX3" fmla="*/ 0 w 1445636"/>
              <a:gd name="connsiteY3" fmla="*/ 768116 h 768404"/>
              <a:gd name="connsiteX4" fmla="*/ 429636 w 1445636"/>
              <a:gd name="connsiteY4" fmla="*/ 0 h 768404"/>
              <a:gd name="connsiteX0" fmla="*/ 433913 w 1449913"/>
              <a:gd name="connsiteY0" fmla="*/ 0 h 771964"/>
              <a:gd name="connsiteX1" fmla="*/ 1449913 w 1449913"/>
              <a:gd name="connsiteY1" fmla="*/ 0 h 771964"/>
              <a:gd name="connsiteX2" fmla="*/ 1304657 w 1449913"/>
              <a:gd name="connsiteY2" fmla="*/ 768404 h 771964"/>
              <a:gd name="connsiteX3" fmla="*/ 0 w 1449913"/>
              <a:gd name="connsiteY3" fmla="*/ 771964 h 771964"/>
              <a:gd name="connsiteX4" fmla="*/ 433913 w 1449913"/>
              <a:gd name="connsiteY4" fmla="*/ 0 h 771964"/>
              <a:gd name="connsiteX0" fmla="*/ 433913 w 1449913"/>
              <a:gd name="connsiteY0" fmla="*/ 0 h 774176"/>
              <a:gd name="connsiteX1" fmla="*/ 1449913 w 1449913"/>
              <a:gd name="connsiteY1" fmla="*/ 0 h 774176"/>
              <a:gd name="connsiteX2" fmla="*/ 1306795 w 1449913"/>
              <a:gd name="connsiteY2" fmla="*/ 774176 h 774176"/>
              <a:gd name="connsiteX3" fmla="*/ 0 w 1449913"/>
              <a:gd name="connsiteY3" fmla="*/ 771964 h 774176"/>
              <a:gd name="connsiteX4" fmla="*/ 433913 w 1449913"/>
              <a:gd name="connsiteY4" fmla="*/ 0 h 774176"/>
              <a:gd name="connsiteX0" fmla="*/ 429635 w 1445635"/>
              <a:gd name="connsiteY0" fmla="*/ 0 h 777737"/>
              <a:gd name="connsiteX1" fmla="*/ 1445635 w 1445635"/>
              <a:gd name="connsiteY1" fmla="*/ 0 h 777737"/>
              <a:gd name="connsiteX2" fmla="*/ 1302517 w 1445635"/>
              <a:gd name="connsiteY2" fmla="*/ 774176 h 777737"/>
              <a:gd name="connsiteX3" fmla="*/ 0 w 1445635"/>
              <a:gd name="connsiteY3" fmla="*/ 777737 h 777737"/>
              <a:gd name="connsiteX4" fmla="*/ 429635 w 1445635"/>
              <a:gd name="connsiteY4" fmla="*/ 0 h 777737"/>
              <a:gd name="connsiteX0" fmla="*/ 431773 w 1447773"/>
              <a:gd name="connsiteY0" fmla="*/ 0 h 774176"/>
              <a:gd name="connsiteX1" fmla="*/ 1447773 w 1447773"/>
              <a:gd name="connsiteY1" fmla="*/ 0 h 774176"/>
              <a:gd name="connsiteX2" fmla="*/ 1304655 w 1447773"/>
              <a:gd name="connsiteY2" fmla="*/ 774176 h 774176"/>
              <a:gd name="connsiteX3" fmla="*/ 0 w 1447773"/>
              <a:gd name="connsiteY3" fmla="*/ 773889 h 774176"/>
              <a:gd name="connsiteX4" fmla="*/ 431773 w 1447773"/>
              <a:gd name="connsiteY4" fmla="*/ 0 h 774176"/>
              <a:gd name="connsiteX0" fmla="*/ 429634 w 1447773"/>
              <a:gd name="connsiteY0" fmla="*/ 0 h 774176"/>
              <a:gd name="connsiteX1" fmla="*/ 1447773 w 1447773"/>
              <a:gd name="connsiteY1" fmla="*/ 0 h 774176"/>
              <a:gd name="connsiteX2" fmla="*/ 1304655 w 1447773"/>
              <a:gd name="connsiteY2" fmla="*/ 774176 h 774176"/>
              <a:gd name="connsiteX3" fmla="*/ 0 w 1447773"/>
              <a:gd name="connsiteY3" fmla="*/ 773889 h 774176"/>
              <a:gd name="connsiteX4" fmla="*/ 429634 w 1447773"/>
              <a:gd name="connsiteY4" fmla="*/ 0 h 774176"/>
              <a:gd name="connsiteX0" fmla="*/ 436049 w 1454188"/>
              <a:gd name="connsiteY0" fmla="*/ 0 h 774176"/>
              <a:gd name="connsiteX1" fmla="*/ 1454188 w 1454188"/>
              <a:gd name="connsiteY1" fmla="*/ 0 h 774176"/>
              <a:gd name="connsiteX2" fmla="*/ 1311070 w 1454188"/>
              <a:gd name="connsiteY2" fmla="*/ 774176 h 774176"/>
              <a:gd name="connsiteX3" fmla="*/ 0 w 1454188"/>
              <a:gd name="connsiteY3" fmla="*/ 773889 h 774176"/>
              <a:gd name="connsiteX4" fmla="*/ 436049 w 1454188"/>
              <a:gd name="connsiteY4" fmla="*/ 0 h 774176"/>
              <a:gd name="connsiteX0" fmla="*/ 436049 w 1458640"/>
              <a:gd name="connsiteY0" fmla="*/ 0 h 774176"/>
              <a:gd name="connsiteX1" fmla="*/ 1454188 w 1458640"/>
              <a:gd name="connsiteY1" fmla="*/ 0 h 774176"/>
              <a:gd name="connsiteX2" fmla="*/ 1458640 w 1458640"/>
              <a:gd name="connsiteY2" fmla="*/ 774176 h 774176"/>
              <a:gd name="connsiteX3" fmla="*/ 0 w 1458640"/>
              <a:gd name="connsiteY3" fmla="*/ 773889 h 774176"/>
              <a:gd name="connsiteX4" fmla="*/ 436049 w 1458640"/>
              <a:gd name="connsiteY4" fmla="*/ 0 h 774176"/>
              <a:gd name="connsiteX0" fmla="*/ 436049 w 1454363"/>
              <a:gd name="connsiteY0" fmla="*/ 0 h 774176"/>
              <a:gd name="connsiteX1" fmla="*/ 1454188 w 1454363"/>
              <a:gd name="connsiteY1" fmla="*/ 0 h 774176"/>
              <a:gd name="connsiteX2" fmla="*/ 1454363 w 1454363"/>
              <a:gd name="connsiteY2" fmla="*/ 774176 h 774176"/>
              <a:gd name="connsiteX3" fmla="*/ 0 w 1454363"/>
              <a:gd name="connsiteY3" fmla="*/ 773889 h 774176"/>
              <a:gd name="connsiteX4" fmla="*/ 436049 w 1454363"/>
              <a:gd name="connsiteY4" fmla="*/ 0 h 774176"/>
              <a:gd name="connsiteX0" fmla="*/ 369749 w 1388063"/>
              <a:gd name="connsiteY0" fmla="*/ 0 h 774176"/>
              <a:gd name="connsiteX1" fmla="*/ 1387888 w 1388063"/>
              <a:gd name="connsiteY1" fmla="*/ 0 h 774176"/>
              <a:gd name="connsiteX2" fmla="*/ 1388063 w 1388063"/>
              <a:gd name="connsiteY2" fmla="*/ 774176 h 774176"/>
              <a:gd name="connsiteX3" fmla="*/ 0 w 1388063"/>
              <a:gd name="connsiteY3" fmla="*/ 771964 h 774176"/>
              <a:gd name="connsiteX4" fmla="*/ 369749 w 1388063"/>
              <a:gd name="connsiteY4" fmla="*/ 0 h 774176"/>
              <a:gd name="connsiteX0" fmla="*/ 236254 w 1388063"/>
              <a:gd name="connsiteY0" fmla="*/ 0 h 774176"/>
              <a:gd name="connsiteX1" fmla="*/ 1387888 w 1388063"/>
              <a:gd name="connsiteY1" fmla="*/ 0 h 774176"/>
              <a:gd name="connsiteX2" fmla="*/ 1388063 w 1388063"/>
              <a:gd name="connsiteY2" fmla="*/ 774176 h 774176"/>
              <a:gd name="connsiteX3" fmla="*/ 0 w 1388063"/>
              <a:gd name="connsiteY3" fmla="*/ 771964 h 774176"/>
              <a:gd name="connsiteX4" fmla="*/ 236254 w 1388063"/>
              <a:gd name="connsiteY4" fmla="*/ 0 h 774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63" h="774176">
                <a:moveTo>
                  <a:pt x="236254" y="0"/>
                </a:moveTo>
                <a:lnTo>
                  <a:pt x="1387888" y="0"/>
                </a:lnTo>
                <a:cubicBezTo>
                  <a:pt x="1387946" y="258059"/>
                  <a:pt x="1388005" y="516117"/>
                  <a:pt x="1388063" y="774176"/>
                </a:cubicBezTo>
                <a:lnTo>
                  <a:pt x="0" y="771964"/>
                </a:lnTo>
                <a:lnTo>
                  <a:pt x="236254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28" name="箭头: 五边形 27">
            <a:extLst>
              <a:ext uri="{FF2B5EF4-FFF2-40B4-BE49-F238E27FC236}">
                <a16:creationId xmlns:a16="http://schemas.microsoft.com/office/drawing/2014/main" id="{4236DE03-0D2C-41C5-8410-8B0B463C0FBC}"/>
              </a:ext>
            </a:extLst>
          </p:cNvPr>
          <p:cNvSpPr/>
          <p:nvPr/>
        </p:nvSpPr>
        <p:spPr>
          <a:xfrm flipH="1">
            <a:off x="5004678" y="3631282"/>
            <a:ext cx="4941980" cy="892641"/>
          </a:xfrm>
          <a:prstGeom prst="homePlate">
            <a:avLst>
              <a:gd name="adj" fmla="val 29123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785F26C7-4910-43C6-B3DA-A13245776821}"/>
              </a:ext>
            </a:extLst>
          </p:cNvPr>
          <p:cNvSpPr/>
          <p:nvPr/>
        </p:nvSpPr>
        <p:spPr>
          <a:xfrm rot="5400000" flipH="1" flipV="1">
            <a:off x="9799228" y="3780880"/>
            <a:ext cx="1071754" cy="776893"/>
          </a:xfrm>
          <a:custGeom>
            <a:avLst/>
            <a:gdLst>
              <a:gd name="connsiteX0" fmla="*/ 0 w 1016000"/>
              <a:gd name="connsiteY0" fmla="*/ 0 h 768404"/>
              <a:gd name="connsiteX1" fmla="*/ 1016000 w 1016000"/>
              <a:gd name="connsiteY1" fmla="*/ 0 h 768404"/>
              <a:gd name="connsiteX2" fmla="*/ 1016000 w 1016000"/>
              <a:gd name="connsiteY2" fmla="*/ 768404 h 768404"/>
              <a:gd name="connsiteX3" fmla="*/ 0 w 1016000"/>
              <a:gd name="connsiteY3" fmla="*/ 768404 h 768404"/>
              <a:gd name="connsiteX4" fmla="*/ 0 w 1016000"/>
              <a:gd name="connsiteY4" fmla="*/ 0 h 768404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745673 w 1745673"/>
              <a:gd name="connsiteY2" fmla="*/ 768404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317048 w 1745673"/>
              <a:gd name="connsiteY2" fmla="*/ 770785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0148 w 1736148"/>
              <a:gd name="connsiteY0" fmla="*/ 0 h 770785"/>
              <a:gd name="connsiteX1" fmla="*/ 1736148 w 1736148"/>
              <a:gd name="connsiteY1" fmla="*/ 0 h 770785"/>
              <a:gd name="connsiteX2" fmla="*/ 1307523 w 1736148"/>
              <a:gd name="connsiteY2" fmla="*/ 770785 h 770785"/>
              <a:gd name="connsiteX3" fmla="*/ 0 w 1736148"/>
              <a:gd name="connsiteY3" fmla="*/ 770497 h 770785"/>
              <a:gd name="connsiteX4" fmla="*/ 720148 w 1736148"/>
              <a:gd name="connsiteY4" fmla="*/ 0 h 770785"/>
              <a:gd name="connsiteX0" fmla="*/ 720148 w 1736148"/>
              <a:gd name="connsiteY0" fmla="*/ 0 h 770497"/>
              <a:gd name="connsiteX1" fmla="*/ 1736148 w 1736148"/>
              <a:gd name="connsiteY1" fmla="*/ 0 h 770497"/>
              <a:gd name="connsiteX2" fmla="*/ 1590892 w 1736148"/>
              <a:gd name="connsiteY2" fmla="*/ 768404 h 770497"/>
              <a:gd name="connsiteX3" fmla="*/ 0 w 1736148"/>
              <a:gd name="connsiteY3" fmla="*/ 770497 h 770497"/>
              <a:gd name="connsiteX4" fmla="*/ 720148 w 1736148"/>
              <a:gd name="connsiteY4" fmla="*/ 0 h 770497"/>
              <a:gd name="connsiteX0" fmla="*/ 429636 w 1445636"/>
              <a:gd name="connsiteY0" fmla="*/ 0 h 768404"/>
              <a:gd name="connsiteX1" fmla="*/ 1445636 w 1445636"/>
              <a:gd name="connsiteY1" fmla="*/ 0 h 768404"/>
              <a:gd name="connsiteX2" fmla="*/ 1300380 w 1445636"/>
              <a:gd name="connsiteY2" fmla="*/ 768404 h 768404"/>
              <a:gd name="connsiteX3" fmla="*/ 0 w 1445636"/>
              <a:gd name="connsiteY3" fmla="*/ 768116 h 768404"/>
              <a:gd name="connsiteX4" fmla="*/ 429636 w 1445636"/>
              <a:gd name="connsiteY4" fmla="*/ 0 h 768404"/>
              <a:gd name="connsiteX0" fmla="*/ 433913 w 1449913"/>
              <a:gd name="connsiteY0" fmla="*/ 0 h 771964"/>
              <a:gd name="connsiteX1" fmla="*/ 1449913 w 1449913"/>
              <a:gd name="connsiteY1" fmla="*/ 0 h 771964"/>
              <a:gd name="connsiteX2" fmla="*/ 1304657 w 1449913"/>
              <a:gd name="connsiteY2" fmla="*/ 768404 h 771964"/>
              <a:gd name="connsiteX3" fmla="*/ 0 w 1449913"/>
              <a:gd name="connsiteY3" fmla="*/ 771964 h 771964"/>
              <a:gd name="connsiteX4" fmla="*/ 433913 w 1449913"/>
              <a:gd name="connsiteY4" fmla="*/ 0 h 771964"/>
              <a:gd name="connsiteX0" fmla="*/ 433913 w 1449913"/>
              <a:gd name="connsiteY0" fmla="*/ 0 h 774176"/>
              <a:gd name="connsiteX1" fmla="*/ 1449913 w 1449913"/>
              <a:gd name="connsiteY1" fmla="*/ 0 h 774176"/>
              <a:gd name="connsiteX2" fmla="*/ 1306795 w 1449913"/>
              <a:gd name="connsiteY2" fmla="*/ 774176 h 774176"/>
              <a:gd name="connsiteX3" fmla="*/ 0 w 1449913"/>
              <a:gd name="connsiteY3" fmla="*/ 771964 h 774176"/>
              <a:gd name="connsiteX4" fmla="*/ 433913 w 1449913"/>
              <a:gd name="connsiteY4" fmla="*/ 0 h 774176"/>
              <a:gd name="connsiteX0" fmla="*/ 429635 w 1445635"/>
              <a:gd name="connsiteY0" fmla="*/ 0 h 777737"/>
              <a:gd name="connsiteX1" fmla="*/ 1445635 w 1445635"/>
              <a:gd name="connsiteY1" fmla="*/ 0 h 777737"/>
              <a:gd name="connsiteX2" fmla="*/ 1302517 w 1445635"/>
              <a:gd name="connsiteY2" fmla="*/ 774176 h 777737"/>
              <a:gd name="connsiteX3" fmla="*/ 0 w 1445635"/>
              <a:gd name="connsiteY3" fmla="*/ 777737 h 777737"/>
              <a:gd name="connsiteX4" fmla="*/ 429635 w 1445635"/>
              <a:gd name="connsiteY4" fmla="*/ 0 h 777737"/>
              <a:gd name="connsiteX0" fmla="*/ 431773 w 1447773"/>
              <a:gd name="connsiteY0" fmla="*/ 0 h 774176"/>
              <a:gd name="connsiteX1" fmla="*/ 1447773 w 1447773"/>
              <a:gd name="connsiteY1" fmla="*/ 0 h 774176"/>
              <a:gd name="connsiteX2" fmla="*/ 1304655 w 1447773"/>
              <a:gd name="connsiteY2" fmla="*/ 774176 h 774176"/>
              <a:gd name="connsiteX3" fmla="*/ 0 w 1447773"/>
              <a:gd name="connsiteY3" fmla="*/ 773889 h 774176"/>
              <a:gd name="connsiteX4" fmla="*/ 431773 w 1447773"/>
              <a:gd name="connsiteY4" fmla="*/ 0 h 774176"/>
              <a:gd name="connsiteX0" fmla="*/ 429634 w 1447773"/>
              <a:gd name="connsiteY0" fmla="*/ 0 h 774176"/>
              <a:gd name="connsiteX1" fmla="*/ 1447773 w 1447773"/>
              <a:gd name="connsiteY1" fmla="*/ 0 h 774176"/>
              <a:gd name="connsiteX2" fmla="*/ 1304655 w 1447773"/>
              <a:gd name="connsiteY2" fmla="*/ 774176 h 774176"/>
              <a:gd name="connsiteX3" fmla="*/ 0 w 1447773"/>
              <a:gd name="connsiteY3" fmla="*/ 773889 h 774176"/>
              <a:gd name="connsiteX4" fmla="*/ 429634 w 1447773"/>
              <a:gd name="connsiteY4" fmla="*/ 0 h 774176"/>
              <a:gd name="connsiteX0" fmla="*/ 436049 w 1454188"/>
              <a:gd name="connsiteY0" fmla="*/ 0 h 774176"/>
              <a:gd name="connsiteX1" fmla="*/ 1454188 w 1454188"/>
              <a:gd name="connsiteY1" fmla="*/ 0 h 774176"/>
              <a:gd name="connsiteX2" fmla="*/ 1311070 w 1454188"/>
              <a:gd name="connsiteY2" fmla="*/ 774176 h 774176"/>
              <a:gd name="connsiteX3" fmla="*/ 0 w 1454188"/>
              <a:gd name="connsiteY3" fmla="*/ 773889 h 774176"/>
              <a:gd name="connsiteX4" fmla="*/ 436049 w 1454188"/>
              <a:gd name="connsiteY4" fmla="*/ 0 h 774176"/>
              <a:gd name="connsiteX0" fmla="*/ 436049 w 1458640"/>
              <a:gd name="connsiteY0" fmla="*/ 0 h 774176"/>
              <a:gd name="connsiteX1" fmla="*/ 1454188 w 1458640"/>
              <a:gd name="connsiteY1" fmla="*/ 0 h 774176"/>
              <a:gd name="connsiteX2" fmla="*/ 1458640 w 1458640"/>
              <a:gd name="connsiteY2" fmla="*/ 774176 h 774176"/>
              <a:gd name="connsiteX3" fmla="*/ 0 w 1458640"/>
              <a:gd name="connsiteY3" fmla="*/ 773889 h 774176"/>
              <a:gd name="connsiteX4" fmla="*/ 436049 w 1458640"/>
              <a:gd name="connsiteY4" fmla="*/ 0 h 774176"/>
              <a:gd name="connsiteX0" fmla="*/ 436049 w 1454363"/>
              <a:gd name="connsiteY0" fmla="*/ 0 h 774176"/>
              <a:gd name="connsiteX1" fmla="*/ 1454188 w 1454363"/>
              <a:gd name="connsiteY1" fmla="*/ 0 h 774176"/>
              <a:gd name="connsiteX2" fmla="*/ 1454363 w 1454363"/>
              <a:gd name="connsiteY2" fmla="*/ 774176 h 774176"/>
              <a:gd name="connsiteX3" fmla="*/ 0 w 1454363"/>
              <a:gd name="connsiteY3" fmla="*/ 773889 h 774176"/>
              <a:gd name="connsiteX4" fmla="*/ 436049 w 1454363"/>
              <a:gd name="connsiteY4" fmla="*/ 0 h 774176"/>
              <a:gd name="connsiteX0" fmla="*/ 369749 w 1388063"/>
              <a:gd name="connsiteY0" fmla="*/ 0 h 774176"/>
              <a:gd name="connsiteX1" fmla="*/ 1387888 w 1388063"/>
              <a:gd name="connsiteY1" fmla="*/ 0 h 774176"/>
              <a:gd name="connsiteX2" fmla="*/ 1388063 w 1388063"/>
              <a:gd name="connsiteY2" fmla="*/ 774176 h 774176"/>
              <a:gd name="connsiteX3" fmla="*/ 0 w 1388063"/>
              <a:gd name="connsiteY3" fmla="*/ 771964 h 774176"/>
              <a:gd name="connsiteX4" fmla="*/ 369749 w 1388063"/>
              <a:gd name="connsiteY4" fmla="*/ 0 h 774176"/>
              <a:gd name="connsiteX0" fmla="*/ 236254 w 1388063"/>
              <a:gd name="connsiteY0" fmla="*/ 0 h 774176"/>
              <a:gd name="connsiteX1" fmla="*/ 1387888 w 1388063"/>
              <a:gd name="connsiteY1" fmla="*/ 0 h 774176"/>
              <a:gd name="connsiteX2" fmla="*/ 1388063 w 1388063"/>
              <a:gd name="connsiteY2" fmla="*/ 774176 h 774176"/>
              <a:gd name="connsiteX3" fmla="*/ 0 w 1388063"/>
              <a:gd name="connsiteY3" fmla="*/ 771964 h 774176"/>
              <a:gd name="connsiteX4" fmla="*/ 236254 w 1388063"/>
              <a:gd name="connsiteY4" fmla="*/ 0 h 774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88063" h="774176">
                <a:moveTo>
                  <a:pt x="236254" y="0"/>
                </a:moveTo>
                <a:lnTo>
                  <a:pt x="1387888" y="0"/>
                </a:lnTo>
                <a:cubicBezTo>
                  <a:pt x="1387946" y="258059"/>
                  <a:pt x="1388005" y="516117"/>
                  <a:pt x="1388063" y="774176"/>
                </a:cubicBezTo>
                <a:lnTo>
                  <a:pt x="0" y="771964"/>
                </a:lnTo>
                <a:lnTo>
                  <a:pt x="23625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30" name="箭头: 五边形 29">
            <a:extLst>
              <a:ext uri="{FF2B5EF4-FFF2-40B4-BE49-F238E27FC236}">
                <a16:creationId xmlns:a16="http://schemas.microsoft.com/office/drawing/2014/main" id="{919CD6AC-4C46-46B2-9755-64F9AAB4D734}"/>
              </a:ext>
            </a:extLst>
          </p:cNvPr>
          <p:cNvSpPr/>
          <p:nvPr/>
        </p:nvSpPr>
        <p:spPr>
          <a:xfrm flipH="1">
            <a:off x="5869853" y="4521727"/>
            <a:ext cx="4076804" cy="891576"/>
          </a:xfrm>
          <a:prstGeom prst="homePlate">
            <a:avLst>
              <a:gd name="adj" fmla="val 29123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913E0761-6DDA-4E87-8890-386D85C9C3FE}"/>
              </a:ext>
            </a:extLst>
          </p:cNvPr>
          <p:cNvSpPr/>
          <p:nvPr/>
        </p:nvSpPr>
        <p:spPr>
          <a:xfrm rot="5400000" flipH="1" flipV="1">
            <a:off x="9715071" y="4747819"/>
            <a:ext cx="1237619" cy="779348"/>
          </a:xfrm>
          <a:custGeom>
            <a:avLst/>
            <a:gdLst>
              <a:gd name="connsiteX0" fmla="*/ 0 w 1016000"/>
              <a:gd name="connsiteY0" fmla="*/ 0 h 768404"/>
              <a:gd name="connsiteX1" fmla="*/ 1016000 w 1016000"/>
              <a:gd name="connsiteY1" fmla="*/ 0 h 768404"/>
              <a:gd name="connsiteX2" fmla="*/ 1016000 w 1016000"/>
              <a:gd name="connsiteY2" fmla="*/ 768404 h 768404"/>
              <a:gd name="connsiteX3" fmla="*/ 0 w 1016000"/>
              <a:gd name="connsiteY3" fmla="*/ 768404 h 768404"/>
              <a:gd name="connsiteX4" fmla="*/ 0 w 1016000"/>
              <a:gd name="connsiteY4" fmla="*/ 0 h 768404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745673 w 1745673"/>
              <a:gd name="connsiteY2" fmla="*/ 768404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9673 w 1745673"/>
              <a:gd name="connsiteY0" fmla="*/ 0 h 777641"/>
              <a:gd name="connsiteX1" fmla="*/ 1745673 w 1745673"/>
              <a:gd name="connsiteY1" fmla="*/ 0 h 777641"/>
              <a:gd name="connsiteX2" fmla="*/ 1317048 w 1745673"/>
              <a:gd name="connsiteY2" fmla="*/ 770785 h 777641"/>
              <a:gd name="connsiteX3" fmla="*/ 0 w 1745673"/>
              <a:gd name="connsiteY3" fmla="*/ 777641 h 777641"/>
              <a:gd name="connsiteX4" fmla="*/ 729673 w 1745673"/>
              <a:gd name="connsiteY4" fmla="*/ 0 h 777641"/>
              <a:gd name="connsiteX0" fmla="*/ 720148 w 1736148"/>
              <a:gd name="connsiteY0" fmla="*/ 0 h 770785"/>
              <a:gd name="connsiteX1" fmla="*/ 1736148 w 1736148"/>
              <a:gd name="connsiteY1" fmla="*/ 0 h 770785"/>
              <a:gd name="connsiteX2" fmla="*/ 1307523 w 1736148"/>
              <a:gd name="connsiteY2" fmla="*/ 770785 h 770785"/>
              <a:gd name="connsiteX3" fmla="*/ 0 w 1736148"/>
              <a:gd name="connsiteY3" fmla="*/ 770497 h 770785"/>
              <a:gd name="connsiteX4" fmla="*/ 720148 w 1736148"/>
              <a:gd name="connsiteY4" fmla="*/ 0 h 770785"/>
              <a:gd name="connsiteX0" fmla="*/ 720148 w 1736148"/>
              <a:gd name="connsiteY0" fmla="*/ 0 h 770785"/>
              <a:gd name="connsiteX1" fmla="*/ 1736148 w 1736148"/>
              <a:gd name="connsiteY1" fmla="*/ 0 h 770785"/>
              <a:gd name="connsiteX2" fmla="*/ 1369545 w 1736148"/>
              <a:gd name="connsiteY2" fmla="*/ 770785 h 770785"/>
              <a:gd name="connsiteX3" fmla="*/ 0 w 1736148"/>
              <a:gd name="connsiteY3" fmla="*/ 770497 h 770785"/>
              <a:gd name="connsiteX4" fmla="*/ 720148 w 1736148"/>
              <a:gd name="connsiteY4" fmla="*/ 0 h 770785"/>
              <a:gd name="connsiteX0" fmla="*/ 446799 w 1736148"/>
              <a:gd name="connsiteY0" fmla="*/ 0 h 773231"/>
              <a:gd name="connsiteX1" fmla="*/ 1736148 w 1736148"/>
              <a:gd name="connsiteY1" fmla="*/ 2446 h 773231"/>
              <a:gd name="connsiteX2" fmla="*/ 1369545 w 1736148"/>
              <a:gd name="connsiteY2" fmla="*/ 773231 h 773231"/>
              <a:gd name="connsiteX3" fmla="*/ 0 w 1736148"/>
              <a:gd name="connsiteY3" fmla="*/ 772943 h 773231"/>
              <a:gd name="connsiteX4" fmla="*/ 446799 w 1736148"/>
              <a:gd name="connsiteY4" fmla="*/ 0 h 773231"/>
              <a:gd name="connsiteX0" fmla="*/ 446799 w 1605827"/>
              <a:gd name="connsiteY0" fmla="*/ 0 h 773231"/>
              <a:gd name="connsiteX1" fmla="*/ 1605827 w 1605827"/>
              <a:gd name="connsiteY1" fmla="*/ 2446 h 773231"/>
              <a:gd name="connsiteX2" fmla="*/ 1369545 w 1605827"/>
              <a:gd name="connsiteY2" fmla="*/ 773231 h 773231"/>
              <a:gd name="connsiteX3" fmla="*/ 0 w 1605827"/>
              <a:gd name="connsiteY3" fmla="*/ 772943 h 773231"/>
              <a:gd name="connsiteX4" fmla="*/ 446799 w 1605827"/>
              <a:gd name="connsiteY4" fmla="*/ 0 h 7732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05827" h="773231">
                <a:moveTo>
                  <a:pt x="446799" y="0"/>
                </a:moveTo>
                <a:lnTo>
                  <a:pt x="1605827" y="2446"/>
                </a:lnTo>
                <a:lnTo>
                  <a:pt x="1369545" y="773231"/>
                </a:lnTo>
                <a:lnTo>
                  <a:pt x="0" y="772943"/>
                </a:lnTo>
                <a:lnTo>
                  <a:pt x="446799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/>
          <a:p>
            <a:pPr algn="ctr"/>
            <a:endParaRPr lang="en-US" sz="7200" dirty="0">
              <a:cs typeface="+mn-ea"/>
              <a:sym typeface="+mn-lt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C031E79E-C612-4D96-B01B-579F39F162B2}"/>
              </a:ext>
            </a:extLst>
          </p:cNvPr>
          <p:cNvSpPr/>
          <p:nvPr/>
        </p:nvSpPr>
        <p:spPr>
          <a:xfrm flipH="1">
            <a:off x="10324577" y="1489208"/>
            <a:ext cx="1111790" cy="1111790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7902BA2B-CAB1-4194-835F-EAFD64A55DF0}"/>
              </a:ext>
            </a:extLst>
          </p:cNvPr>
          <p:cNvSpPr/>
          <p:nvPr/>
        </p:nvSpPr>
        <p:spPr>
          <a:xfrm flipH="1">
            <a:off x="10309737" y="2538075"/>
            <a:ext cx="1127058" cy="1127058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FB443A56-FA79-42D3-A85A-1A45493D5C96}"/>
              </a:ext>
            </a:extLst>
          </p:cNvPr>
          <p:cNvSpPr/>
          <p:nvPr/>
        </p:nvSpPr>
        <p:spPr>
          <a:xfrm flipH="1">
            <a:off x="10303047" y="3596807"/>
            <a:ext cx="1140438" cy="1140438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/>
          <a:p>
            <a:pPr algn="ctr"/>
            <a:endParaRPr lang="en-US" sz="7200"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5FD61E05-1C1D-432E-BD62-EC8A260346C3}"/>
              </a:ext>
            </a:extLst>
          </p:cNvPr>
          <p:cNvSpPr/>
          <p:nvPr/>
        </p:nvSpPr>
        <p:spPr>
          <a:xfrm flipH="1">
            <a:off x="10311479" y="4664300"/>
            <a:ext cx="1125268" cy="1123592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/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376980DC-E165-44B2-A6DB-4B0C471626EB}"/>
              </a:ext>
            </a:extLst>
          </p:cNvPr>
          <p:cNvSpPr/>
          <p:nvPr/>
        </p:nvSpPr>
        <p:spPr bwMode="auto">
          <a:xfrm flipH="1">
            <a:off x="10623251" y="3926506"/>
            <a:ext cx="500030" cy="481040"/>
          </a:xfrm>
          <a:custGeom>
            <a:avLst/>
            <a:gdLst>
              <a:gd name="connsiteX0" fmla="*/ 195114 w 608814"/>
              <a:gd name="connsiteY0" fmla="*/ 351627 h 585693"/>
              <a:gd name="connsiteX1" fmla="*/ 258290 w 608814"/>
              <a:gd name="connsiteY1" fmla="*/ 351627 h 585693"/>
              <a:gd name="connsiteX2" fmla="*/ 282731 w 608814"/>
              <a:gd name="connsiteY2" fmla="*/ 376018 h 585693"/>
              <a:gd name="connsiteX3" fmla="*/ 282731 w 608814"/>
              <a:gd name="connsiteY3" fmla="*/ 561210 h 585693"/>
              <a:gd name="connsiteX4" fmla="*/ 258290 w 608814"/>
              <a:gd name="connsiteY4" fmla="*/ 585693 h 585693"/>
              <a:gd name="connsiteX5" fmla="*/ 195114 w 608814"/>
              <a:gd name="connsiteY5" fmla="*/ 585693 h 585693"/>
              <a:gd name="connsiteX6" fmla="*/ 170673 w 608814"/>
              <a:gd name="connsiteY6" fmla="*/ 561210 h 585693"/>
              <a:gd name="connsiteX7" fmla="*/ 170673 w 608814"/>
              <a:gd name="connsiteY7" fmla="*/ 376018 h 585693"/>
              <a:gd name="connsiteX8" fmla="*/ 195114 w 608814"/>
              <a:gd name="connsiteY8" fmla="*/ 351627 h 585693"/>
              <a:gd name="connsiteX9" fmla="*/ 358100 w 608814"/>
              <a:gd name="connsiteY9" fmla="*/ 249872 h 585693"/>
              <a:gd name="connsiteX10" fmla="*/ 421316 w 608814"/>
              <a:gd name="connsiteY10" fmla="*/ 249872 h 585693"/>
              <a:gd name="connsiteX11" fmla="*/ 445737 w 608814"/>
              <a:gd name="connsiteY11" fmla="*/ 274267 h 585693"/>
              <a:gd name="connsiteX12" fmla="*/ 445737 w 608814"/>
              <a:gd name="connsiteY12" fmla="*/ 561206 h 585693"/>
              <a:gd name="connsiteX13" fmla="*/ 421316 w 608814"/>
              <a:gd name="connsiteY13" fmla="*/ 585693 h 585693"/>
              <a:gd name="connsiteX14" fmla="*/ 358100 w 608814"/>
              <a:gd name="connsiteY14" fmla="*/ 585693 h 585693"/>
              <a:gd name="connsiteX15" fmla="*/ 333679 w 608814"/>
              <a:gd name="connsiteY15" fmla="*/ 561206 h 585693"/>
              <a:gd name="connsiteX16" fmla="*/ 333679 w 608814"/>
              <a:gd name="connsiteY16" fmla="*/ 274267 h 585693"/>
              <a:gd name="connsiteX17" fmla="*/ 358100 w 608814"/>
              <a:gd name="connsiteY17" fmla="*/ 249872 h 585693"/>
              <a:gd name="connsiteX18" fmla="*/ 140260 w 608814"/>
              <a:gd name="connsiteY18" fmla="*/ 224680 h 585693"/>
              <a:gd name="connsiteX19" fmla="*/ 191844 w 608814"/>
              <a:gd name="connsiteY19" fmla="*/ 276122 h 585693"/>
              <a:gd name="connsiteX20" fmla="*/ 140260 w 608814"/>
              <a:gd name="connsiteY20" fmla="*/ 327564 h 585693"/>
              <a:gd name="connsiteX21" fmla="*/ 88676 w 608814"/>
              <a:gd name="connsiteY21" fmla="*/ 276122 h 585693"/>
              <a:gd name="connsiteX22" fmla="*/ 140260 w 608814"/>
              <a:gd name="connsiteY22" fmla="*/ 224680 h 585693"/>
              <a:gd name="connsiteX23" fmla="*/ 521177 w 608814"/>
              <a:gd name="connsiteY23" fmla="*/ 148117 h 585693"/>
              <a:gd name="connsiteX24" fmla="*/ 584301 w 608814"/>
              <a:gd name="connsiteY24" fmla="*/ 148117 h 585693"/>
              <a:gd name="connsiteX25" fmla="*/ 608814 w 608814"/>
              <a:gd name="connsiteY25" fmla="*/ 172601 h 585693"/>
              <a:gd name="connsiteX26" fmla="*/ 608814 w 608814"/>
              <a:gd name="connsiteY26" fmla="*/ 561209 h 585693"/>
              <a:gd name="connsiteX27" fmla="*/ 584301 w 608814"/>
              <a:gd name="connsiteY27" fmla="*/ 585693 h 585693"/>
              <a:gd name="connsiteX28" fmla="*/ 521177 w 608814"/>
              <a:gd name="connsiteY28" fmla="*/ 585693 h 585693"/>
              <a:gd name="connsiteX29" fmla="*/ 496756 w 608814"/>
              <a:gd name="connsiteY29" fmla="*/ 561209 h 585693"/>
              <a:gd name="connsiteX30" fmla="*/ 496756 w 608814"/>
              <a:gd name="connsiteY30" fmla="*/ 172601 h 585693"/>
              <a:gd name="connsiteX31" fmla="*/ 521177 w 608814"/>
              <a:gd name="connsiteY31" fmla="*/ 148117 h 585693"/>
              <a:gd name="connsiteX32" fmla="*/ 116229 w 608814"/>
              <a:gd name="connsiteY32" fmla="*/ 131322 h 585693"/>
              <a:gd name="connsiteX33" fmla="*/ 164246 w 608814"/>
              <a:gd name="connsiteY33" fmla="*/ 131322 h 585693"/>
              <a:gd name="connsiteX34" fmla="*/ 184061 w 608814"/>
              <a:gd name="connsiteY34" fmla="*/ 151113 h 585693"/>
              <a:gd name="connsiteX35" fmla="*/ 184061 w 608814"/>
              <a:gd name="connsiteY35" fmla="*/ 171457 h 585693"/>
              <a:gd name="connsiteX36" fmla="*/ 208669 w 608814"/>
              <a:gd name="connsiteY36" fmla="*/ 186094 h 585693"/>
              <a:gd name="connsiteX37" fmla="*/ 226641 w 608814"/>
              <a:gd name="connsiteY37" fmla="*/ 175692 h 585693"/>
              <a:gd name="connsiteX38" fmla="*/ 253737 w 608814"/>
              <a:gd name="connsiteY38" fmla="*/ 182964 h 585693"/>
              <a:gd name="connsiteX39" fmla="*/ 277792 w 608814"/>
              <a:gd name="connsiteY39" fmla="*/ 224572 h 585693"/>
              <a:gd name="connsiteX40" fmla="*/ 279727 w 608814"/>
              <a:gd name="connsiteY40" fmla="*/ 239577 h 585693"/>
              <a:gd name="connsiteX41" fmla="*/ 270511 w 608814"/>
              <a:gd name="connsiteY41" fmla="*/ 251544 h 585693"/>
              <a:gd name="connsiteX42" fmla="*/ 252355 w 608814"/>
              <a:gd name="connsiteY42" fmla="*/ 262038 h 585693"/>
              <a:gd name="connsiteX43" fmla="*/ 253829 w 608814"/>
              <a:gd name="connsiteY43" fmla="*/ 276122 h 585693"/>
              <a:gd name="connsiteX44" fmla="*/ 252355 w 608814"/>
              <a:gd name="connsiteY44" fmla="*/ 290206 h 585693"/>
              <a:gd name="connsiteX45" fmla="*/ 270511 w 608814"/>
              <a:gd name="connsiteY45" fmla="*/ 300700 h 585693"/>
              <a:gd name="connsiteX46" fmla="*/ 278714 w 608814"/>
              <a:gd name="connsiteY46" fmla="*/ 325094 h 585693"/>
              <a:gd name="connsiteX47" fmla="*/ 258253 w 608814"/>
              <a:gd name="connsiteY47" fmla="*/ 321136 h 585693"/>
              <a:gd name="connsiteX48" fmla="*/ 195858 w 608814"/>
              <a:gd name="connsiteY48" fmla="*/ 321136 h 585693"/>
              <a:gd name="connsiteX49" fmla="*/ 212171 w 608814"/>
              <a:gd name="connsiteY49" fmla="*/ 276122 h 585693"/>
              <a:gd name="connsiteX50" fmla="*/ 140191 w 608814"/>
              <a:gd name="connsiteY50" fmla="*/ 204320 h 585693"/>
              <a:gd name="connsiteX51" fmla="*/ 68304 w 608814"/>
              <a:gd name="connsiteY51" fmla="*/ 276122 h 585693"/>
              <a:gd name="connsiteX52" fmla="*/ 140191 w 608814"/>
              <a:gd name="connsiteY52" fmla="*/ 348016 h 585693"/>
              <a:gd name="connsiteX53" fmla="*/ 148486 w 608814"/>
              <a:gd name="connsiteY53" fmla="*/ 347095 h 585693"/>
              <a:gd name="connsiteX54" fmla="*/ 140099 w 608814"/>
              <a:gd name="connsiteY54" fmla="*/ 376000 h 585693"/>
              <a:gd name="connsiteX55" fmla="*/ 140099 w 608814"/>
              <a:gd name="connsiteY55" fmla="*/ 420922 h 585693"/>
              <a:gd name="connsiteX56" fmla="*/ 116229 w 608814"/>
              <a:gd name="connsiteY56" fmla="*/ 420922 h 585693"/>
              <a:gd name="connsiteX57" fmla="*/ 96413 w 608814"/>
              <a:gd name="connsiteY57" fmla="*/ 401131 h 585693"/>
              <a:gd name="connsiteX58" fmla="*/ 96413 w 608814"/>
              <a:gd name="connsiteY58" fmla="*/ 380787 h 585693"/>
              <a:gd name="connsiteX59" fmla="*/ 71806 w 608814"/>
              <a:gd name="connsiteY59" fmla="*/ 366150 h 585693"/>
              <a:gd name="connsiteX60" fmla="*/ 53742 w 608814"/>
              <a:gd name="connsiteY60" fmla="*/ 376552 h 585693"/>
              <a:gd name="connsiteX61" fmla="*/ 38719 w 608814"/>
              <a:gd name="connsiteY61" fmla="*/ 378577 h 585693"/>
              <a:gd name="connsiteX62" fmla="*/ 26738 w 608814"/>
              <a:gd name="connsiteY62" fmla="*/ 369372 h 585693"/>
              <a:gd name="connsiteX63" fmla="*/ 2683 w 608814"/>
              <a:gd name="connsiteY63" fmla="*/ 327764 h 585693"/>
              <a:gd name="connsiteX64" fmla="*/ 9872 w 608814"/>
              <a:gd name="connsiteY64" fmla="*/ 300700 h 585693"/>
              <a:gd name="connsiteX65" fmla="*/ 28120 w 608814"/>
              <a:gd name="connsiteY65" fmla="*/ 290206 h 585693"/>
              <a:gd name="connsiteX66" fmla="*/ 26645 w 608814"/>
              <a:gd name="connsiteY66" fmla="*/ 276122 h 585693"/>
              <a:gd name="connsiteX67" fmla="*/ 28120 w 608814"/>
              <a:gd name="connsiteY67" fmla="*/ 262038 h 585693"/>
              <a:gd name="connsiteX68" fmla="*/ 9872 w 608814"/>
              <a:gd name="connsiteY68" fmla="*/ 251544 h 585693"/>
              <a:gd name="connsiteX69" fmla="*/ 2683 w 608814"/>
              <a:gd name="connsiteY69" fmla="*/ 224572 h 585693"/>
              <a:gd name="connsiteX70" fmla="*/ 26738 w 608814"/>
              <a:gd name="connsiteY70" fmla="*/ 182964 h 585693"/>
              <a:gd name="connsiteX71" fmla="*/ 38719 w 608814"/>
              <a:gd name="connsiteY71" fmla="*/ 173759 h 585693"/>
              <a:gd name="connsiteX72" fmla="*/ 53742 w 608814"/>
              <a:gd name="connsiteY72" fmla="*/ 175692 h 585693"/>
              <a:gd name="connsiteX73" fmla="*/ 71806 w 608814"/>
              <a:gd name="connsiteY73" fmla="*/ 186094 h 585693"/>
              <a:gd name="connsiteX74" fmla="*/ 96413 w 608814"/>
              <a:gd name="connsiteY74" fmla="*/ 171457 h 585693"/>
              <a:gd name="connsiteX75" fmla="*/ 96413 w 608814"/>
              <a:gd name="connsiteY75" fmla="*/ 151113 h 585693"/>
              <a:gd name="connsiteX76" fmla="*/ 116229 w 608814"/>
              <a:gd name="connsiteY76" fmla="*/ 131322 h 585693"/>
              <a:gd name="connsiteX77" fmla="*/ 445756 w 608814"/>
              <a:gd name="connsiteY77" fmla="*/ 83476 h 585693"/>
              <a:gd name="connsiteX78" fmla="*/ 414140 w 608814"/>
              <a:gd name="connsiteY78" fmla="*/ 115044 h 585693"/>
              <a:gd name="connsiteX79" fmla="*/ 445756 w 608814"/>
              <a:gd name="connsiteY79" fmla="*/ 146520 h 585693"/>
              <a:gd name="connsiteX80" fmla="*/ 477371 w 608814"/>
              <a:gd name="connsiteY80" fmla="*/ 115044 h 585693"/>
              <a:gd name="connsiteX81" fmla="*/ 445756 w 608814"/>
              <a:gd name="connsiteY81" fmla="*/ 83476 h 585693"/>
              <a:gd name="connsiteX82" fmla="*/ 426676 w 608814"/>
              <a:gd name="connsiteY82" fmla="*/ 0 h 585693"/>
              <a:gd name="connsiteX83" fmla="*/ 464835 w 608814"/>
              <a:gd name="connsiteY83" fmla="*/ 0 h 585693"/>
              <a:gd name="connsiteX84" fmla="*/ 480597 w 608814"/>
              <a:gd name="connsiteY84" fmla="*/ 15738 h 585693"/>
              <a:gd name="connsiteX85" fmla="*/ 480597 w 608814"/>
              <a:gd name="connsiteY85" fmla="*/ 31936 h 585693"/>
              <a:gd name="connsiteX86" fmla="*/ 500138 w 608814"/>
              <a:gd name="connsiteY86" fmla="*/ 43533 h 585693"/>
              <a:gd name="connsiteX87" fmla="*/ 514425 w 608814"/>
              <a:gd name="connsiteY87" fmla="*/ 35249 h 585693"/>
              <a:gd name="connsiteX88" fmla="*/ 535901 w 608814"/>
              <a:gd name="connsiteY88" fmla="*/ 40956 h 585693"/>
              <a:gd name="connsiteX89" fmla="*/ 554981 w 608814"/>
              <a:gd name="connsiteY89" fmla="*/ 73996 h 585693"/>
              <a:gd name="connsiteX90" fmla="*/ 556640 w 608814"/>
              <a:gd name="connsiteY90" fmla="*/ 85961 h 585693"/>
              <a:gd name="connsiteX91" fmla="*/ 549266 w 608814"/>
              <a:gd name="connsiteY91" fmla="*/ 95440 h 585693"/>
              <a:gd name="connsiteX92" fmla="*/ 534887 w 608814"/>
              <a:gd name="connsiteY92" fmla="*/ 103815 h 585693"/>
              <a:gd name="connsiteX93" fmla="*/ 535993 w 608814"/>
              <a:gd name="connsiteY93" fmla="*/ 115044 h 585693"/>
              <a:gd name="connsiteX94" fmla="*/ 535717 w 608814"/>
              <a:gd name="connsiteY94" fmla="*/ 117621 h 585693"/>
              <a:gd name="connsiteX95" fmla="*/ 521153 w 608814"/>
              <a:gd name="connsiteY95" fmla="*/ 117621 h 585693"/>
              <a:gd name="connsiteX96" fmla="*/ 466126 w 608814"/>
              <a:gd name="connsiteY96" fmla="*/ 172565 h 585693"/>
              <a:gd name="connsiteX97" fmla="*/ 466126 w 608814"/>
              <a:gd name="connsiteY97" fmla="*/ 229719 h 585693"/>
              <a:gd name="connsiteX98" fmla="*/ 466126 w 608814"/>
              <a:gd name="connsiteY98" fmla="*/ 242604 h 585693"/>
              <a:gd name="connsiteX99" fmla="*/ 453590 w 608814"/>
              <a:gd name="connsiteY99" fmla="*/ 229995 h 585693"/>
              <a:gd name="connsiteX100" fmla="*/ 421330 w 608814"/>
              <a:gd name="connsiteY100" fmla="*/ 219319 h 585693"/>
              <a:gd name="connsiteX101" fmla="*/ 411928 w 608814"/>
              <a:gd name="connsiteY101" fmla="*/ 219319 h 585693"/>
              <a:gd name="connsiteX102" fmla="*/ 410914 w 608814"/>
              <a:gd name="connsiteY102" fmla="*/ 214257 h 585693"/>
              <a:gd name="connsiteX103" fmla="*/ 410914 w 608814"/>
              <a:gd name="connsiteY103" fmla="*/ 198059 h 585693"/>
              <a:gd name="connsiteX104" fmla="*/ 391373 w 608814"/>
              <a:gd name="connsiteY104" fmla="*/ 186463 h 585693"/>
              <a:gd name="connsiteX105" fmla="*/ 377086 w 608814"/>
              <a:gd name="connsiteY105" fmla="*/ 194746 h 585693"/>
              <a:gd name="connsiteX106" fmla="*/ 365104 w 608814"/>
              <a:gd name="connsiteY106" fmla="*/ 196310 h 585693"/>
              <a:gd name="connsiteX107" fmla="*/ 355610 w 608814"/>
              <a:gd name="connsiteY107" fmla="*/ 189040 h 585693"/>
              <a:gd name="connsiteX108" fmla="*/ 336530 w 608814"/>
              <a:gd name="connsiteY108" fmla="*/ 155999 h 585693"/>
              <a:gd name="connsiteX109" fmla="*/ 342245 w 608814"/>
              <a:gd name="connsiteY109" fmla="*/ 134463 h 585693"/>
              <a:gd name="connsiteX110" fmla="*/ 356716 w 608814"/>
              <a:gd name="connsiteY110" fmla="*/ 126180 h 585693"/>
              <a:gd name="connsiteX111" fmla="*/ 355518 w 608814"/>
              <a:gd name="connsiteY111" fmla="*/ 115044 h 585693"/>
              <a:gd name="connsiteX112" fmla="*/ 356716 w 608814"/>
              <a:gd name="connsiteY112" fmla="*/ 103815 h 585693"/>
              <a:gd name="connsiteX113" fmla="*/ 342245 w 608814"/>
              <a:gd name="connsiteY113" fmla="*/ 95440 h 585693"/>
              <a:gd name="connsiteX114" fmla="*/ 336530 w 608814"/>
              <a:gd name="connsiteY114" fmla="*/ 73996 h 585693"/>
              <a:gd name="connsiteX115" fmla="*/ 355610 w 608814"/>
              <a:gd name="connsiteY115" fmla="*/ 40956 h 585693"/>
              <a:gd name="connsiteX116" fmla="*/ 365104 w 608814"/>
              <a:gd name="connsiteY116" fmla="*/ 33685 h 585693"/>
              <a:gd name="connsiteX117" fmla="*/ 377086 w 608814"/>
              <a:gd name="connsiteY117" fmla="*/ 35249 h 585693"/>
              <a:gd name="connsiteX118" fmla="*/ 391373 w 608814"/>
              <a:gd name="connsiteY118" fmla="*/ 43533 h 585693"/>
              <a:gd name="connsiteX119" fmla="*/ 410914 w 608814"/>
              <a:gd name="connsiteY119" fmla="*/ 31936 h 585693"/>
              <a:gd name="connsiteX120" fmla="*/ 410914 w 608814"/>
              <a:gd name="connsiteY120" fmla="*/ 15738 h 585693"/>
              <a:gd name="connsiteX121" fmla="*/ 426676 w 608814"/>
              <a:gd name="connsiteY121" fmla="*/ 0 h 585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608814" h="585693">
                <a:moveTo>
                  <a:pt x="195114" y="351627"/>
                </a:moveTo>
                <a:lnTo>
                  <a:pt x="258290" y="351627"/>
                </a:lnTo>
                <a:cubicBezTo>
                  <a:pt x="271848" y="351627"/>
                  <a:pt x="282731" y="362580"/>
                  <a:pt x="282731" y="376018"/>
                </a:cubicBezTo>
                <a:lnTo>
                  <a:pt x="282731" y="561210"/>
                </a:lnTo>
                <a:cubicBezTo>
                  <a:pt x="282731" y="574740"/>
                  <a:pt x="271848" y="585693"/>
                  <a:pt x="258290" y="585693"/>
                </a:cubicBezTo>
                <a:lnTo>
                  <a:pt x="195114" y="585693"/>
                </a:lnTo>
                <a:cubicBezTo>
                  <a:pt x="181556" y="585693"/>
                  <a:pt x="170673" y="574740"/>
                  <a:pt x="170673" y="561210"/>
                </a:cubicBezTo>
                <a:lnTo>
                  <a:pt x="170673" y="376018"/>
                </a:lnTo>
                <a:cubicBezTo>
                  <a:pt x="170673" y="362580"/>
                  <a:pt x="181556" y="351627"/>
                  <a:pt x="195114" y="351627"/>
                </a:cubicBezTo>
                <a:close/>
                <a:moveTo>
                  <a:pt x="358100" y="249872"/>
                </a:moveTo>
                <a:lnTo>
                  <a:pt x="421316" y="249872"/>
                </a:lnTo>
                <a:cubicBezTo>
                  <a:pt x="434771" y="249872"/>
                  <a:pt x="445737" y="260735"/>
                  <a:pt x="445737" y="274267"/>
                </a:cubicBezTo>
                <a:lnTo>
                  <a:pt x="445737" y="561206"/>
                </a:lnTo>
                <a:cubicBezTo>
                  <a:pt x="445737" y="574738"/>
                  <a:pt x="434771" y="585693"/>
                  <a:pt x="421316" y="585693"/>
                </a:cubicBezTo>
                <a:lnTo>
                  <a:pt x="358100" y="585693"/>
                </a:lnTo>
                <a:cubicBezTo>
                  <a:pt x="344645" y="585693"/>
                  <a:pt x="333679" y="574738"/>
                  <a:pt x="333679" y="561206"/>
                </a:cubicBezTo>
                <a:lnTo>
                  <a:pt x="333679" y="274267"/>
                </a:lnTo>
                <a:cubicBezTo>
                  <a:pt x="333679" y="260735"/>
                  <a:pt x="344645" y="249872"/>
                  <a:pt x="358100" y="249872"/>
                </a:cubicBezTo>
                <a:close/>
                <a:moveTo>
                  <a:pt x="140260" y="224680"/>
                </a:moveTo>
                <a:cubicBezTo>
                  <a:pt x="168749" y="224680"/>
                  <a:pt x="191844" y="247711"/>
                  <a:pt x="191844" y="276122"/>
                </a:cubicBezTo>
                <a:cubicBezTo>
                  <a:pt x="191844" y="304533"/>
                  <a:pt x="168749" y="327564"/>
                  <a:pt x="140260" y="327564"/>
                </a:cubicBezTo>
                <a:cubicBezTo>
                  <a:pt x="111771" y="327564"/>
                  <a:pt x="88676" y="304533"/>
                  <a:pt x="88676" y="276122"/>
                </a:cubicBezTo>
                <a:cubicBezTo>
                  <a:pt x="88676" y="247711"/>
                  <a:pt x="111771" y="224680"/>
                  <a:pt x="140260" y="224680"/>
                </a:cubicBezTo>
                <a:close/>
                <a:moveTo>
                  <a:pt x="521177" y="148117"/>
                </a:moveTo>
                <a:lnTo>
                  <a:pt x="584301" y="148117"/>
                </a:lnTo>
                <a:cubicBezTo>
                  <a:pt x="597848" y="148117"/>
                  <a:pt x="608814" y="159070"/>
                  <a:pt x="608814" y="172601"/>
                </a:cubicBezTo>
                <a:lnTo>
                  <a:pt x="608814" y="561209"/>
                </a:lnTo>
                <a:cubicBezTo>
                  <a:pt x="608814" y="574740"/>
                  <a:pt x="597848" y="585693"/>
                  <a:pt x="584301" y="585693"/>
                </a:cubicBezTo>
                <a:lnTo>
                  <a:pt x="521177" y="585693"/>
                </a:lnTo>
                <a:cubicBezTo>
                  <a:pt x="507722" y="585693"/>
                  <a:pt x="496756" y="574740"/>
                  <a:pt x="496756" y="561209"/>
                </a:cubicBezTo>
                <a:lnTo>
                  <a:pt x="496756" y="172601"/>
                </a:lnTo>
                <a:cubicBezTo>
                  <a:pt x="496756" y="159070"/>
                  <a:pt x="507722" y="148117"/>
                  <a:pt x="521177" y="148117"/>
                </a:cubicBezTo>
                <a:close/>
                <a:moveTo>
                  <a:pt x="116229" y="131322"/>
                </a:moveTo>
                <a:lnTo>
                  <a:pt x="164246" y="131322"/>
                </a:lnTo>
                <a:cubicBezTo>
                  <a:pt x="175214" y="131322"/>
                  <a:pt x="184061" y="140159"/>
                  <a:pt x="184061" y="151113"/>
                </a:cubicBezTo>
                <a:lnTo>
                  <a:pt x="184061" y="171457"/>
                </a:lnTo>
                <a:cubicBezTo>
                  <a:pt x="193001" y="175231"/>
                  <a:pt x="201019" y="180386"/>
                  <a:pt x="208669" y="186094"/>
                </a:cubicBezTo>
                <a:lnTo>
                  <a:pt x="226641" y="175692"/>
                </a:lnTo>
                <a:cubicBezTo>
                  <a:pt x="236134" y="170261"/>
                  <a:pt x="248300" y="173482"/>
                  <a:pt x="253737" y="182964"/>
                </a:cubicBezTo>
                <a:lnTo>
                  <a:pt x="277792" y="224572"/>
                </a:lnTo>
                <a:cubicBezTo>
                  <a:pt x="280465" y="229083"/>
                  <a:pt x="281110" y="234514"/>
                  <a:pt x="279727" y="239577"/>
                </a:cubicBezTo>
                <a:cubicBezTo>
                  <a:pt x="278437" y="244640"/>
                  <a:pt x="275119" y="248966"/>
                  <a:pt x="270511" y="251544"/>
                </a:cubicBezTo>
                <a:lnTo>
                  <a:pt x="252355" y="262038"/>
                </a:lnTo>
                <a:cubicBezTo>
                  <a:pt x="253000" y="266733"/>
                  <a:pt x="253829" y="271335"/>
                  <a:pt x="253829" y="276122"/>
                </a:cubicBezTo>
                <a:cubicBezTo>
                  <a:pt x="253829" y="281001"/>
                  <a:pt x="253000" y="285604"/>
                  <a:pt x="252355" y="290206"/>
                </a:cubicBezTo>
                <a:lnTo>
                  <a:pt x="270511" y="300700"/>
                </a:lnTo>
                <a:cubicBezTo>
                  <a:pt x="279174" y="305671"/>
                  <a:pt x="282308" y="316165"/>
                  <a:pt x="278714" y="325094"/>
                </a:cubicBezTo>
                <a:cubicBezTo>
                  <a:pt x="272354" y="322609"/>
                  <a:pt x="265442" y="321136"/>
                  <a:pt x="258253" y="321136"/>
                </a:cubicBezTo>
                <a:lnTo>
                  <a:pt x="195858" y="321136"/>
                </a:lnTo>
                <a:cubicBezTo>
                  <a:pt x="205904" y="308709"/>
                  <a:pt x="212171" y="293244"/>
                  <a:pt x="212171" y="276122"/>
                </a:cubicBezTo>
                <a:cubicBezTo>
                  <a:pt x="212171" y="236539"/>
                  <a:pt x="179914" y="204320"/>
                  <a:pt x="140191" y="204320"/>
                </a:cubicBezTo>
                <a:cubicBezTo>
                  <a:pt x="100561" y="204320"/>
                  <a:pt x="68304" y="236539"/>
                  <a:pt x="68304" y="276122"/>
                </a:cubicBezTo>
                <a:cubicBezTo>
                  <a:pt x="68304" y="315797"/>
                  <a:pt x="100561" y="348016"/>
                  <a:pt x="140191" y="348016"/>
                </a:cubicBezTo>
                <a:cubicBezTo>
                  <a:pt x="143048" y="348016"/>
                  <a:pt x="145721" y="347463"/>
                  <a:pt x="148486" y="347095"/>
                </a:cubicBezTo>
                <a:cubicBezTo>
                  <a:pt x="143233" y="355564"/>
                  <a:pt x="140099" y="365414"/>
                  <a:pt x="140099" y="376000"/>
                </a:cubicBezTo>
                <a:lnTo>
                  <a:pt x="140099" y="420922"/>
                </a:lnTo>
                <a:lnTo>
                  <a:pt x="116229" y="420922"/>
                </a:lnTo>
                <a:cubicBezTo>
                  <a:pt x="105261" y="420922"/>
                  <a:pt x="96413" y="412085"/>
                  <a:pt x="96413" y="401131"/>
                </a:cubicBezTo>
                <a:lnTo>
                  <a:pt x="96413" y="380787"/>
                </a:lnTo>
                <a:cubicBezTo>
                  <a:pt x="87474" y="377013"/>
                  <a:pt x="79455" y="371950"/>
                  <a:pt x="71806" y="366150"/>
                </a:cubicBezTo>
                <a:lnTo>
                  <a:pt x="53742" y="376552"/>
                </a:lnTo>
                <a:cubicBezTo>
                  <a:pt x="49226" y="379222"/>
                  <a:pt x="43788" y="379866"/>
                  <a:pt x="38719" y="378577"/>
                </a:cubicBezTo>
                <a:cubicBezTo>
                  <a:pt x="33650" y="377197"/>
                  <a:pt x="29318" y="373883"/>
                  <a:pt x="26738" y="369372"/>
                </a:cubicBezTo>
                <a:lnTo>
                  <a:pt x="2683" y="327764"/>
                </a:lnTo>
                <a:cubicBezTo>
                  <a:pt x="-2847" y="318282"/>
                  <a:pt x="471" y="306131"/>
                  <a:pt x="9872" y="300700"/>
                </a:cubicBezTo>
                <a:lnTo>
                  <a:pt x="28120" y="290206"/>
                </a:lnTo>
                <a:cubicBezTo>
                  <a:pt x="27475" y="285604"/>
                  <a:pt x="26645" y="281001"/>
                  <a:pt x="26645" y="276122"/>
                </a:cubicBezTo>
                <a:cubicBezTo>
                  <a:pt x="26645" y="271335"/>
                  <a:pt x="27475" y="266733"/>
                  <a:pt x="28120" y="262038"/>
                </a:cubicBezTo>
                <a:lnTo>
                  <a:pt x="9872" y="251544"/>
                </a:lnTo>
                <a:cubicBezTo>
                  <a:pt x="471" y="246113"/>
                  <a:pt x="-2847" y="233962"/>
                  <a:pt x="2683" y="224572"/>
                </a:cubicBezTo>
                <a:lnTo>
                  <a:pt x="26738" y="182964"/>
                </a:lnTo>
                <a:cubicBezTo>
                  <a:pt x="29318" y="178361"/>
                  <a:pt x="33650" y="175139"/>
                  <a:pt x="38719" y="173759"/>
                </a:cubicBezTo>
                <a:cubicBezTo>
                  <a:pt x="43788" y="172378"/>
                  <a:pt x="49226" y="173114"/>
                  <a:pt x="53742" y="175692"/>
                </a:cubicBezTo>
                <a:lnTo>
                  <a:pt x="71806" y="186094"/>
                </a:lnTo>
                <a:cubicBezTo>
                  <a:pt x="79455" y="180386"/>
                  <a:pt x="87474" y="175231"/>
                  <a:pt x="96413" y="171457"/>
                </a:cubicBezTo>
                <a:lnTo>
                  <a:pt x="96413" y="151113"/>
                </a:lnTo>
                <a:cubicBezTo>
                  <a:pt x="96413" y="140159"/>
                  <a:pt x="105261" y="131322"/>
                  <a:pt x="116229" y="131322"/>
                </a:cubicBezTo>
                <a:close/>
                <a:moveTo>
                  <a:pt x="445756" y="83476"/>
                </a:moveTo>
                <a:cubicBezTo>
                  <a:pt x="428335" y="83476"/>
                  <a:pt x="414140" y="97557"/>
                  <a:pt x="414140" y="115044"/>
                </a:cubicBezTo>
                <a:cubicBezTo>
                  <a:pt x="414140" y="132438"/>
                  <a:pt x="428335" y="146520"/>
                  <a:pt x="445756" y="146520"/>
                </a:cubicBezTo>
                <a:cubicBezTo>
                  <a:pt x="463176" y="146520"/>
                  <a:pt x="477371" y="132438"/>
                  <a:pt x="477371" y="115044"/>
                </a:cubicBezTo>
                <a:cubicBezTo>
                  <a:pt x="477371" y="97557"/>
                  <a:pt x="463176" y="83476"/>
                  <a:pt x="445756" y="83476"/>
                </a:cubicBezTo>
                <a:close/>
                <a:moveTo>
                  <a:pt x="426676" y="0"/>
                </a:moveTo>
                <a:lnTo>
                  <a:pt x="464835" y="0"/>
                </a:lnTo>
                <a:cubicBezTo>
                  <a:pt x="473500" y="0"/>
                  <a:pt x="480597" y="7087"/>
                  <a:pt x="480597" y="15738"/>
                </a:cubicBezTo>
                <a:lnTo>
                  <a:pt x="480597" y="31936"/>
                </a:lnTo>
                <a:cubicBezTo>
                  <a:pt x="487694" y="34881"/>
                  <a:pt x="494054" y="38931"/>
                  <a:pt x="500138" y="43533"/>
                </a:cubicBezTo>
                <a:lnTo>
                  <a:pt x="514425" y="35249"/>
                </a:lnTo>
                <a:cubicBezTo>
                  <a:pt x="521983" y="30924"/>
                  <a:pt x="531569" y="33501"/>
                  <a:pt x="535901" y="40956"/>
                </a:cubicBezTo>
                <a:lnTo>
                  <a:pt x="554981" y="73996"/>
                </a:lnTo>
                <a:cubicBezTo>
                  <a:pt x="557101" y="77585"/>
                  <a:pt x="557654" y="81911"/>
                  <a:pt x="556640" y="85961"/>
                </a:cubicBezTo>
                <a:cubicBezTo>
                  <a:pt x="555534" y="89918"/>
                  <a:pt x="552861" y="93415"/>
                  <a:pt x="549266" y="95440"/>
                </a:cubicBezTo>
                <a:lnTo>
                  <a:pt x="534887" y="103815"/>
                </a:lnTo>
                <a:cubicBezTo>
                  <a:pt x="535348" y="107497"/>
                  <a:pt x="535993" y="111178"/>
                  <a:pt x="535993" y="115044"/>
                </a:cubicBezTo>
                <a:cubicBezTo>
                  <a:pt x="535993" y="115872"/>
                  <a:pt x="535809" y="116700"/>
                  <a:pt x="535717" y="117621"/>
                </a:cubicBezTo>
                <a:lnTo>
                  <a:pt x="521153" y="117621"/>
                </a:lnTo>
                <a:cubicBezTo>
                  <a:pt x="490828" y="117621"/>
                  <a:pt x="466126" y="142286"/>
                  <a:pt x="466126" y="172565"/>
                </a:cubicBezTo>
                <a:lnTo>
                  <a:pt x="466126" y="229719"/>
                </a:lnTo>
                <a:lnTo>
                  <a:pt x="466126" y="242604"/>
                </a:lnTo>
                <a:cubicBezTo>
                  <a:pt x="462715" y="237726"/>
                  <a:pt x="458383" y="233493"/>
                  <a:pt x="453590" y="229995"/>
                </a:cubicBezTo>
                <a:cubicBezTo>
                  <a:pt x="444465" y="223369"/>
                  <a:pt x="433404" y="219319"/>
                  <a:pt x="421330" y="219319"/>
                </a:cubicBezTo>
                <a:lnTo>
                  <a:pt x="411928" y="219319"/>
                </a:lnTo>
                <a:cubicBezTo>
                  <a:pt x="411375" y="217755"/>
                  <a:pt x="410914" y="216098"/>
                  <a:pt x="410914" y="214257"/>
                </a:cubicBezTo>
                <a:lnTo>
                  <a:pt x="410914" y="198059"/>
                </a:lnTo>
                <a:cubicBezTo>
                  <a:pt x="403817" y="195114"/>
                  <a:pt x="397457" y="191064"/>
                  <a:pt x="391373" y="186463"/>
                </a:cubicBezTo>
                <a:lnTo>
                  <a:pt x="377086" y="194746"/>
                </a:lnTo>
                <a:cubicBezTo>
                  <a:pt x="373492" y="196863"/>
                  <a:pt x="369160" y="197415"/>
                  <a:pt x="365104" y="196310"/>
                </a:cubicBezTo>
                <a:cubicBezTo>
                  <a:pt x="361140" y="195206"/>
                  <a:pt x="357638" y="192629"/>
                  <a:pt x="355610" y="189040"/>
                </a:cubicBezTo>
                <a:lnTo>
                  <a:pt x="336530" y="155999"/>
                </a:lnTo>
                <a:cubicBezTo>
                  <a:pt x="332198" y="148452"/>
                  <a:pt x="334687" y="138881"/>
                  <a:pt x="342245" y="134463"/>
                </a:cubicBezTo>
                <a:lnTo>
                  <a:pt x="356716" y="126180"/>
                </a:lnTo>
                <a:cubicBezTo>
                  <a:pt x="356163" y="122498"/>
                  <a:pt x="355518" y="118817"/>
                  <a:pt x="355518" y="115044"/>
                </a:cubicBezTo>
                <a:cubicBezTo>
                  <a:pt x="355518" y="111178"/>
                  <a:pt x="356163" y="107497"/>
                  <a:pt x="356716" y="103815"/>
                </a:cubicBezTo>
                <a:lnTo>
                  <a:pt x="342245" y="95440"/>
                </a:lnTo>
                <a:cubicBezTo>
                  <a:pt x="334687" y="91115"/>
                  <a:pt x="332198" y="81543"/>
                  <a:pt x="336530" y="73996"/>
                </a:cubicBezTo>
                <a:lnTo>
                  <a:pt x="355610" y="40956"/>
                </a:lnTo>
                <a:cubicBezTo>
                  <a:pt x="357638" y="37366"/>
                  <a:pt x="361140" y="34789"/>
                  <a:pt x="365104" y="33685"/>
                </a:cubicBezTo>
                <a:cubicBezTo>
                  <a:pt x="369160" y="32580"/>
                  <a:pt x="373492" y="33133"/>
                  <a:pt x="377086" y="35249"/>
                </a:cubicBezTo>
                <a:lnTo>
                  <a:pt x="391373" y="43533"/>
                </a:lnTo>
                <a:cubicBezTo>
                  <a:pt x="397457" y="38931"/>
                  <a:pt x="403817" y="34881"/>
                  <a:pt x="410914" y="31936"/>
                </a:cubicBezTo>
                <a:lnTo>
                  <a:pt x="410914" y="15738"/>
                </a:lnTo>
                <a:cubicBezTo>
                  <a:pt x="410914" y="7087"/>
                  <a:pt x="418011" y="0"/>
                  <a:pt x="426676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F01AB09D-E1AA-436C-B67A-C1188663F2A7}"/>
              </a:ext>
            </a:extLst>
          </p:cNvPr>
          <p:cNvSpPr/>
          <p:nvPr/>
        </p:nvSpPr>
        <p:spPr bwMode="auto">
          <a:xfrm flipH="1">
            <a:off x="10640477" y="2869251"/>
            <a:ext cx="465578" cy="464706"/>
          </a:xfrm>
          <a:custGeom>
            <a:avLst/>
            <a:gdLst>
              <a:gd name="connsiteX0" fmla="*/ 290910 w 605702"/>
              <a:gd name="connsiteY0" fmla="*/ 156336 h 604568"/>
              <a:gd name="connsiteX1" fmla="*/ 335849 w 605702"/>
              <a:gd name="connsiteY1" fmla="*/ 164992 h 604568"/>
              <a:gd name="connsiteX2" fmla="*/ 288310 w 605702"/>
              <a:gd name="connsiteY2" fmla="*/ 212456 h 604568"/>
              <a:gd name="connsiteX3" fmla="*/ 203632 w 605702"/>
              <a:gd name="connsiteY3" fmla="*/ 244717 h 604568"/>
              <a:gd name="connsiteX4" fmla="*/ 203632 w 605702"/>
              <a:gd name="connsiteY4" fmla="*/ 401388 h 604568"/>
              <a:gd name="connsiteX5" fmla="*/ 360547 w 605702"/>
              <a:gd name="connsiteY5" fmla="*/ 401388 h 604568"/>
              <a:gd name="connsiteX6" fmla="*/ 392859 w 605702"/>
              <a:gd name="connsiteY6" fmla="*/ 316749 h 604568"/>
              <a:gd name="connsiteX7" fmla="*/ 440397 w 605702"/>
              <a:gd name="connsiteY7" fmla="*/ 269284 h 604568"/>
              <a:gd name="connsiteX8" fmla="*/ 400287 w 605702"/>
              <a:gd name="connsiteY8" fmla="*/ 441065 h 604568"/>
              <a:gd name="connsiteX9" fmla="*/ 163892 w 605702"/>
              <a:gd name="connsiteY9" fmla="*/ 441065 h 604568"/>
              <a:gd name="connsiteX10" fmla="*/ 163892 w 605702"/>
              <a:gd name="connsiteY10" fmla="*/ 205040 h 604568"/>
              <a:gd name="connsiteX11" fmla="*/ 290910 w 605702"/>
              <a:gd name="connsiteY11" fmla="*/ 156336 h 604568"/>
              <a:gd name="connsiteX12" fmla="*/ 246542 w 605702"/>
              <a:gd name="connsiteY12" fmla="*/ 43775 h 604568"/>
              <a:gd name="connsiteX13" fmla="*/ 422196 w 605702"/>
              <a:gd name="connsiteY13" fmla="*/ 78723 h 604568"/>
              <a:gd name="connsiteX14" fmla="*/ 376794 w 605702"/>
              <a:gd name="connsiteY14" fmla="*/ 124054 h 604568"/>
              <a:gd name="connsiteX15" fmla="*/ 126109 w 605702"/>
              <a:gd name="connsiteY15" fmla="*/ 167345 h 604568"/>
              <a:gd name="connsiteX16" fmla="*/ 126109 w 605702"/>
              <a:gd name="connsiteY16" fmla="*/ 478820 h 604568"/>
              <a:gd name="connsiteX17" fmla="*/ 438073 w 605702"/>
              <a:gd name="connsiteY17" fmla="*/ 478820 h 604568"/>
              <a:gd name="connsiteX18" fmla="*/ 481432 w 605702"/>
              <a:gd name="connsiteY18" fmla="*/ 228527 h 604568"/>
              <a:gd name="connsiteX19" fmla="*/ 526741 w 605702"/>
              <a:gd name="connsiteY19" fmla="*/ 183011 h 604568"/>
              <a:gd name="connsiteX20" fmla="*/ 481432 w 605702"/>
              <a:gd name="connsiteY20" fmla="*/ 522111 h 604568"/>
              <a:gd name="connsiteX21" fmla="*/ 82657 w 605702"/>
              <a:gd name="connsiteY21" fmla="*/ 522111 h 604568"/>
              <a:gd name="connsiteX22" fmla="*/ 82657 w 605702"/>
              <a:gd name="connsiteY22" fmla="*/ 123961 h 604568"/>
              <a:gd name="connsiteX23" fmla="*/ 246542 w 605702"/>
              <a:gd name="connsiteY23" fmla="*/ 43775 h 604568"/>
              <a:gd name="connsiteX24" fmla="*/ 536061 w 605702"/>
              <a:gd name="connsiteY24" fmla="*/ 0 h 604568"/>
              <a:gd name="connsiteX25" fmla="*/ 544232 w 605702"/>
              <a:gd name="connsiteY25" fmla="*/ 61368 h 604568"/>
              <a:gd name="connsiteX26" fmla="*/ 605702 w 605702"/>
              <a:gd name="connsiteY26" fmla="*/ 69526 h 604568"/>
              <a:gd name="connsiteX27" fmla="*/ 524361 w 605702"/>
              <a:gd name="connsiteY27" fmla="*/ 150732 h 604568"/>
              <a:gd name="connsiteX28" fmla="*/ 498361 w 605702"/>
              <a:gd name="connsiteY28" fmla="*/ 147302 h 604568"/>
              <a:gd name="connsiteX29" fmla="*/ 337721 w 605702"/>
              <a:gd name="connsiteY29" fmla="*/ 307767 h 604568"/>
              <a:gd name="connsiteX30" fmla="*/ 339764 w 605702"/>
              <a:gd name="connsiteY30" fmla="*/ 323063 h 604568"/>
              <a:gd name="connsiteX31" fmla="*/ 282101 w 605702"/>
              <a:gd name="connsiteY31" fmla="*/ 380630 h 604568"/>
              <a:gd name="connsiteX32" fmla="*/ 224437 w 605702"/>
              <a:gd name="connsiteY32" fmla="*/ 323063 h 604568"/>
              <a:gd name="connsiteX33" fmla="*/ 282101 w 605702"/>
              <a:gd name="connsiteY33" fmla="*/ 265495 h 604568"/>
              <a:gd name="connsiteX34" fmla="*/ 297422 w 605702"/>
              <a:gd name="connsiteY34" fmla="*/ 267535 h 604568"/>
              <a:gd name="connsiteX35" fmla="*/ 458155 w 605702"/>
              <a:gd name="connsiteY35" fmla="*/ 107162 h 604568"/>
              <a:gd name="connsiteX36" fmla="*/ 454719 w 605702"/>
              <a:gd name="connsiteY36" fmla="*/ 81206 h 604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5702" h="604568">
                <a:moveTo>
                  <a:pt x="290910" y="156336"/>
                </a:moveTo>
                <a:cubicBezTo>
                  <a:pt x="306137" y="157147"/>
                  <a:pt x="321272" y="160032"/>
                  <a:pt x="335849" y="164992"/>
                </a:cubicBezTo>
                <a:lnTo>
                  <a:pt x="288310" y="212456"/>
                </a:lnTo>
                <a:cubicBezTo>
                  <a:pt x="257856" y="210695"/>
                  <a:pt x="226844" y="221449"/>
                  <a:pt x="203632" y="244717"/>
                </a:cubicBezTo>
                <a:cubicBezTo>
                  <a:pt x="160271" y="287918"/>
                  <a:pt x="160271" y="358187"/>
                  <a:pt x="203632" y="401388"/>
                </a:cubicBezTo>
                <a:cubicBezTo>
                  <a:pt x="246900" y="444680"/>
                  <a:pt x="317279" y="444680"/>
                  <a:pt x="360547" y="401388"/>
                </a:cubicBezTo>
                <a:cubicBezTo>
                  <a:pt x="383852" y="378211"/>
                  <a:pt x="394623" y="347156"/>
                  <a:pt x="392859" y="316749"/>
                </a:cubicBezTo>
                <a:lnTo>
                  <a:pt x="440397" y="269284"/>
                </a:lnTo>
                <a:cubicBezTo>
                  <a:pt x="460267" y="327595"/>
                  <a:pt x="446897" y="394620"/>
                  <a:pt x="400287" y="441065"/>
                </a:cubicBezTo>
                <a:cubicBezTo>
                  <a:pt x="335106" y="506236"/>
                  <a:pt x="229073" y="506236"/>
                  <a:pt x="163892" y="441065"/>
                </a:cubicBezTo>
                <a:cubicBezTo>
                  <a:pt x="98619" y="375987"/>
                  <a:pt x="98619" y="270118"/>
                  <a:pt x="163892" y="205040"/>
                </a:cubicBezTo>
                <a:cubicBezTo>
                  <a:pt x="198711" y="170137"/>
                  <a:pt x="245228" y="153902"/>
                  <a:pt x="290910" y="156336"/>
                </a:cubicBezTo>
                <a:close/>
                <a:moveTo>
                  <a:pt x="246542" y="43775"/>
                </a:moveTo>
                <a:cubicBezTo>
                  <a:pt x="306463" y="36243"/>
                  <a:pt x="368345" y="47900"/>
                  <a:pt x="422196" y="78723"/>
                </a:cubicBezTo>
                <a:lnTo>
                  <a:pt x="376794" y="124054"/>
                </a:lnTo>
                <a:cubicBezTo>
                  <a:pt x="294811" y="85305"/>
                  <a:pt x="193980" y="99581"/>
                  <a:pt x="126109" y="167345"/>
                </a:cubicBezTo>
                <a:cubicBezTo>
                  <a:pt x="39948" y="253371"/>
                  <a:pt x="39948" y="392793"/>
                  <a:pt x="126109" y="478820"/>
                </a:cubicBezTo>
                <a:cubicBezTo>
                  <a:pt x="212271" y="564846"/>
                  <a:pt x="351912" y="564846"/>
                  <a:pt x="438073" y="478820"/>
                </a:cubicBezTo>
                <a:cubicBezTo>
                  <a:pt x="505944" y="411055"/>
                  <a:pt x="520428" y="310382"/>
                  <a:pt x="481432" y="228527"/>
                </a:cubicBezTo>
                <a:lnTo>
                  <a:pt x="526741" y="183011"/>
                </a:lnTo>
                <a:cubicBezTo>
                  <a:pt x="588484" y="290544"/>
                  <a:pt x="573350" y="430244"/>
                  <a:pt x="481432" y="522111"/>
                </a:cubicBezTo>
                <a:cubicBezTo>
                  <a:pt x="371316" y="632054"/>
                  <a:pt x="192866" y="632054"/>
                  <a:pt x="82657" y="522111"/>
                </a:cubicBezTo>
                <a:cubicBezTo>
                  <a:pt x="-27552" y="412168"/>
                  <a:pt x="-27552" y="233997"/>
                  <a:pt x="82657" y="123961"/>
                </a:cubicBezTo>
                <a:cubicBezTo>
                  <a:pt x="128662" y="78028"/>
                  <a:pt x="186622" y="51307"/>
                  <a:pt x="246542" y="43775"/>
                </a:cubicBezTo>
                <a:close/>
                <a:moveTo>
                  <a:pt x="536061" y="0"/>
                </a:moveTo>
                <a:lnTo>
                  <a:pt x="544232" y="61368"/>
                </a:lnTo>
                <a:lnTo>
                  <a:pt x="605702" y="69526"/>
                </a:lnTo>
                <a:lnTo>
                  <a:pt x="524361" y="150732"/>
                </a:lnTo>
                <a:lnTo>
                  <a:pt x="498361" y="147302"/>
                </a:lnTo>
                <a:lnTo>
                  <a:pt x="337721" y="307767"/>
                </a:lnTo>
                <a:cubicBezTo>
                  <a:pt x="339021" y="312588"/>
                  <a:pt x="339764" y="317779"/>
                  <a:pt x="339764" y="323063"/>
                </a:cubicBezTo>
                <a:cubicBezTo>
                  <a:pt x="339764" y="354859"/>
                  <a:pt x="313950" y="380630"/>
                  <a:pt x="282101" y="380630"/>
                </a:cubicBezTo>
                <a:cubicBezTo>
                  <a:pt x="250251" y="380630"/>
                  <a:pt x="224437" y="354859"/>
                  <a:pt x="224437" y="323063"/>
                </a:cubicBezTo>
                <a:cubicBezTo>
                  <a:pt x="224437" y="291266"/>
                  <a:pt x="250251" y="265495"/>
                  <a:pt x="282101" y="265495"/>
                </a:cubicBezTo>
                <a:cubicBezTo>
                  <a:pt x="287393" y="265495"/>
                  <a:pt x="292500" y="266237"/>
                  <a:pt x="297422" y="267535"/>
                </a:cubicBezTo>
                <a:lnTo>
                  <a:pt x="458155" y="107162"/>
                </a:lnTo>
                <a:lnTo>
                  <a:pt x="454719" y="8120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416730D7-ADB0-4AE6-AEF0-15A3D0E15618}"/>
              </a:ext>
            </a:extLst>
          </p:cNvPr>
          <p:cNvSpPr/>
          <p:nvPr/>
        </p:nvSpPr>
        <p:spPr bwMode="auto">
          <a:xfrm flipH="1">
            <a:off x="10602856" y="4947104"/>
            <a:ext cx="542514" cy="557984"/>
          </a:xfrm>
          <a:custGeom>
            <a:avLst/>
            <a:gdLst>
              <a:gd name="T0" fmla="*/ 6023 w 6383"/>
              <a:gd name="T1" fmla="*/ 2985 h 6575"/>
              <a:gd name="T2" fmla="*/ 5921 w 6383"/>
              <a:gd name="T3" fmla="*/ 1957 h 6575"/>
              <a:gd name="T4" fmla="*/ 5304 w 6383"/>
              <a:gd name="T5" fmla="*/ 1379 h 6575"/>
              <a:gd name="T6" fmla="*/ 4619 w 6383"/>
              <a:gd name="T7" fmla="*/ 608 h 6575"/>
              <a:gd name="T8" fmla="*/ 3777 w 6383"/>
              <a:gd name="T9" fmla="*/ 501 h 6575"/>
              <a:gd name="T10" fmla="*/ 2768 w 6383"/>
              <a:gd name="T11" fmla="*/ 280 h 6575"/>
              <a:gd name="T12" fmla="*/ 2028 w 6383"/>
              <a:gd name="T13" fmla="*/ 688 h 6575"/>
              <a:gd name="T14" fmla="*/ 1083 w 6383"/>
              <a:gd name="T15" fmla="*/ 1103 h 6575"/>
              <a:gd name="T16" fmla="*/ 723 w 6383"/>
              <a:gd name="T17" fmla="*/ 1868 h 6575"/>
              <a:gd name="T18" fmla="*/ 201 w 6383"/>
              <a:gd name="T19" fmla="*/ 2759 h 6575"/>
              <a:gd name="T20" fmla="*/ 360 w 6383"/>
              <a:gd name="T21" fmla="*/ 3591 h 6575"/>
              <a:gd name="T22" fmla="*/ 461 w 6383"/>
              <a:gd name="T23" fmla="*/ 4619 h 6575"/>
              <a:gd name="T24" fmla="*/ 1079 w 6383"/>
              <a:gd name="T25" fmla="*/ 5197 h 6575"/>
              <a:gd name="T26" fmla="*/ 1764 w 6383"/>
              <a:gd name="T27" fmla="*/ 5968 h 6575"/>
              <a:gd name="T28" fmla="*/ 2604 w 6383"/>
              <a:gd name="T29" fmla="*/ 6073 h 6575"/>
              <a:gd name="T30" fmla="*/ 3613 w 6383"/>
              <a:gd name="T31" fmla="*/ 6295 h 6575"/>
              <a:gd name="T32" fmla="*/ 4353 w 6383"/>
              <a:gd name="T33" fmla="*/ 5888 h 6575"/>
              <a:gd name="T34" fmla="*/ 5299 w 6383"/>
              <a:gd name="T35" fmla="*/ 5473 h 6575"/>
              <a:gd name="T36" fmla="*/ 5659 w 6383"/>
              <a:gd name="T37" fmla="*/ 4708 h 6575"/>
              <a:gd name="T38" fmla="*/ 6180 w 6383"/>
              <a:gd name="T39" fmla="*/ 3817 h 6575"/>
              <a:gd name="T40" fmla="*/ 3877 w 6383"/>
              <a:gd name="T41" fmla="*/ 4231 h 6575"/>
              <a:gd name="T42" fmla="*/ 3381 w 6383"/>
              <a:gd name="T43" fmla="*/ 4613 h 6575"/>
              <a:gd name="T44" fmla="*/ 3287 w 6383"/>
              <a:gd name="T45" fmla="*/ 4924 h 6575"/>
              <a:gd name="T46" fmla="*/ 2960 w 6383"/>
              <a:gd name="T47" fmla="*/ 4820 h 6575"/>
              <a:gd name="T48" fmla="*/ 2844 w 6383"/>
              <a:gd name="T49" fmla="*/ 4529 h 6575"/>
              <a:gd name="T50" fmla="*/ 2356 w 6383"/>
              <a:gd name="T51" fmla="*/ 4233 h 6575"/>
              <a:gd name="T52" fmla="*/ 2560 w 6383"/>
              <a:gd name="T53" fmla="*/ 3940 h 6575"/>
              <a:gd name="T54" fmla="*/ 3307 w 6383"/>
              <a:gd name="T55" fmla="*/ 4036 h 6575"/>
              <a:gd name="T56" fmla="*/ 3193 w 6383"/>
              <a:gd name="T57" fmla="*/ 3535 h 6575"/>
              <a:gd name="T58" fmla="*/ 2365 w 6383"/>
              <a:gd name="T59" fmla="*/ 2705 h 6575"/>
              <a:gd name="T60" fmla="*/ 2991 w 6383"/>
              <a:gd name="T61" fmla="*/ 1897 h 6575"/>
              <a:gd name="T62" fmla="*/ 3105 w 6383"/>
              <a:gd name="T63" fmla="*/ 1651 h 6575"/>
              <a:gd name="T64" fmla="*/ 3401 w 6383"/>
              <a:gd name="T65" fmla="*/ 1856 h 6575"/>
              <a:gd name="T66" fmla="*/ 3865 w 6383"/>
              <a:gd name="T67" fmla="*/ 2119 h 6575"/>
              <a:gd name="T68" fmla="*/ 3847 w 6383"/>
              <a:gd name="T69" fmla="*/ 2508 h 6575"/>
              <a:gd name="T70" fmla="*/ 3208 w 6383"/>
              <a:gd name="T71" fmla="*/ 2464 h 6575"/>
              <a:gd name="T72" fmla="*/ 3025 w 6383"/>
              <a:gd name="T73" fmla="*/ 2832 h 6575"/>
              <a:gd name="T74" fmla="*/ 3647 w 6383"/>
              <a:gd name="T75" fmla="*/ 3137 h 65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6383" h="6575">
                <a:moveTo>
                  <a:pt x="6023" y="3591"/>
                </a:moveTo>
                <a:cubicBezTo>
                  <a:pt x="5895" y="3409"/>
                  <a:pt x="5895" y="3167"/>
                  <a:pt x="6023" y="2985"/>
                </a:cubicBezTo>
                <a:lnTo>
                  <a:pt x="6181" y="2759"/>
                </a:lnTo>
                <a:cubicBezTo>
                  <a:pt x="6383" y="2472"/>
                  <a:pt x="6253" y="2072"/>
                  <a:pt x="5921" y="1957"/>
                </a:cubicBezTo>
                <a:lnTo>
                  <a:pt x="5660" y="1868"/>
                </a:lnTo>
                <a:cubicBezTo>
                  <a:pt x="5451" y="1796"/>
                  <a:pt x="5308" y="1600"/>
                  <a:pt x="5304" y="1379"/>
                </a:cubicBezTo>
                <a:lnTo>
                  <a:pt x="5300" y="1103"/>
                </a:lnTo>
                <a:cubicBezTo>
                  <a:pt x="5295" y="752"/>
                  <a:pt x="4953" y="505"/>
                  <a:pt x="4619" y="608"/>
                </a:cubicBezTo>
                <a:lnTo>
                  <a:pt x="4353" y="688"/>
                </a:lnTo>
                <a:cubicBezTo>
                  <a:pt x="4141" y="753"/>
                  <a:pt x="3911" y="679"/>
                  <a:pt x="3777" y="501"/>
                </a:cubicBezTo>
                <a:lnTo>
                  <a:pt x="3611" y="280"/>
                </a:lnTo>
                <a:cubicBezTo>
                  <a:pt x="3400" y="0"/>
                  <a:pt x="2979" y="0"/>
                  <a:pt x="2768" y="280"/>
                </a:cubicBezTo>
                <a:lnTo>
                  <a:pt x="2604" y="501"/>
                </a:lnTo>
                <a:cubicBezTo>
                  <a:pt x="2471" y="679"/>
                  <a:pt x="2240" y="753"/>
                  <a:pt x="2028" y="688"/>
                </a:cubicBezTo>
                <a:lnTo>
                  <a:pt x="1764" y="608"/>
                </a:lnTo>
                <a:cubicBezTo>
                  <a:pt x="1429" y="505"/>
                  <a:pt x="1088" y="752"/>
                  <a:pt x="1083" y="1103"/>
                </a:cubicBezTo>
                <a:lnTo>
                  <a:pt x="1079" y="1379"/>
                </a:lnTo>
                <a:cubicBezTo>
                  <a:pt x="1075" y="1600"/>
                  <a:pt x="933" y="1796"/>
                  <a:pt x="723" y="1868"/>
                </a:cubicBezTo>
                <a:lnTo>
                  <a:pt x="461" y="1957"/>
                </a:lnTo>
                <a:cubicBezTo>
                  <a:pt x="129" y="2071"/>
                  <a:pt x="0" y="2471"/>
                  <a:pt x="201" y="2759"/>
                </a:cubicBezTo>
                <a:lnTo>
                  <a:pt x="360" y="2985"/>
                </a:lnTo>
                <a:cubicBezTo>
                  <a:pt x="488" y="3167"/>
                  <a:pt x="488" y="3409"/>
                  <a:pt x="360" y="3591"/>
                </a:cubicBezTo>
                <a:lnTo>
                  <a:pt x="201" y="3817"/>
                </a:lnTo>
                <a:cubicBezTo>
                  <a:pt x="0" y="4104"/>
                  <a:pt x="129" y="4504"/>
                  <a:pt x="461" y="4619"/>
                </a:cubicBezTo>
                <a:lnTo>
                  <a:pt x="723" y="4708"/>
                </a:lnTo>
                <a:cubicBezTo>
                  <a:pt x="932" y="4780"/>
                  <a:pt x="1075" y="4976"/>
                  <a:pt x="1079" y="5197"/>
                </a:cubicBezTo>
                <a:lnTo>
                  <a:pt x="1083" y="5473"/>
                </a:lnTo>
                <a:cubicBezTo>
                  <a:pt x="1088" y="5824"/>
                  <a:pt x="1429" y="6071"/>
                  <a:pt x="1764" y="5968"/>
                </a:cubicBezTo>
                <a:lnTo>
                  <a:pt x="2028" y="5887"/>
                </a:lnTo>
                <a:cubicBezTo>
                  <a:pt x="2240" y="5821"/>
                  <a:pt x="2471" y="5896"/>
                  <a:pt x="2604" y="6073"/>
                </a:cubicBezTo>
                <a:lnTo>
                  <a:pt x="2771" y="6295"/>
                </a:lnTo>
                <a:cubicBezTo>
                  <a:pt x="2981" y="6575"/>
                  <a:pt x="3403" y="6575"/>
                  <a:pt x="3613" y="6295"/>
                </a:cubicBezTo>
                <a:lnTo>
                  <a:pt x="3777" y="6075"/>
                </a:lnTo>
                <a:cubicBezTo>
                  <a:pt x="3911" y="5897"/>
                  <a:pt x="4141" y="5823"/>
                  <a:pt x="4353" y="5888"/>
                </a:cubicBezTo>
                <a:lnTo>
                  <a:pt x="4617" y="5968"/>
                </a:lnTo>
                <a:cubicBezTo>
                  <a:pt x="4952" y="6071"/>
                  <a:pt x="5293" y="5824"/>
                  <a:pt x="5299" y="5473"/>
                </a:cubicBezTo>
                <a:lnTo>
                  <a:pt x="5303" y="5197"/>
                </a:lnTo>
                <a:cubicBezTo>
                  <a:pt x="5307" y="4976"/>
                  <a:pt x="5448" y="4780"/>
                  <a:pt x="5659" y="4708"/>
                </a:cubicBezTo>
                <a:lnTo>
                  <a:pt x="5920" y="4619"/>
                </a:lnTo>
                <a:cubicBezTo>
                  <a:pt x="6252" y="4505"/>
                  <a:pt x="6381" y="4105"/>
                  <a:pt x="6180" y="3817"/>
                </a:cubicBezTo>
                <a:lnTo>
                  <a:pt x="6023" y="3591"/>
                </a:lnTo>
                <a:close/>
                <a:moveTo>
                  <a:pt x="3877" y="4231"/>
                </a:moveTo>
                <a:cubicBezTo>
                  <a:pt x="3773" y="4357"/>
                  <a:pt x="3637" y="4443"/>
                  <a:pt x="3479" y="4487"/>
                </a:cubicBezTo>
                <a:cubicBezTo>
                  <a:pt x="3409" y="4505"/>
                  <a:pt x="3379" y="4541"/>
                  <a:pt x="3381" y="4613"/>
                </a:cubicBezTo>
                <a:cubicBezTo>
                  <a:pt x="3384" y="4684"/>
                  <a:pt x="3381" y="4755"/>
                  <a:pt x="3381" y="4825"/>
                </a:cubicBezTo>
                <a:cubicBezTo>
                  <a:pt x="3381" y="4888"/>
                  <a:pt x="3349" y="4923"/>
                  <a:pt x="3287" y="4924"/>
                </a:cubicBezTo>
                <a:cubicBezTo>
                  <a:pt x="3211" y="4925"/>
                  <a:pt x="3135" y="4925"/>
                  <a:pt x="3059" y="4924"/>
                </a:cubicBezTo>
                <a:cubicBezTo>
                  <a:pt x="2992" y="4923"/>
                  <a:pt x="2961" y="4885"/>
                  <a:pt x="2960" y="4820"/>
                </a:cubicBezTo>
                <a:cubicBezTo>
                  <a:pt x="2960" y="4768"/>
                  <a:pt x="2959" y="4717"/>
                  <a:pt x="2959" y="4665"/>
                </a:cubicBezTo>
                <a:cubicBezTo>
                  <a:pt x="2957" y="4552"/>
                  <a:pt x="2953" y="4547"/>
                  <a:pt x="2844" y="4529"/>
                </a:cubicBezTo>
                <a:cubicBezTo>
                  <a:pt x="2704" y="4507"/>
                  <a:pt x="2567" y="4475"/>
                  <a:pt x="2439" y="4413"/>
                </a:cubicBezTo>
                <a:cubicBezTo>
                  <a:pt x="2337" y="4364"/>
                  <a:pt x="2328" y="4339"/>
                  <a:pt x="2356" y="4233"/>
                </a:cubicBezTo>
                <a:cubicBezTo>
                  <a:pt x="2377" y="4155"/>
                  <a:pt x="2399" y="4076"/>
                  <a:pt x="2424" y="3999"/>
                </a:cubicBezTo>
                <a:cubicBezTo>
                  <a:pt x="2452" y="3908"/>
                  <a:pt x="2477" y="3897"/>
                  <a:pt x="2560" y="3940"/>
                </a:cubicBezTo>
                <a:cubicBezTo>
                  <a:pt x="2701" y="4013"/>
                  <a:pt x="2852" y="4055"/>
                  <a:pt x="3011" y="4075"/>
                </a:cubicBezTo>
                <a:cubicBezTo>
                  <a:pt x="3112" y="4088"/>
                  <a:pt x="3212" y="4077"/>
                  <a:pt x="3307" y="4036"/>
                </a:cubicBezTo>
                <a:cubicBezTo>
                  <a:pt x="3483" y="3959"/>
                  <a:pt x="3511" y="3755"/>
                  <a:pt x="3361" y="3633"/>
                </a:cubicBezTo>
                <a:cubicBezTo>
                  <a:pt x="3311" y="3592"/>
                  <a:pt x="3253" y="3561"/>
                  <a:pt x="3193" y="3535"/>
                </a:cubicBezTo>
                <a:cubicBezTo>
                  <a:pt x="3039" y="3467"/>
                  <a:pt x="2879" y="3415"/>
                  <a:pt x="2733" y="3328"/>
                </a:cubicBezTo>
                <a:cubicBezTo>
                  <a:pt x="2497" y="3187"/>
                  <a:pt x="2347" y="2992"/>
                  <a:pt x="2365" y="2705"/>
                </a:cubicBezTo>
                <a:cubicBezTo>
                  <a:pt x="2385" y="2380"/>
                  <a:pt x="2569" y="2177"/>
                  <a:pt x="2867" y="2069"/>
                </a:cubicBezTo>
                <a:cubicBezTo>
                  <a:pt x="2989" y="2024"/>
                  <a:pt x="2991" y="2027"/>
                  <a:pt x="2991" y="1897"/>
                </a:cubicBezTo>
                <a:lnTo>
                  <a:pt x="2991" y="1767"/>
                </a:lnTo>
                <a:cubicBezTo>
                  <a:pt x="2993" y="1669"/>
                  <a:pt x="3009" y="1653"/>
                  <a:pt x="3105" y="1651"/>
                </a:cubicBezTo>
                <a:cubicBezTo>
                  <a:pt x="3135" y="1649"/>
                  <a:pt x="3165" y="1651"/>
                  <a:pt x="3195" y="1651"/>
                </a:cubicBezTo>
                <a:cubicBezTo>
                  <a:pt x="3400" y="1651"/>
                  <a:pt x="3400" y="1651"/>
                  <a:pt x="3401" y="1856"/>
                </a:cubicBezTo>
                <a:cubicBezTo>
                  <a:pt x="3401" y="2001"/>
                  <a:pt x="3401" y="2001"/>
                  <a:pt x="3547" y="2024"/>
                </a:cubicBezTo>
                <a:cubicBezTo>
                  <a:pt x="3657" y="2041"/>
                  <a:pt x="3764" y="2075"/>
                  <a:pt x="3865" y="2119"/>
                </a:cubicBezTo>
                <a:cubicBezTo>
                  <a:pt x="3921" y="2144"/>
                  <a:pt x="3943" y="2183"/>
                  <a:pt x="3925" y="2243"/>
                </a:cubicBezTo>
                <a:cubicBezTo>
                  <a:pt x="3900" y="2332"/>
                  <a:pt x="3876" y="2420"/>
                  <a:pt x="3847" y="2508"/>
                </a:cubicBezTo>
                <a:cubicBezTo>
                  <a:pt x="3820" y="2591"/>
                  <a:pt x="3793" y="2603"/>
                  <a:pt x="3713" y="2564"/>
                </a:cubicBezTo>
                <a:cubicBezTo>
                  <a:pt x="3553" y="2487"/>
                  <a:pt x="3385" y="2455"/>
                  <a:pt x="3208" y="2464"/>
                </a:cubicBezTo>
                <a:cubicBezTo>
                  <a:pt x="3161" y="2467"/>
                  <a:pt x="3116" y="2473"/>
                  <a:pt x="3073" y="2492"/>
                </a:cubicBezTo>
                <a:cubicBezTo>
                  <a:pt x="2920" y="2559"/>
                  <a:pt x="2896" y="2728"/>
                  <a:pt x="3025" y="2832"/>
                </a:cubicBezTo>
                <a:cubicBezTo>
                  <a:pt x="3091" y="2885"/>
                  <a:pt x="3167" y="2923"/>
                  <a:pt x="3245" y="2956"/>
                </a:cubicBezTo>
                <a:cubicBezTo>
                  <a:pt x="3381" y="3012"/>
                  <a:pt x="3517" y="3065"/>
                  <a:pt x="3647" y="3137"/>
                </a:cubicBezTo>
                <a:cubicBezTo>
                  <a:pt x="4056" y="3365"/>
                  <a:pt x="4167" y="3880"/>
                  <a:pt x="3877" y="4231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72D25439-D56C-4F81-9BB5-73C83474641F}"/>
              </a:ext>
            </a:extLst>
          </p:cNvPr>
          <p:cNvSpPr/>
          <p:nvPr/>
        </p:nvSpPr>
        <p:spPr bwMode="auto">
          <a:xfrm flipH="1">
            <a:off x="10652363" y="1825726"/>
            <a:ext cx="456218" cy="438754"/>
          </a:xfrm>
          <a:custGeom>
            <a:avLst/>
            <a:gdLst>
              <a:gd name="connsiteX0" fmla="*/ 61288 w 609549"/>
              <a:gd name="connsiteY0" fmla="*/ 383285 h 586216"/>
              <a:gd name="connsiteX1" fmla="*/ 71162 w 609549"/>
              <a:gd name="connsiteY1" fmla="*/ 387101 h 586216"/>
              <a:gd name="connsiteX2" fmla="*/ 120018 w 609549"/>
              <a:gd name="connsiteY2" fmla="*/ 435892 h 586216"/>
              <a:gd name="connsiteX3" fmla="*/ 120018 w 609549"/>
              <a:gd name="connsiteY3" fmla="*/ 454200 h 586216"/>
              <a:gd name="connsiteX4" fmla="*/ 56639 w 609549"/>
              <a:gd name="connsiteY4" fmla="*/ 517543 h 586216"/>
              <a:gd name="connsiteX5" fmla="*/ 35592 w 609549"/>
              <a:gd name="connsiteY5" fmla="*/ 513644 h 586216"/>
              <a:gd name="connsiteX6" fmla="*/ 51877 w 609549"/>
              <a:gd name="connsiteY6" fmla="*/ 388099 h 586216"/>
              <a:gd name="connsiteX7" fmla="*/ 61288 w 609549"/>
              <a:gd name="connsiteY7" fmla="*/ 383285 h 586216"/>
              <a:gd name="connsiteX8" fmla="*/ 235245 w 609549"/>
              <a:gd name="connsiteY8" fmla="*/ 302810 h 586216"/>
              <a:gd name="connsiteX9" fmla="*/ 306042 w 609549"/>
              <a:gd name="connsiteY9" fmla="*/ 373466 h 586216"/>
              <a:gd name="connsiteX10" fmla="*/ 258717 w 609549"/>
              <a:gd name="connsiteY10" fmla="*/ 420680 h 586216"/>
              <a:gd name="connsiteX11" fmla="*/ 230246 w 609549"/>
              <a:gd name="connsiteY11" fmla="*/ 550152 h 586216"/>
              <a:gd name="connsiteX12" fmla="*/ 92223 w 609549"/>
              <a:gd name="connsiteY12" fmla="*/ 575305 h 586216"/>
              <a:gd name="connsiteX13" fmla="*/ 88748 w 609549"/>
              <a:gd name="connsiteY13" fmla="*/ 556143 h 586216"/>
              <a:gd name="connsiteX14" fmla="*/ 165115 w 609549"/>
              <a:gd name="connsiteY14" fmla="*/ 479877 h 586216"/>
              <a:gd name="connsiteX15" fmla="*/ 165115 w 609549"/>
              <a:gd name="connsiteY15" fmla="*/ 446308 h 586216"/>
              <a:gd name="connsiteX16" fmla="*/ 88700 w 609549"/>
              <a:gd name="connsiteY16" fmla="*/ 369995 h 586216"/>
              <a:gd name="connsiteX17" fmla="*/ 92128 w 609549"/>
              <a:gd name="connsiteY17" fmla="*/ 350976 h 586216"/>
              <a:gd name="connsiteX18" fmla="*/ 189111 w 609549"/>
              <a:gd name="connsiteY18" fmla="*/ 348884 h 586216"/>
              <a:gd name="connsiteX19" fmla="*/ 257958 w 609549"/>
              <a:gd name="connsiteY19" fmla="*/ 161679 h 586216"/>
              <a:gd name="connsiteX20" fmla="*/ 317251 w 609549"/>
              <a:gd name="connsiteY20" fmla="*/ 220879 h 586216"/>
              <a:gd name="connsiteX21" fmla="*/ 388070 w 609549"/>
              <a:gd name="connsiteY21" fmla="*/ 291586 h 586216"/>
              <a:gd name="connsiteX22" fmla="*/ 604906 w 609549"/>
              <a:gd name="connsiteY22" fmla="*/ 508130 h 586216"/>
              <a:gd name="connsiteX23" fmla="*/ 604906 w 609549"/>
              <a:gd name="connsiteY23" fmla="*/ 530526 h 586216"/>
              <a:gd name="connsiteX24" fmla="*/ 556567 w 609549"/>
              <a:gd name="connsiteY24" fmla="*/ 578789 h 586216"/>
              <a:gd name="connsiteX25" fmla="*/ 545327 w 609549"/>
              <a:gd name="connsiteY25" fmla="*/ 583449 h 586216"/>
              <a:gd name="connsiteX26" fmla="*/ 534135 w 609549"/>
              <a:gd name="connsiteY26" fmla="*/ 578789 h 586216"/>
              <a:gd name="connsiteX27" fmla="*/ 317251 w 609549"/>
              <a:gd name="connsiteY27" fmla="*/ 362293 h 586216"/>
              <a:gd name="connsiteX28" fmla="*/ 246481 w 609549"/>
              <a:gd name="connsiteY28" fmla="*/ 291586 h 586216"/>
              <a:gd name="connsiteX29" fmla="*/ 187140 w 609549"/>
              <a:gd name="connsiteY29" fmla="*/ 232339 h 586216"/>
              <a:gd name="connsiteX30" fmla="*/ 58606 w 609549"/>
              <a:gd name="connsiteY30" fmla="*/ 160814 h 586216"/>
              <a:gd name="connsiteX31" fmla="*/ 126401 w 609549"/>
              <a:gd name="connsiteY31" fmla="*/ 228498 h 586216"/>
              <a:gd name="connsiteX32" fmla="*/ 111975 w 609549"/>
              <a:gd name="connsiteY32" fmla="*/ 242899 h 586216"/>
              <a:gd name="connsiteX33" fmla="*/ 119307 w 609549"/>
              <a:gd name="connsiteY33" fmla="*/ 250219 h 586216"/>
              <a:gd name="connsiteX34" fmla="*/ 119307 w 609549"/>
              <a:gd name="connsiteY34" fmla="*/ 277692 h 586216"/>
              <a:gd name="connsiteX35" fmla="*/ 115641 w 609549"/>
              <a:gd name="connsiteY35" fmla="*/ 281352 h 586216"/>
              <a:gd name="connsiteX36" fmla="*/ 88123 w 609549"/>
              <a:gd name="connsiteY36" fmla="*/ 281352 h 586216"/>
              <a:gd name="connsiteX37" fmla="*/ 5712 w 609549"/>
              <a:gd name="connsiteY37" fmla="*/ 199029 h 586216"/>
              <a:gd name="connsiteX38" fmla="*/ 5712 w 609549"/>
              <a:gd name="connsiteY38" fmla="*/ 171604 h 586216"/>
              <a:gd name="connsiteX39" fmla="*/ 9378 w 609549"/>
              <a:gd name="connsiteY39" fmla="*/ 167944 h 586216"/>
              <a:gd name="connsiteX40" fmla="*/ 36849 w 609549"/>
              <a:gd name="connsiteY40" fmla="*/ 167944 h 586216"/>
              <a:gd name="connsiteX41" fmla="*/ 44180 w 609549"/>
              <a:gd name="connsiteY41" fmla="*/ 175264 h 586216"/>
              <a:gd name="connsiteX42" fmla="*/ 585775 w 609549"/>
              <a:gd name="connsiteY42" fmla="*/ 66370 h 586216"/>
              <a:gd name="connsiteX43" fmla="*/ 595263 w 609549"/>
              <a:gd name="connsiteY43" fmla="*/ 73839 h 586216"/>
              <a:gd name="connsiteX44" fmla="*/ 578978 w 609549"/>
              <a:gd name="connsiteY44" fmla="*/ 199341 h 586216"/>
              <a:gd name="connsiteX45" fmla="*/ 559693 w 609549"/>
              <a:gd name="connsiteY45" fmla="*/ 200387 h 586216"/>
              <a:gd name="connsiteX46" fmla="*/ 510789 w 609549"/>
              <a:gd name="connsiteY46" fmla="*/ 151612 h 586216"/>
              <a:gd name="connsiteX47" fmla="*/ 510789 w 609549"/>
              <a:gd name="connsiteY47" fmla="*/ 133262 h 586216"/>
              <a:gd name="connsiteX48" fmla="*/ 574216 w 609549"/>
              <a:gd name="connsiteY48" fmla="*/ 69988 h 586216"/>
              <a:gd name="connsiteX49" fmla="*/ 585775 w 609549"/>
              <a:gd name="connsiteY49" fmla="*/ 66370 h 586216"/>
              <a:gd name="connsiteX50" fmla="*/ 158702 w 609549"/>
              <a:gd name="connsiteY50" fmla="*/ 26758 h 586216"/>
              <a:gd name="connsiteX51" fmla="*/ 172463 w 609549"/>
              <a:gd name="connsiteY51" fmla="*/ 32464 h 586216"/>
              <a:gd name="connsiteX52" fmla="*/ 179701 w 609549"/>
              <a:gd name="connsiteY52" fmla="*/ 39691 h 586216"/>
              <a:gd name="connsiteX53" fmla="*/ 246935 w 609549"/>
              <a:gd name="connsiteY53" fmla="*/ 106831 h 586216"/>
              <a:gd name="connsiteX54" fmla="*/ 254886 w 609549"/>
              <a:gd name="connsiteY54" fmla="*/ 114819 h 586216"/>
              <a:gd name="connsiteX55" fmla="*/ 257600 w 609549"/>
              <a:gd name="connsiteY55" fmla="*/ 138879 h 586216"/>
              <a:gd name="connsiteX56" fmla="*/ 254886 w 609549"/>
              <a:gd name="connsiteY56" fmla="*/ 142255 h 586216"/>
              <a:gd name="connsiteX57" fmla="*/ 252315 w 609549"/>
              <a:gd name="connsiteY57" fmla="*/ 144823 h 586216"/>
              <a:gd name="connsiteX58" fmla="*/ 246696 w 609549"/>
              <a:gd name="connsiteY58" fmla="*/ 150434 h 586216"/>
              <a:gd name="connsiteX59" fmla="*/ 175892 w 609549"/>
              <a:gd name="connsiteY59" fmla="*/ 221140 h 586216"/>
              <a:gd name="connsiteX60" fmla="*/ 172463 w 609549"/>
              <a:gd name="connsiteY60" fmla="*/ 224611 h 586216"/>
              <a:gd name="connsiteX61" fmla="*/ 170130 w 609549"/>
              <a:gd name="connsiteY61" fmla="*/ 226560 h 586216"/>
              <a:gd name="connsiteX62" fmla="*/ 162274 w 609549"/>
              <a:gd name="connsiteY62" fmla="*/ 229936 h 586216"/>
              <a:gd name="connsiteX63" fmla="*/ 158702 w 609549"/>
              <a:gd name="connsiteY63" fmla="*/ 230269 h 586216"/>
              <a:gd name="connsiteX64" fmla="*/ 144942 w 609549"/>
              <a:gd name="connsiteY64" fmla="*/ 224611 h 586216"/>
              <a:gd name="connsiteX65" fmla="*/ 137609 w 609549"/>
              <a:gd name="connsiteY65" fmla="*/ 217288 h 586216"/>
              <a:gd name="connsiteX66" fmla="*/ 69804 w 609549"/>
              <a:gd name="connsiteY66" fmla="*/ 149578 h 586216"/>
              <a:gd name="connsiteX67" fmla="*/ 62519 w 609549"/>
              <a:gd name="connsiteY67" fmla="*/ 142255 h 586216"/>
              <a:gd name="connsiteX68" fmla="*/ 62519 w 609549"/>
              <a:gd name="connsiteY68" fmla="*/ 114819 h 586216"/>
              <a:gd name="connsiteX69" fmla="*/ 144942 w 609549"/>
              <a:gd name="connsiteY69" fmla="*/ 32464 h 586216"/>
              <a:gd name="connsiteX70" fmla="*/ 158702 w 609549"/>
              <a:gd name="connsiteY70" fmla="*/ 26758 h 586216"/>
              <a:gd name="connsiteX71" fmla="*/ 254809 w 609549"/>
              <a:gd name="connsiteY71" fmla="*/ 6542 h 586216"/>
              <a:gd name="connsiteX72" fmla="*/ 321015 w 609549"/>
              <a:gd name="connsiteY72" fmla="*/ 29913 h 586216"/>
              <a:gd name="connsiteX73" fmla="*/ 260017 w 609549"/>
              <a:gd name="connsiteY73" fmla="*/ 97465 h 586216"/>
              <a:gd name="connsiteX74" fmla="*/ 193067 w 609549"/>
              <a:gd name="connsiteY74" fmla="*/ 30626 h 586216"/>
              <a:gd name="connsiteX75" fmla="*/ 254809 w 609549"/>
              <a:gd name="connsiteY75" fmla="*/ 6542 h 586216"/>
              <a:gd name="connsiteX76" fmla="*/ 503105 w 609549"/>
              <a:gd name="connsiteY76" fmla="*/ 953 h 586216"/>
              <a:gd name="connsiteX77" fmla="*/ 538560 w 609549"/>
              <a:gd name="connsiteY77" fmla="*/ 10911 h 586216"/>
              <a:gd name="connsiteX78" fmla="*/ 542083 w 609549"/>
              <a:gd name="connsiteY78" fmla="*/ 30073 h 586216"/>
              <a:gd name="connsiteX79" fmla="*/ 465709 w 609549"/>
              <a:gd name="connsiteY79" fmla="*/ 106341 h 586216"/>
              <a:gd name="connsiteX80" fmla="*/ 465709 w 609549"/>
              <a:gd name="connsiteY80" fmla="*/ 139911 h 586216"/>
              <a:gd name="connsiteX81" fmla="*/ 542131 w 609549"/>
              <a:gd name="connsiteY81" fmla="*/ 216227 h 586216"/>
              <a:gd name="connsiteX82" fmla="*/ 538655 w 609549"/>
              <a:gd name="connsiteY82" fmla="*/ 235246 h 586216"/>
              <a:gd name="connsiteX83" fmla="*/ 442187 w 609549"/>
              <a:gd name="connsiteY83" fmla="*/ 237528 h 586216"/>
              <a:gd name="connsiteX84" fmla="*/ 399238 w 609549"/>
              <a:gd name="connsiteY84" fmla="*/ 280370 h 586216"/>
              <a:gd name="connsiteX85" fmla="*/ 328482 w 609549"/>
              <a:gd name="connsiteY85" fmla="*/ 209712 h 586216"/>
              <a:gd name="connsiteX86" fmla="*/ 372240 w 609549"/>
              <a:gd name="connsiteY86" fmla="*/ 166015 h 586216"/>
              <a:gd name="connsiteX87" fmla="*/ 400571 w 609549"/>
              <a:gd name="connsiteY87" fmla="*/ 36064 h 586216"/>
              <a:gd name="connsiteX88" fmla="*/ 503105 w 609549"/>
              <a:gd name="connsiteY88" fmla="*/ 953 h 5862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609549" h="586216">
                <a:moveTo>
                  <a:pt x="61288" y="383285"/>
                </a:moveTo>
                <a:cubicBezTo>
                  <a:pt x="64829" y="383106"/>
                  <a:pt x="68448" y="384367"/>
                  <a:pt x="71162" y="387101"/>
                </a:cubicBezTo>
                <a:lnTo>
                  <a:pt x="120018" y="435892"/>
                </a:lnTo>
                <a:cubicBezTo>
                  <a:pt x="125113" y="440933"/>
                  <a:pt x="125113" y="449160"/>
                  <a:pt x="120018" y="454200"/>
                </a:cubicBezTo>
                <a:lnTo>
                  <a:pt x="56639" y="517543"/>
                </a:lnTo>
                <a:cubicBezTo>
                  <a:pt x="50211" y="523963"/>
                  <a:pt x="39211" y="522013"/>
                  <a:pt x="35592" y="513644"/>
                </a:cubicBezTo>
                <a:cubicBezTo>
                  <a:pt x="17783" y="472794"/>
                  <a:pt x="23211" y="424288"/>
                  <a:pt x="51877" y="388099"/>
                </a:cubicBezTo>
                <a:cubicBezTo>
                  <a:pt x="54282" y="385079"/>
                  <a:pt x="57746" y="383463"/>
                  <a:pt x="61288" y="383285"/>
                </a:cubicBezTo>
                <a:close/>
                <a:moveTo>
                  <a:pt x="235245" y="302810"/>
                </a:moveTo>
                <a:lnTo>
                  <a:pt x="306042" y="373466"/>
                </a:lnTo>
                <a:lnTo>
                  <a:pt x="258717" y="420680"/>
                </a:lnTo>
                <a:cubicBezTo>
                  <a:pt x="274667" y="464329"/>
                  <a:pt x="265192" y="515300"/>
                  <a:pt x="230246" y="550152"/>
                </a:cubicBezTo>
                <a:cubicBezTo>
                  <a:pt x="192919" y="587430"/>
                  <a:pt x="137644" y="595798"/>
                  <a:pt x="92223" y="575305"/>
                </a:cubicBezTo>
                <a:cubicBezTo>
                  <a:pt x="84701" y="571882"/>
                  <a:pt x="82892" y="561992"/>
                  <a:pt x="88748" y="556143"/>
                </a:cubicBezTo>
                <a:lnTo>
                  <a:pt x="165115" y="479877"/>
                </a:lnTo>
                <a:cubicBezTo>
                  <a:pt x="174399" y="470605"/>
                  <a:pt x="174399" y="455580"/>
                  <a:pt x="165115" y="446308"/>
                </a:cubicBezTo>
                <a:lnTo>
                  <a:pt x="88700" y="369995"/>
                </a:lnTo>
                <a:cubicBezTo>
                  <a:pt x="82844" y="364194"/>
                  <a:pt x="84653" y="354399"/>
                  <a:pt x="92128" y="350976"/>
                </a:cubicBezTo>
                <a:cubicBezTo>
                  <a:pt x="122789" y="337092"/>
                  <a:pt x="157973" y="336379"/>
                  <a:pt x="189111" y="348884"/>
                </a:cubicBezTo>
                <a:close/>
                <a:moveTo>
                  <a:pt x="257958" y="161679"/>
                </a:moveTo>
                <a:lnTo>
                  <a:pt x="317251" y="220879"/>
                </a:lnTo>
                <a:lnTo>
                  <a:pt x="388070" y="291586"/>
                </a:lnTo>
                <a:lnTo>
                  <a:pt x="604906" y="508130"/>
                </a:lnTo>
                <a:cubicBezTo>
                  <a:pt x="611097" y="514311"/>
                  <a:pt x="611097" y="524344"/>
                  <a:pt x="604906" y="530526"/>
                </a:cubicBezTo>
                <a:lnTo>
                  <a:pt x="556567" y="578789"/>
                </a:lnTo>
                <a:cubicBezTo>
                  <a:pt x="553471" y="581880"/>
                  <a:pt x="549423" y="583449"/>
                  <a:pt x="545327" y="583449"/>
                </a:cubicBezTo>
                <a:cubicBezTo>
                  <a:pt x="541279" y="583449"/>
                  <a:pt x="537231" y="581880"/>
                  <a:pt x="534135" y="578789"/>
                </a:cubicBezTo>
                <a:lnTo>
                  <a:pt x="317251" y="362293"/>
                </a:lnTo>
                <a:lnTo>
                  <a:pt x="246481" y="291586"/>
                </a:lnTo>
                <a:lnTo>
                  <a:pt x="187140" y="232339"/>
                </a:lnTo>
                <a:close/>
                <a:moveTo>
                  <a:pt x="58606" y="160814"/>
                </a:moveTo>
                <a:lnTo>
                  <a:pt x="126401" y="228498"/>
                </a:lnTo>
                <a:lnTo>
                  <a:pt x="111975" y="242899"/>
                </a:lnTo>
                <a:lnTo>
                  <a:pt x="119307" y="250219"/>
                </a:lnTo>
                <a:cubicBezTo>
                  <a:pt x="126877" y="257824"/>
                  <a:pt x="126877" y="270087"/>
                  <a:pt x="119307" y="277692"/>
                </a:cubicBezTo>
                <a:lnTo>
                  <a:pt x="115641" y="281352"/>
                </a:lnTo>
                <a:cubicBezTo>
                  <a:pt x="108024" y="288909"/>
                  <a:pt x="95741" y="288909"/>
                  <a:pt x="88123" y="281352"/>
                </a:cubicBezTo>
                <a:lnTo>
                  <a:pt x="5712" y="199029"/>
                </a:lnTo>
                <a:cubicBezTo>
                  <a:pt x="-1905" y="191424"/>
                  <a:pt x="-1905" y="179161"/>
                  <a:pt x="5712" y="171604"/>
                </a:cubicBezTo>
                <a:lnTo>
                  <a:pt x="9378" y="167944"/>
                </a:lnTo>
                <a:cubicBezTo>
                  <a:pt x="16948" y="160339"/>
                  <a:pt x="29231" y="160339"/>
                  <a:pt x="36849" y="167944"/>
                </a:cubicBezTo>
                <a:lnTo>
                  <a:pt x="44180" y="175264"/>
                </a:lnTo>
                <a:close/>
                <a:moveTo>
                  <a:pt x="585775" y="66370"/>
                </a:moveTo>
                <a:cubicBezTo>
                  <a:pt x="589775" y="67101"/>
                  <a:pt x="593430" y="69680"/>
                  <a:pt x="595263" y="73839"/>
                </a:cubicBezTo>
                <a:cubicBezTo>
                  <a:pt x="613072" y="114675"/>
                  <a:pt x="607644" y="163212"/>
                  <a:pt x="578978" y="199341"/>
                </a:cubicBezTo>
                <a:cubicBezTo>
                  <a:pt x="574168" y="205379"/>
                  <a:pt x="565121" y="205854"/>
                  <a:pt x="559693" y="200387"/>
                </a:cubicBezTo>
                <a:lnTo>
                  <a:pt x="510789" y="151612"/>
                </a:lnTo>
                <a:cubicBezTo>
                  <a:pt x="505742" y="146526"/>
                  <a:pt x="505742" y="138349"/>
                  <a:pt x="510789" y="133262"/>
                </a:cubicBezTo>
                <a:lnTo>
                  <a:pt x="574216" y="69988"/>
                </a:lnTo>
                <a:cubicBezTo>
                  <a:pt x="577430" y="66756"/>
                  <a:pt x="581775" y="65639"/>
                  <a:pt x="585775" y="66370"/>
                </a:cubicBezTo>
                <a:close/>
                <a:moveTo>
                  <a:pt x="158702" y="26758"/>
                </a:moveTo>
                <a:cubicBezTo>
                  <a:pt x="163655" y="26758"/>
                  <a:pt x="168654" y="28660"/>
                  <a:pt x="172463" y="32464"/>
                </a:cubicBezTo>
                <a:lnTo>
                  <a:pt x="179701" y="39691"/>
                </a:lnTo>
                <a:lnTo>
                  <a:pt x="246935" y="106831"/>
                </a:lnTo>
                <a:lnTo>
                  <a:pt x="254886" y="114819"/>
                </a:lnTo>
                <a:cubicBezTo>
                  <a:pt x="261457" y="121334"/>
                  <a:pt x="262362" y="131414"/>
                  <a:pt x="257600" y="138879"/>
                </a:cubicBezTo>
                <a:cubicBezTo>
                  <a:pt x="256839" y="140068"/>
                  <a:pt x="255934" y="141209"/>
                  <a:pt x="254886" y="142255"/>
                </a:cubicBezTo>
                <a:lnTo>
                  <a:pt x="252315" y="144823"/>
                </a:lnTo>
                <a:lnTo>
                  <a:pt x="246696" y="150434"/>
                </a:lnTo>
                <a:lnTo>
                  <a:pt x="175892" y="221140"/>
                </a:lnTo>
                <a:lnTo>
                  <a:pt x="172463" y="224611"/>
                </a:lnTo>
                <a:cubicBezTo>
                  <a:pt x="171702" y="225324"/>
                  <a:pt x="170940" y="225990"/>
                  <a:pt x="170130" y="226560"/>
                </a:cubicBezTo>
                <a:cubicBezTo>
                  <a:pt x="167749" y="228319"/>
                  <a:pt x="165083" y="229413"/>
                  <a:pt x="162274" y="229936"/>
                </a:cubicBezTo>
                <a:cubicBezTo>
                  <a:pt x="161083" y="230174"/>
                  <a:pt x="159893" y="230269"/>
                  <a:pt x="158702" y="230269"/>
                </a:cubicBezTo>
                <a:cubicBezTo>
                  <a:pt x="153703" y="230269"/>
                  <a:pt x="148751" y="228367"/>
                  <a:pt x="144942" y="224611"/>
                </a:cubicBezTo>
                <a:lnTo>
                  <a:pt x="137609" y="217288"/>
                </a:lnTo>
                <a:lnTo>
                  <a:pt x="69804" y="149578"/>
                </a:lnTo>
                <a:lnTo>
                  <a:pt x="62519" y="142255"/>
                </a:lnTo>
                <a:cubicBezTo>
                  <a:pt x="54900" y="134647"/>
                  <a:pt x="54900" y="122380"/>
                  <a:pt x="62519" y="114819"/>
                </a:cubicBezTo>
                <a:lnTo>
                  <a:pt x="144942" y="32464"/>
                </a:lnTo>
                <a:cubicBezTo>
                  <a:pt x="148751" y="28660"/>
                  <a:pt x="153750" y="26758"/>
                  <a:pt x="158702" y="26758"/>
                </a:cubicBezTo>
                <a:close/>
                <a:moveTo>
                  <a:pt x="254809" y="6542"/>
                </a:moveTo>
                <a:cubicBezTo>
                  <a:pt x="277279" y="4029"/>
                  <a:pt x="300492" y="9424"/>
                  <a:pt x="321015" y="29913"/>
                </a:cubicBezTo>
                <a:cubicBezTo>
                  <a:pt x="380347" y="89193"/>
                  <a:pt x="337205" y="46124"/>
                  <a:pt x="260017" y="97465"/>
                </a:cubicBezTo>
                <a:lnTo>
                  <a:pt x="193067" y="30626"/>
                </a:lnTo>
                <a:cubicBezTo>
                  <a:pt x="210614" y="19479"/>
                  <a:pt x="232340" y="9056"/>
                  <a:pt x="254809" y="6542"/>
                </a:cubicBezTo>
                <a:close/>
                <a:moveTo>
                  <a:pt x="503105" y="953"/>
                </a:moveTo>
                <a:cubicBezTo>
                  <a:pt x="515252" y="2468"/>
                  <a:pt x="527216" y="5788"/>
                  <a:pt x="538560" y="10911"/>
                </a:cubicBezTo>
                <a:cubicBezTo>
                  <a:pt x="546131" y="14334"/>
                  <a:pt x="547940" y="24224"/>
                  <a:pt x="542083" y="30073"/>
                </a:cubicBezTo>
                <a:lnTo>
                  <a:pt x="465709" y="106341"/>
                </a:lnTo>
                <a:cubicBezTo>
                  <a:pt x="456424" y="115613"/>
                  <a:pt x="456424" y="130639"/>
                  <a:pt x="465709" y="139911"/>
                </a:cubicBezTo>
                <a:lnTo>
                  <a:pt x="542131" y="216227"/>
                </a:lnTo>
                <a:cubicBezTo>
                  <a:pt x="547940" y="222028"/>
                  <a:pt x="546178" y="231823"/>
                  <a:pt x="538655" y="235246"/>
                </a:cubicBezTo>
                <a:cubicBezTo>
                  <a:pt x="508181" y="249035"/>
                  <a:pt x="473184" y="249844"/>
                  <a:pt x="442187" y="237528"/>
                </a:cubicBezTo>
                <a:lnTo>
                  <a:pt x="399238" y="280370"/>
                </a:lnTo>
                <a:lnTo>
                  <a:pt x="328482" y="209712"/>
                </a:lnTo>
                <a:lnTo>
                  <a:pt x="372240" y="166015"/>
                </a:lnTo>
                <a:cubicBezTo>
                  <a:pt x="356051" y="122270"/>
                  <a:pt x="365527" y="71060"/>
                  <a:pt x="400571" y="36064"/>
                </a:cubicBezTo>
                <a:cubicBezTo>
                  <a:pt x="428569" y="8106"/>
                  <a:pt x="466664" y="-3592"/>
                  <a:pt x="503105" y="953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88C73A7C-2AC0-4916-9B9E-14713435F298}"/>
              </a:ext>
            </a:extLst>
          </p:cNvPr>
          <p:cNvSpPr/>
          <p:nvPr/>
        </p:nvSpPr>
        <p:spPr bwMode="auto">
          <a:xfrm flipH="1">
            <a:off x="6078791" y="2304325"/>
            <a:ext cx="3632195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54" name="文本框 53">
            <a:extLst>
              <a:ext uri="{FF2B5EF4-FFF2-40B4-BE49-F238E27FC236}">
                <a16:creationId xmlns:a16="http://schemas.microsoft.com/office/drawing/2014/main" id="{E33556AC-9B01-4C4E-953D-C1DB6B623386}"/>
              </a:ext>
            </a:extLst>
          </p:cNvPr>
          <p:cNvSpPr txBox="1"/>
          <p:nvPr/>
        </p:nvSpPr>
        <p:spPr bwMode="auto">
          <a:xfrm flipH="1">
            <a:off x="6078791" y="1916726"/>
            <a:ext cx="363219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51" name="矩形 50">
            <a:extLst>
              <a:ext uri="{FF2B5EF4-FFF2-40B4-BE49-F238E27FC236}">
                <a16:creationId xmlns:a16="http://schemas.microsoft.com/office/drawing/2014/main" id="{9ABAA980-019F-4FB6-9BB8-17CD267837DD}"/>
              </a:ext>
            </a:extLst>
          </p:cNvPr>
          <p:cNvSpPr/>
          <p:nvPr/>
        </p:nvSpPr>
        <p:spPr bwMode="auto">
          <a:xfrm flipH="1">
            <a:off x="6078791" y="3191711"/>
            <a:ext cx="3632195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D54280D7-0BB0-409F-B2E6-7A8E94F515DB}"/>
              </a:ext>
            </a:extLst>
          </p:cNvPr>
          <p:cNvSpPr txBox="1"/>
          <p:nvPr/>
        </p:nvSpPr>
        <p:spPr bwMode="auto">
          <a:xfrm flipH="1">
            <a:off x="6078791" y="2804112"/>
            <a:ext cx="363219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4999D274-6FE4-4C0B-B98E-FB28879A5FDD}"/>
              </a:ext>
            </a:extLst>
          </p:cNvPr>
          <p:cNvSpPr/>
          <p:nvPr/>
        </p:nvSpPr>
        <p:spPr bwMode="auto">
          <a:xfrm flipH="1">
            <a:off x="6078791" y="4077603"/>
            <a:ext cx="3632195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50" name="文本框 49">
            <a:extLst>
              <a:ext uri="{FF2B5EF4-FFF2-40B4-BE49-F238E27FC236}">
                <a16:creationId xmlns:a16="http://schemas.microsoft.com/office/drawing/2014/main" id="{F8ED7A3A-B41B-4F77-8BFF-04E7356C585A}"/>
              </a:ext>
            </a:extLst>
          </p:cNvPr>
          <p:cNvSpPr txBox="1"/>
          <p:nvPr/>
        </p:nvSpPr>
        <p:spPr bwMode="auto">
          <a:xfrm flipH="1">
            <a:off x="6078791" y="3690004"/>
            <a:ext cx="363219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7" name="矩形 46">
            <a:extLst>
              <a:ext uri="{FF2B5EF4-FFF2-40B4-BE49-F238E27FC236}">
                <a16:creationId xmlns:a16="http://schemas.microsoft.com/office/drawing/2014/main" id="{9A79ADF6-C652-4364-B022-80F6A41AF579}"/>
              </a:ext>
            </a:extLst>
          </p:cNvPr>
          <p:cNvSpPr/>
          <p:nvPr/>
        </p:nvSpPr>
        <p:spPr bwMode="auto">
          <a:xfrm flipH="1">
            <a:off x="6078791" y="4967516"/>
            <a:ext cx="3632195" cy="387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bg1"/>
                </a:solidFill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5484F7FE-F743-4A15-987A-D5671B56C5C1}"/>
              </a:ext>
            </a:extLst>
          </p:cNvPr>
          <p:cNvSpPr txBox="1"/>
          <p:nvPr/>
        </p:nvSpPr>
        <p:spPr bwMode="auto">
          <a:xfrm flipH="1">
            <a:off x="6078791" y="4579917"/>
            <a:ext cx="3632195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9BE404E0-B65D-4642-B9F5-D8267C36001C}"/>
              </a:ext>
            </a:extLst>
          </p:cNvPr>
          <p:cNvSpPr/>
          <p:nvPr/>
        </p:nvSpPr>
        <p:spPr>
          <a:xfrm>
            <a:off x="669925" y="3134355"/>
            <a:ext cx="3477025" cy="133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Unified fonts make reading more fluent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3A292CCD-7C25-47A4-BCA9-D74E5937676D}"/>
              </a:ext>
            </a:extLst>
          </p:cNvPr>
          <p:cNvSpPr txBox="1"/>
          <p:nvPr/>
        </p:nvSpPr>
        <p:spPr bwMode="auto">
          <a:xfrm>
            <a:off x="669925" y="2692550"/>
            <a:ext cx="3477025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4171990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77AA56CE-72C6-4C60-92ED-0AC1843F5578}"/>
              </a:ext>
            </a:extLst>
          </p:cNvPr>
          <p:cNvSpPr/>
          <p:nvPr/>
        </p:nvSpPr>
        <p:spPr bwMode="auto">
          <a:xfrm>
            <a:off x="2681818" y="1123950"/>
            <a:ext cx="4317802" cy="383299"/>
          </a:xfrm>
          <a:prstGeom prst="rect">
            <a:avLst/>
          </a:prstGeom>
          <a:solidFill>
            <a:schemeClr val="accent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2018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EC34D911-80FB-42EF-9906-8C48D918C06A}"/>
              </a:ext>
            </a:extLst>
          </p:cNvPr>
          <p:cNvSpPr/>
          <p:nvPr/>
        </p:nvSpPr>
        <p:spPr bwMode="auto">
          <a:xfrm>
            <a:off x="7202686" y="1123950"/>
            <a:ext cx="4317802" cy="383299"/>
          </a:xfrm>
          <a:prstGeom prst="rect">
            <a:avLst/>
          </a:prstGeom>
          <a:solidFill>
            <a:schemeClr val="accent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altLang="zh-CN" sz="1400" b="1" dirty="0">
                <a:solidFill>
                  <a:schemeClr val="bg1"/>
                </a:solidFill>
                <a:cs typeface="+mn-ea"/>
                <a:sym typeface="+mn-lt"/>
              </a:rPr>
              <a:t>2019</a:t>
            </a:r>
            <a:endParaRPr lang="zh-CN" altLang="en-US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A02F3464-436F-4AAE-B2D9-8AD21B81202A}"/>
              </a:ext>
            </a:extLst>
          </p:cNvPr>
          <p:cNvCxnSpPr/>
          <p:nvPr/>
        </p:nvCxnSpPr>
        <p:spPr>
          <a:xfrm>
            <a:off x="669925" y="2671503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矩形 8">
            <a:extLst>
              <a:ext uri="{FF2B5EF4-FFF2-40B4-BE49-F238E27FC236}">
                <a16:creationId xmlns:a16="http://schemas.microsoft.com/office/drawing/2014/main" id="{93F6E140-D944-47C1-AC04-4DFED6DDD952}"/>
              </a:ext>
            </a:extLst>
          </p:cNvPr>
          <p:cNvSpPr/>
          <p:nvPr/>
        </p:nvSpPr>
        <p:spPr bwMode="auto">
          <a:xfrm>
            <a:off x="672344" y="1507247"/>
            <a:ext cx="1239704" cy="11642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400" b="1" kern="0" dirty="0">
                <a:cs typeface="+mn-ea"/>
                <a:sym typeface="+mn-lt"/>
              </a:rPr>
              <a:t>Text Here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0" name="箭头: 五边形 9">
            <a:extLst>
              <a:ext uri="{FF2B5EF4-FFF2-40B4-BE49-F238E27FC236}">
                <a16:creationId xmlns:a16="http://schemas.microsoft.com/office/drawing/2014/main" id="{D3CCC29A-AC02-4992-BCE5-60E3CC3AE447}"/>
              </a:ext>
            </a:extLst>
          </p:cNvPr>
          <p:cNvSpPr/>
          <p:nvPr/>
        </p:nvSpPr>
        <p:spPr bwMode="auto">
          <a:xfrm>
            <a:off x="2681818" y="1660675"/>
            <a:ext cx="4417193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1" name="箭头: 五边形 10">
            <a:extLst>
              <a:ext uri="{FF2B5EF4-FFF2-40B4-BE49-F238E27FC236}">
                <a16:creationId xmlns:a16="http://schemas.microsoft.com/office/drawing/2014/main" id="{470082F5-513A-4193-9CDD-4922185DFB91}"/>
              </a:ext>
            </a:extLst>
          </p:cNvPr>
          <p:cNvSpPr/>
          <p:nvPr/>
        </p:nvSpPr>
        <p:spPr bwMode="auto">
          <a:xfrm>
            <a:off x="4621162" y="2134774"/>
            <a:ext cx="4417193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C584A59E-ACF2-46EE-B227-A33EFD6C0B4F}"/>
              </a:ext>
            </a:extLst>
          </p:cNvPr>
          <p:cNvCxnSpPr/>
          <p:nvPr/>
        </p:nvCxnSpPr>
        <p:spPr>
          <a:xfrm>
            <a:off x="669925" y="3835756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矩形 12">
            <a:extLst>
              <a:ext uri="{FF2B5EF4-FFF2-40B4-BE49-F238E27FC236}">
                <a16:creationId xmlns:a16="http://schemas.microsoft.com/office/drawing/2014/main" id="{741FE644-C3FB-4FA2-AA28-E3439F20620C}"/>
              </a:ext>
            </a:extLst>
          </p:cNvPr>
          <p:cNvSpPr/>
          <p:nvPr/>
        </p:nvSpPr>
        <p:spPr bwMode="auto">
          <a:xfrm>
            <a:off x="672344" y="2671501"/>
            <a:ext cx="1239704" cy="11642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400" b="1" kern="0" dirty="0">
                <a:cs typeface="+mn-ea"/>
                <a:sym typeface="+mn-lt"/>
              </a:rPr>
              <a:t>Text Here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4" name="箭头: 五边形 13">
            <a:extLst>
              <a:ext uri="{FF2B5EF4-FFF2-40B4-BE49-F238E27FC236}">
                <a16:creationId xmlns:a16="http://schemas.microsoft.com/office/drawing/2014/main" id="{0B374915-2E54-44DA-8872-291A3B2878D8}"/>
              </a:ext>
            </a:extLst>
          </p:cNvPr>
          <p:cNvSpPr/>
          <p:nvPr/>
        </p:nvSpPr>
        <p:spPr bwMode="auto">
          <a:xfrm>
            <a:off x="3782712" y="2824928"/>
            <a:ext cx="3966216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5" name="箭头: 五边形 14">
            <a:extLst>
              <a:ext uri="{FF2B5EF4-FFF2-40B4-BE49-F238E27FC236}">
                <a16:creationId xmlns:a16="http://schemas.microsoft.com/office/drawing/2014/main" id="{3F89C6BC-BD48-46C3-AF4B-CB33DF801EA6}"/>
              </a:ext>
            </a:extLst>
          </p:cNvPr>
          <p:cNvSpPr/>
          <p:nvPr/>
        </p:nvSpPr>
        <p:spPr bwMode="auto">
          <a:xfrm>
            <a:off x="6445860" y="3299027"/>
            <a:ext cx="3966216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D351FC7C-EA78-4713-866A-7D82794438D3}"/>
              </a:ext>
            </a:extLst>
          </p:cNvPr>
          <p:cNvCxnSpPr/>
          <p:nvPr/>
        </p:nvCxnSpPr>
        <p:spPr>
          <a:xfrm>
            <a:off x="669925" y="5000009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矩形 16">
            <a:extLst>
              <a:ext uri="{FF2B5EF4-FFF2-40B4-BE49-F238E27FC236}">
                <a16:creationId xmlns:a16="http://schemas.microsoft.com/office/drawing/2014/main" id="{094BAEF2-B7B8-45FA-A82B-7FB6E680CF28}"/>
              </a:ext>
            </a:extLst>
          </p:cNvPr>
          <p:cNvSpPr/>
          <p:nvPr/>
        </p:nvSpPr>
        <p:spPr bwMode="auto">
          <a:xfrm>
            <a:off x="672344" y="3835754"/>
            <a:ext cx="1239704" cy="11642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400" b="1" kern="0" dirty="0">
                <a:cs typeface="+mn-ea"/>
                <a:sym typeface="+mn-lt"/>
              </a:rPr>
              <a:t>Text Here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8" name="箭头: 五边形 17">
            <a:extLst>
              <a:ext uri="{FF2B5EF4-FFF2-40B4-BE49-F238E27FC236}">
                <a16:creationId xmlns:a16="http://schemas.microsoft.com/office/drawing/2014/main" id="{EEDFEDC5-31E4-4925-9876-E0C921AB0589}"/>
              </a:ext>
            </a:extLst>
          </p:cNvPr>
          <p:cNvSpPr/>
          <p:nvPr/>
        </p:nvSpPr>
        <p:spPr bwMode="auto">
          <a:xfrm>
            <a:off x="3099669" y="3989181"/>
            <a:ext cx="3133889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19" name="箭头: 五边形 18">
            <a:extLst>
              <a:ext uri="{FF2B5EF4-FFF2-40B4-BE49-F238E27FC236}">
                <a16:creationId xmlns:a16="http://schemas.microsoft.com/office/drawing/2014/main" id="{A633A5D2-F1DA-4958-B7E5-960A1D72D1CB}"/>
              </a:ext>
            </a:extLst>
          </p:cNvPr>
          <p:cNvSpPr/>
          <p:nvPr/>
        </p:nvSpPr>
        <p:spPr bwMode="auto">
          <a:xfrm>
            <a:off x="4621162" y="4463280"/>
            <a:ext cx="6475463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C0ED1C34-5014-4EE7-82C6-2021D1070F0A}"/>
              </a:ext>
            </a:extLst>
          </p:cNvPr>
          <p:cNvCxnSpPr/>
          <p:nvPr/>
        </p:nvCxnSpPr>
        <p:spPr>
          <a:xfrm>
            <a:off x="669925" y="6164262"/>
            <a:ext cx="1085056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矩形 20">
            <a:extLst>
              <a:ext uri="{FF2B5EF4-FFF2-40B4-BE49-F238E27FC236}">
                <a16:creationId xmlns:a16="http://schemas.microsoft.com/office/drawing/2014/main" id="{EFD2037B-3FE2-420C-9229-333956C54B52}"/>
              </a:ext>
            </a:extLst>
          </p:cNvPr>
          <p:cNvSpPr/>
          <p:nvPr/>
        </p:nvSpPr>
        <p:spPr bwMode="auto">
          <a:xfrm>
            <a:off x="672344" y="5000007"/>
            <a:ext cx="1239704" cy="11642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400" b="1" kern="0" dirty="0">
                <a:cs typeface="+mn-ea"/>
                <a:sym typeface="+mn-lt"/>
              </a:rPr>
              <a:t>Text Here</a:t>
            </a:r>
            <a:endParaRPr kumimoji="0" lang="zh-CN" altLang="en-US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2" name="箭头: 五边形 21">
            <a:extLst>
              <a:ext uri="{FF2B5EF4-FFF2-40B4-BE49-F238E27FC236}">
                <a16:creationId xmlns:a16="http://schemas.microsoft.com/office/drawing/2014/main" id="{C19B9FEA-1EC3-4ED9-8747-9E4B1D08DDBC}"/>
              </a:ext>
            </a:extLst>
          </p:cNvPr>
          <p:cNvSpPr/>
          <p:nvPr/>
        </p:nvSpPr>
        <p:spPr bwMode="auto">
          <a:xfrm>
            <a:off x="4840719" y="5153434"/>
            <a:ext cx="3482099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23" name="箭头: 五边形 22">
            <a:extLst>
              <a:ext uri="{FF2B5EF4-FFF2-40B4-BE49-F238E27FC236}">
                <a16:creationId xmlns:a16="http://schemas.microsoft.com/office/drawing/2014/main" id="{743DD7B8-A300-41C2-88E2-E7254A39CB67}"/>
              </a:ext>
            </a:extLst>
          </p:cNvPr>
          <p:cNvSpPr/>
          <p:nvPr/>
        </p:nvSpPr>
        <p:spPr bwMode="auto">
          <a:xfrm>
            <a:off x="6094272" y="5627533"/>
            <a:ext cx="5425384" cy="383299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lvl="0" algn="ctr" defTabSz="914400">
              <a:defRPr/>
            </a:pPr>
            <a:r>
              <a:rPr lang="en-US" altLang="zh-CN" sz="1100" kern="0" dirty="0">
                <a:cs typeface="+mn-ea"/>
                <a:sym typeface="+mn-lt"/>
              </a:rPr>
              <a:t>Supporting text here</a:t>
            </a:r>
          </a:p>
        </p:txBody>
      </p:sp>
    </p:spTree>
    <p:extLst>
      <p:ext uri="{BB962C8B-B14F-4D97-AF65-F5344CB8AC3E}">
        <p14:creationId xmlns:p14="http://schemas.microsoft.com/office/powerpoint/2010/main" val="33006867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7" name="组合 66"/>
          <p:cNvGrpSpPr/>
          <p:nvPr/>
        </p:nvGrpSpPr>
        <p:grpSpPr>
          <a:xfrm>
            <a:off x="1047976" y="1996877"/>
            <a:ext cx="5427623" cy="3415526"/>
            <a:chOff x="1161641" y="1610835"/>
            <a:chExt cx="6502124" cy="4091694"/>
          </a:xfrm>
          <a:solidFill>
            <a:schemeClr val="bg1">
              <a:lumMod val="85000"/>
            </a:schemeClr>
          </a:solidFill>
        </p:grpSpPr>
        <p:sp>
          <p:nvSpPr>
            <p:cNvPr id="97" name="任意多边形: 形状 96"/>
            <p:cNvSpPr/>
            <p:nvPr/>
          </p:nvSpPr>
          <p:spPr>
            <a:xfrm rot="1582721">
              <a:off x="5618765" y="1610835"/>
              <a:ext cx="2045000" cy="3067492"/>
            </a:xfrm>
            <a:custGeom>
              <a:avLst/>
              <a:gdLst/>
              <a:ahLst/>
              <a:cxnLst/>
              <a:rect l="l" t="t" r="r" b="b"/>
              <a:pathLst>
                <a:path w="130629" h="195943">
                  <a:moveTo>
                    <a:pt x="65315" y="36739"/>
                  </a:moveTo>
                  <a:cubicBezTo>
                    <a:pt x="69567" y="36739"/>
                    <a:pt x="73798" y="37419"/>
                    <a:pt x="78007" y="38780"/>
                  </a:cubicBezTo>
                  <a:cubicBezTo>
                    <a:pt x="82217" y="40141"/>
                    <a:pt x="85917" y="42437"/>
                    <a:pt x="89106" y="45669"/>
                  </a:cubicBezTo>
                  <a:cubicBezTo>
                    <a:pt x="92295" y="48901"/>
                    <a:pt x="93890" y="52728"/>
                    <a:pt x="93890" y="57150"/>
                  </a:cubicBezTo>
                  <a:cubicBezTo>
                    <a:pt x="93890" y="58255"/>
                    <a:pt x="93486" y="59212"/>
                    <a:pt x="92678" y="60020"/>
                  </a:cubicBezTo>
                  <a:cubicBezTo>
                    <a:pt x="91870" y="60828"/>
                    <a:pt x="90913" y="61232"/>
                    <a:pt x="89807" y="61232"/>
                  </a:cubicBezTo>
                  <a:cubicBezTo>
                    <a:pt x="88702" y="61232"/>
                    <a:pt x="87745" y="60828"/>
                    <a:pt x="86937" y="60020"/>
                  </a:cubicBezTo>
                  <a:cubicBezTo>
                    <a:pt x="86129" y="59212"/>
                    <a:pt x="85725" y="58255"/>
                    <a:pt x="85725" y="57150"/>
                  </a:cubicBezTo>
                  <a:cubicBezTo>
                    <a:pt x="85725" y="53238"/>
                    <a:pt x="83429" y="50219"/>
                    <a:pt x="78837" y="48093"/>
                  </a:cubicBezTo>
                  <a:cubicBezTo>
                    <a:pt x="74244" y="45966"/>
                    <a:pt x="69737" y="44903"/>
                    <a:pt x="65315" y="44903"/>
                  </a:cubicBezTo>
                  <a:cubicBezTo>
                    <a:pt x="64209" y="44903"/>
                    <a:pt x="63252" y="44499"/>
                    <a:pt x="62444" y="43692"/>
                  </a:cubicBezTo>
                  <a:cubicBezTo>
                    <a:pt x="61636" y="42884"/>
                    <a:pt x="61232" y="41927"/>
                    <a:pt x="61232" y="40821"/>
                  </a:cubicBezTo>
                  <a:cubicBezTo>
                    <a:pt x="61232" y="39716"/>
                    <a:pt x="61636" y="38759"/>
                    <a:pt x="62444" y="37951"/>
                  </a:cubicBezTo>
                  <a:cubicBezTo>
                    <a:pt x="63252" y="37143"/>
                    <a:pt x="64209" y="36739"/>
                    <a:pt x="65315" y="36739"/>
                  </a:cubicBezTo>
                  <a:close/>
                  <a:moveTo>
                    <a:pt x="65315" y="16328"/>
                  </a:moveTo>
                  <a:cubicBezTo>
                    <a:pt x="59446" y="16328"/>
                    <a:pt x="53642" y="17285"/>
                    <a:pt x="47902" y="19199"/>
                  </a:cubicBezTo>
                  <a:cubicBezTo>
                    <a:pt x="42161" y="21112"/>
                    <a:pt x="36931" y="23749"/>
                    <a:pt x="32211" y="27108"/>
                  </a:cubicBezTo>
                  <a:cubicBezTo>
                    <a:pt x="27491" y="30467"/>
                    <a:pt x="23664" y="34783"/>
                    <a:pt x="20730" y="40056"/>
                  </a:cubicBezTo>
                  <a:cubicBezTo>
                    <a:pt x="17796" y="45329"/>
                    <a:pt x="16329" y="51027"/>
                    <a:pt x="16329" y="57150"/>
                  </a:cubicBezTo>
                  <a:cubicBezTo>
                    <a:pt x="16329" y="65739"/>
                    <a:pt x="19220" y="73393"/>
                    <a:pt x="25003" y="80112"/>
                  </a:cubicBezTo>
                  <a:cubicBezTo>
                    <a:pt x="25854" y="81047"/>
                    <a:pt x="27151" y="82451"/>
                    <a:pt x="28894" y="84322"/>
                  </a:cubicBezTo>
                  <a:cubicBezTo>
                    <a:pt x="30638" y="86193"/>
                    <a:pt x="31935" y="87596"/>
                    <a:pt x="32785" y="88531"/>
                  </a:cubicBezTo>
                  <a:cubicBezTo>
                    <a:pt x="43671" y="101543"/>
                    <a:pt x="49666" y="114215"/>
                    <a:pt x="50772" y="126546"/>
                  </a:cubicBezTo>
                  <a:lnTo>
                    <a:pt x="79857" y="126546"/>
                  </a:lnTo>
                  <a:cubicBezTo>
                    <a:pt x="80963" y="114215"/>
                    <a:pt x="86958" y="101543"/>
                    <a:pt x="97844" y="88531"/>
                  </a:cubicBezTo>
                  <a:cubicBezTo>
                    <a:pt x="98695" y="87596"/>
                    <a:pt x="99991" y="86193"/>
                    <a:pt x="101735" y="84322"/>
                  </a:cubicBezTo>
                  <a:cubicBezTo>
                    <a:pt x="103478" y="82451"/>
                    <a:pt x="104775" y="81047"/>
                    <a:pt x="105626" y="80112"/>
                  </a:cubicBezTo>
                  <a:cubicBezTo>
                    <a:pt x="111409" y="73393"/>
                    <a:pt x="114300" y="65739"/>
                    <a:pt x="114300" y="57150"/>
                  </a:cubicBezTo>
                  <a:cubicBezTo>
                    <a:pt x="114300" y="51027"/>
                    <a:pt x="112833" y="45329"/>
                    <a:pt x="109899" y="40056"/>
                  </a:cubicBezTo>
                  <a:cubicBezTo>
                    <a:pt x="106965" y="34783"/>
                    <a:pt x="103138" y="30467"/>
                    <a:pt x="98418" y="27108"/>
                  </a:cubicBezTo>
                  <a:cubicBezTo>
                    <a:pt x="93698" y="23749"/>
                    <a:pt x="88468" y="21112"/>
                    <a:pt x="82727" y="19199"/>
                  </a:cubicBezTo>
                  <a:cubicBezTo>
                    <a:pt x="76987" y="17285"/>
                    <a:pt x="71183" y="16328"/>
                    <a:pt x="65315" y="16328"/>
                  </a:cubicBezTo>
                  <a:close/>
                  <a:moveTo>
                    <a:pt x="65315" y="0"/>
                  </a:moveTo>
                  <a:cubicBezTo>
                    <a:pt x="73394" y="0"/>
                    <a:pt x="81324" y="1382"/>
                    <a:pt x="89106" y="4146"/>
                  </a:cubicBezTo>
                  <a:cubicBezTo>
                    <a:pt x="96887" y="6910"/>
                    <a:pt x="103861" y="10694"/>
                    <a:pt x="110027" y="15499"/>
                  </a:cubicBezTo>
                  <a:cubicBezTo>
                    <a:pt x="116192" y="20304"/>
                    <a:pt x="121168" y="26342"/>
                    <a:pt x="124952" y="33614"/>
                  </a:cubicBezTo>
                  <a:cubicBezTo>
                    <a:pt x="128737" y="40885"/>
                    <a:pt x="130629" y="48730"/>
                    <a:pt x="130629" y="57150"/>
                  </a:cubicBezTo>
                  <a:cubicBezTo>
                    <a:pt x="130629" y="70332"/>
                    <a:pt x="126249" y="81728"/>
                    <a:pt x="117489" y="91338"/>
                  </a:cubicBezTo>
                  <a:cubicBezTo>
                    <a:pt x="113662" y="95505"/>
                    <a:pt x="110495" y="99204"/>
                    <a:pt x="107986" y="102436"/>
                  </a:cubicBezTo>
                  <a:cubicBezTo>
                    <a:pt x="105477" y="105668"/>
                    <a:pt x="102947" y="109729"/>
                    <a:pt x="100395" y="114619"/>
                  </a:cubicBezTo>
                  <a:cubicBezTo>
                    <a:pt x="97844" y="119509"/>
                    <a:pt x="96398" y="124080"/>
                    <a:pt x="96058" y="128332"/>
                  </a:cubicBezTo>
                  <a:cubicBezTo>
                    <a:pt x="100055" y="130713"/>
                    <a:pt x="102054" y="134200"/>
                    <a:pt x="102054" y="138793"/>
                  </a:cubicBezTo>
                  <a:cubicBezTo>
                    <a:pt x="102054" y="141939"/>
                    <a:pt x="100991" y="144661"/>
                    <a:pt x="98865" y="146957"/>
                  </a:cubicBezTo>
                  <a:cubicBezTo>
                    <a:pt x="100991" y="149253"/>
                    <a:pt x="102054" y="151975"/>
                    <a:pt x="102054" y="155121"/>
                  </a:cubicBezTo>
                  <a:cubicBezTo>
                    <a:pt x="102054" y="159544"/>
                    <a:pt x="100140" y="162988"/>
                    <a:pt x="96313" y="165454"/>
                  </a:cubicBezTo>
                  <a:cubicBezTo>
                    <a:pt x="97419" y="167410"/>
                    <a:pt x="97972" y="169409"/>
                    <a:pt x="97972" y="171450"/>
                  </a:cubicBezTo>
                  <a:cubicBezTo>
                    <a:pt x="97972" y="175362"/>
                    <a:pt x="96632" y="178381"/>
                    <a:pt x="93953" y="180507"/>
                  </a:cubicBezTo>
                  <a:cubicBezTo>
                    <a:pt x="91274" y="182633"/>
                    <a:pt x="87979" y="183696"/>
                    <a:pt x="84067" y="183696"/>
                  </a:cubicBezTo>
                  <a:cubicBezTo>
                    <a:pt x="82366" y="187438"/>
                    <a:pt x="79815" y="190415"/>
                    <a:pt x="76413" y="192626"/>
                  </a:cubicBezTo>
                  <a:cubicBezTo>
                    <a:pt x="73011" y="194837"/>
                    <a:pt x="69312" y="195943"/>
                    <a:pt x="65315" y="195943"/>
                  </a:cubicBezTo>
                  <a:cubicBezTo>
                    <a:pt x="61317" y="195943"/>
                    <a:pt x="57618" y="194837"/>
                    <a:pt x="54216" y="192626"/>
                  </a:cubicBezTo>
                  <a:cubicBezTo>
                    <a:pt x="50814" y="190415"/>
                    <a:pt x="48263" y="187438"/>
                    <a:pt x="46562" y="183696"/>
                  </a:cubicBezTo>
                  <a:cubicBezTo>
                    <a:pt x="42650" y="183696"/>
                    <a:pt x="39355" y="182633"/>
                    <a:pt x="36676" y="180507"/>
                  </a:cubicBezTo>
                  <a:cubicBezTo>
                    <a:pt x="33997" y="178381"/>
                    <a:pt x="32657" y="175362"/>
                    <a:pt x="32657" y="171450"/>
                  </a:cubicBezTo>
                  <a:cubicBezTo>
                    <a:pt x="32657" y="169409"/>
                    <a:pt x="33210" y="167410"/>
                    <a:pt x="34316" y="165454"/>
                  </a:cubicBezTo>
                  <a:cubicBezTo>
                    <a:pt x="30489" y="162988"/>
                    <a:pt x="28575" y="159544"/>
                    <a:pt x="28575" y="155121"/>
                  </a:cubicBezTo>
                  <a:cubicBezTo>
                    <a:pt x="28575" y="151975"/>
                    <a:pt x="29638" y="149253"/>
                    <a:pt x="31764" y="146957"/>
                  </a:cubicBezTo>
                  <a:cubicBezTo>
                    <a:pt x="29638" y="144661"/>
                    <a:pt x="28575" y="141939"/>
                    <a:pt x="28575" y="138793"/>
                  </a:cubicBezTo>
                  <a:cubicBezTo>
                    <a:pt x="28575" y="134200"/>
                    <a:pt x="30574" y="130713"/>
                    <a:pt x="34571" y="128332"/>
                  </a:cubicBezTo>
                  <a:cubicBezTo>
                    <a:pt x="34231" y="124080"/>
                    <a:pt x="32785" y="119509"/>
                    <a:pt x="30234" y="114619"/>
                  </a:cubicBezTo>
                  <a:cubicBezTo>
                    <a:pt x="27682" y="109729"/>
                    <a:pt x="25152" y="105668"/>
                    <a:pt x="22643" y="102436"/>
                  </a:cubicBezTo>
                  <a:cubicBezTo>
                    <a:pt x="20135" y="99204"/>
                    <a:pt x="16967" y="95505"/>
                    <a:pt x="13140" y="91338"/>
                  </a:cubicBezTo>
                  <a:cubicBezTo>
                    <a:pt x="4380" y="81728"/>
                    <a:pt x="0" y="70332"/>
                    <a:pt x="0" y="57150"/>
                  </a:cubicBezTo>
                  <a:cubicBezTo>
                    <a:pt x="0" y="48730"/>
                    <a:pt x="1892" y="40885"/>
                    <a:pt x="5677" y="33614"/>
                  </a:cubicBezTo>
                  <a:cubicBezTo>
                    <a:pt x="9461" y="26342"/>
                    <a:pt x="14437" y="20304"/>
                    <a:pt x="20602" y="15499"/>
                  </a:cubicBezTo>
                  <a:cubicBezTo>
                    <a:pt x="26768" y="10694"/>
                    <a:pt x="33742" y="6910"/>
                    <a:pt x="41523" y="4146"/>
                  </a:cubicBezTo>
                  <a:cubicBezTo>
                    <a:pt x="49305" y="1382"/>
                    <a:pt x="57235" y="0"/>
                    <a:pt x="65315" y="0"/>
                  </a:cubicBezTo>
                  <a:close/>
                </a:path>
              </a:pathLst>
            </a:custGeom>
            <a:grpFill/>
            <a:ln w="57150"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任意多边形: 形状 97"/>
            <p:cNvSpPr/>
            <p:nvPr/>
          </p:nvSpPr>
          <p:spPr bwMode="auto">
            <a:xfrm>
              <a:off x="1161641" y="4477423"/>
              <a:ext cx="4886699" cy="1225106"/>
            </a:xfrm>
            <a:custGeom>
              <a:avLst/>
              <a:gdLst>
                <a:gd name="T0" fmla="*/ 229 w 695"/>
                <a:gd name="T1" fmla="*/ 157 h 174"/>
                <a:gd name="T2" fmla="*/ 338 w 695"/>
                <a:gd name="T3" fmla="*/ 173 h 174"/>
                <a:gd name="T4" fmla="*/ 395 w 695"/>
                <a:gd name="T5" fmla="*/ 157 h 174"/>
                <a:gd name="T6" fmla="*/ 273 w 695"/>
                <a:gd name="T7" fmla="*/ 86 h 174"/>
                <a:gd name="T8" fmla="*/ 273 w 695"/>
                <a:gd name="T9" fmla="*/ 72 h 174"/>
                <a:gd name="T10" fmla="*/ 355 w 695"/>
                <a:gd name="T11" fmla="*/ 82 h 174"/>
                <a:gd name="T12" fmla="*/ 493 w 695"/>
                <a:gd name="T13" fmla="*/ 99 h 174"/>
                <a:gd name="T14" fmla="*/ 563 w 695"/>
                <a:gd name="T15" fmla="*/ 86 h 174"/>
                <a:gd name="T16" fmla="*/ 534 w 695"/>
                <a:gd name="T17" fmla="*/ 47 h 174"/>
                <a:gd name="T18" fmla="*/ 569 w 695"/>
                <a:gd name="T19" fmla="*/ 32 h 174"/>
                <a:gd name="T20" fmla="*/ 656 w 695"/>
                <a:gd name="T21" fmla="*/ 39 h 174"/>
                <a:gd name="T22" fmla="*/ 653 w 695"/>
                <a:gd name="T23" fmla="*/ 8 h 174"/>
                <a:gd name="T24" fmla="*/ 656 w 695"/>
                <a:gd name="T25" fmla="*/ 4 h 174"/>
                <a:gd name="T26" fmla="*/ 677 w 695"/>
                <a:gd name="T27" fmla="*/ 3 h 174"/>
                <a:gd name="T28" fmla="*/ 689 w 695"/>
                <a:gd name="T29" fmla="*/ 2 h 174"/>
                <a:gd name="T30" fmla="*/ 656 w 695"/>
                <a:gd name="T31" fmla="*/ 1 h 174"/>
                <a:gd name="T32" fmla="*/ 645 w 695"/>
                <a:gd name="T33" fmla="*/ 8 h 174"/>
                <a:gd name="T34" fmla="*/ 652 w 695"/>
                <a:gd name="T35" fmla="*/ 28 h 174"/>
                <a:gd name="T36" fmla="*/ 633 w 695"/>
                <a:gd name="T37" fmla="*/ 32 h 174"/>
                <a:gd name="T38" fmla="*/ 631 w 695"/>
                <a:gd name="T39" fmla="*/ 31 h 174"/>
                <a:gd name="T40" fmla="*/ 623 w 695"/>
                <a:gd name="T41" fmla="*/ 29 h 174"/>
                <a:gd name="T42" fmla="*/ 588 w 695"/>
                <a:gd name="T43" fmla="*/ 27 h 174"/>
                <a:gd name="T44" fmla="*/ 573 w 695"/>
                <a:gd name="T45" fmla="*/ 24 h 174"/>
                <a:gd name="T46" fmla="*/ 562 w 695"/>
                <a:gd name="T47" fmla="*/ 22 h 174"/>
                <a:gd name="T48" fmla="*/ 532 w 695"/>
                <a:gd name="T49" fmla="*/ 21 h 174"/>
                <a:gd name="T50" fmla="*/ 498 w 695"/>
                <a:gd name="T51" fmla="*/ 36 h 174"/>
                <a:gd name="T52" fmla="*/ 500 w 695"/>
                <a:gd name="T53" fmla="*/ 43 h 174"/>
                <a:gd name="T54" fmla="*/ 516 w 695"/>
                <a:gd name="T55" fmla="*/ 47 h 174"/>
                <a:gd name="T56" fmla="*/ 509 w 695"/>
                <a:gd name="T57" fmla="*/ 51 h 174"/>
                <a:gd name="T58" fmla="*/ 529 w 695"/>
                <a:gd name="T59" fmla="*/ 74 h 174"/>
                <a:gd name="T60" fmla="*/ 535 w 695"/>
                <a:gd name="T61" fmla="*/ 83 h 174"/>
                <a:gd name="T62" fmla="*/ 515 w 695"/>
                <a:gd name="T63" fmla="*/ 91 h 174"/>
                <a:gd name="T64" fmla="*/ 466 w 695"/>
                <a:gd name="T65" fmla="*/ 86 h 174"/>
                <a:gd name="T66" fmla="*/ 444 w 695"/>
                <a:gd name="T67" fmla="*/ 84 h 174"/>
                <a:gd name="T68" fmla="*/ 435 w 695"/>
                <a:gd name="T69" fmla="*/ 82 h 174"/>
                <a:gd name="T70" fmla="*/ 418 w 695"/>
                <a:gd name="T71" fmla="*/ 82 h 174"/>
                <a:gd name="T72" fmla="*/ 383 w 695"/>
                <a:gd name="T73" fmla="*/ 77 h 174"/>
                <a:gd name="T74" fmla="*/ 346 w 695"/>
                <a:gd name="T75" fmla="*/ 71 h 174"/>
                <a:gd name="T76" fmla="*/ 307 w 695"/>
                <a:gd name="T77" fmla="*/ 68 h 174"/>
                <a:gd name="T78" fmla="*/ 240 w 695"/>
                <a:gd name="T79" fmla="*/ 69 h 174"/>
                <a:gd name="T80" fmla="*/ 241 w 695"/>
                <a:gd name="T81" fmla="*/ 78 h 174"/>
                <a:gd name="T82" fmla="*/ 247 w 695"/>
                <a:gd name="T83" fmla="*/ 84 h 174"/>
                <a:gd name="T84" fmla="*/ 245 w 695"/>
                <a:gd name="T85" fmla="*/ 86 h 174"/>
                <a:gd name="T86" fmla="*/ 269 w 695"/>
                <a:gd name="T87" fmla="*/ 98 h 174"/>
                <a:gd name="T88" fmla="*/ 293 w 695"/>
                <a:gd name="T89" fmla="*/ 111 h 174"/>
                <a:gd name="T90" fmla="*/ 308 w 695"/>
                <a:gd name="T91" fmla="*/ 118 h 174"/>
                <a:gd name="T92" fmla="*/ 332 w 695"/>
                <a:gd name="T93" fmla="*/ 128 h 174"/>
                <a:gd name="T94" fmla="*/ 352 w 695"/>
                <a:gd name="T95" fmla="*/ 144 h 174"/>
                <a:gd name="T96" fmla="*/ 371 w 695"/>
                <a:gd name="T97" fmla="*/ 156 h 174"/>
                <a:gd name="T98" fmla="*/ 370 w 695"/>
                <a:gd name="T99" fmla="*/ 167 h 174"/>
                <a:gd name="T100" fmla="*/ 281 w 695"/>
                <a:gd name="T101" fmla="*/ 157 h 174"/>
                <a:gd name="T102" fmla="*/ 249 w 695"/>
                <a:gd name="T103" fmla="*/ 152 h 174"/>
                <a:gd name="T104" fmla="*/ 160 w 695"/>
                <a:gd name="T105" fmla="*/ 140 h 174"/>
                <a:gd name="T106" fmla="*/ 79 w 695"/>
                <a:gd name="T107" fmla="*/ 123 h 174"/>
                <a:gd name="T108" fmla="*/ 656 w 695"/>
                <a:gd name="T109" fmla="*/ 33 h 174"/>
                <a:gd name="T110" fmla="*/ 648 w 695"/>
                <a:gd name="T111" fmla="*/ 5 h 174"/>
                <a:gd name="T112" fmla="*/ 655 w 695"/>
                <a:gd name="T113" fmla="*/ 33 h 174"/>
                <a:gd name="T114" fmla="*/ 648 w 695"/>
                <a:gd name="T115" fmla="*/ 37 h 174"/>
                <a:gd name="T116" fmla="*/ 535 w 695"/>
                <a:gd name="T117" fmla="*/ 92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95" h="174">
                  <a:moveTo>
                    <a:pt x="78" y="130"/>
                  </a:moveTo>
                  <a:cubicBezTo>
                    <a:pt x="88" y="132"/>
                    <a:pt x="101" y="134"/>
                    <a:pt x="109" y="136"/>
                  </a:cubicBezTo>
                  <a:cubicBezTo>
                    <a:pt x="147" y="143"/>
                    <a:pt x="179" y="151"/>
                    <a:pt x="220" y="157"/>
                  </a:cubicBezTo>
                  <a:cubicBezTo>
                    <a:pt x="219" y="157"/>
                    <a:pt x="222" y="157"/>
                    <a:pt x="225" y="157"/>
                  </a:cubicBezTo>
                  <a:cubicBezTo>
                    <a:pt x="224" y="157"/>
                    <a:pt x="224" y="157"/>
                    <a:pt x="224" y="157"/>
                  </a:cubicBezTo>
                  <a:cubicBezTo>
                    <a:pt x="229" y="157"/>
                    <a:pt x="229" y="157"/>
                    <a:pt x="229" y="157"/>
                  </a:cubicBezTo>
                  <a:cubicBezTo>
                    <a:pt x="232" y="157"/>
                    <a:pt x="229" y="158"/>
                    <a:pt x="226" y="158"/>
                  </a:cubicBezTo>
                  <a:cubicBezTo>
                    <a:pt x="242" y="160"/>
                    <a:pt x="257" y="162"/>
                    <a:pt x="272" y="165"/>
                  </a:cubicBezTo>
                  <a:cubicBezTo>
                    <a:pt x="275" y="164"/>
                    <a:pt x="280" y="166"/>
                    <a:pt x="283" y="165"/>
                  </a:cubicBezTo>
                  <a:cubicBezTo>
                    <a:pt x="283" y="166"/>
                    <a:pt x="283" y="166"/>
                    <a:pt x="282" y="166"/>
                  </a:cubicBezTo>
                  <a:cubicBezTo>
                    <a:pt x="294" y="167"/>
                    <a:pt x="295" y="167"/>
                    <a:pt x="303" y="169"/>
                  </a:cubicBezTo>
                  <a:cubicBezTo>
                    <a:pt x="314" y="171"/>
                    <a:pt x="325" y="172"/>
                    <a:pt x="338" y="173"/>
                  </a:cubicBezTo>
                  <a:cubicBezTo>
                    <a:pt x="346" y="174"/>
                    <a:pt x="351" y="174"/>
                    <a:pt x="366" y="173"/>
                  </a:cubicBezTo>
                  <a:cubicBezTo>
                    <a:pt x="367" y="173"/>
                    <a:pt x="372" y="173"/>
                    <a:pt x="375" y="172"/>
                  </a:cubicBezTo>
                  <a:cubicBezTo>
                    <a:pt x="379" y="171"/>
                    <a:pt x="379" y="171"/>
                    <a:pt x="379" y="171"/>
                  </a:cubicBezTo>
                  <a:cubicBezTo>
                    <a:pt x="396" y="166"/>
                    <a:pt x="387" y="169"/>
                    <a:pt x="391" y="167"/>
                  </a:cubicBezTo>
                  <a:cubicBezTo>
                    <a:pt x="398" y="163"/>
                    <a:pt x="396" y="163"/>
                    <a:pt x="397" y="161"/>
                  </a:cubicBezTo>
                  <a:cubicBezTo>
                    <a:pt x="397" y="160"/>
                    <a:pt x="396" y="158"/>
                    <a:pt x="395" y="157"/>
                  </a:cubicBezTo>
                  <a:cubicBezTo>
                    <a:pt x="389" y="149"/>
                    <a:pt x="378" y="143"/>
                    <a:pt x="368" y="136"/>
                  </a:cubicBezTo>
                  <a:cubicBezTo>
                    <a:pt x="347" y="123"/>
                    <a:pt x="322" y="111"/>
                    <a:pt x="300" y="97"/>
                  </a:cubicBezTo>
                  <a:cubicBezTo>
                    <a:pt x="292" y="96"/>
                    <a:pt x="289" y="93"/>
                    <a:pt x="282" y="92"/>
                  </a:cubicBezTo>
                  <a:cubicBezTo>
                    <a:pt x="283" y="91"/>
                    <a:pt x="283" y="91"/>
                    <a:pt x="283" y="91"/>
                  </a:cubicBezTo>
                  <a:cubicBezTo>
                    <a:pt x="278" y="90"/>
                    <a:pt x="279" y="89"/>
                    <a:pt x="277" y="86"/>
                  </a:cubicBezTo>
                  <a:cubicBezTo>
                    <a:pt x="276" y="86"/>
                    <a:pt x="275" y="85"/>
                    <a:pt x="273" y="86"/>
                  </a:cubicBezTo>
                  <a:cubicBezTo>
                    <a:pt x="270" y="85"/>
                    <a:pt x="274" y="83"/>
                    <a:pt x="271" y="82"/>
                  </a:cubicBezTo>
                  <a:cubicBezTo>
                    <a:pt x="272" y="82"/>
                    <a:pt x="270" y="83"/>
                    <a:pt x="270" y="82"/>
                  </a:cubicBezTo>
                  <a:cubicBezTo>
                    <a:pt x="262" y="79"/>
                    <a:pt x="272" y="82"/>
                    <a:pt x="269" y="77"/>
                  </a:cubicBezTo>
                  <a:cubicBezTo>
                    <a:pt x="267" y="76"/>
                    <a:pt x="264" y="74"/>
                    <a:pt x="262" y="72"/>
                  </a:cubicBezTo>
                  <a:cubicBezTo>
                    <a:pt x="265" y="72"/>
                    <a:pt x="269" y="72"/>
                    <a:pt x="272" y="73"/>
                  </a:cubicBezTo>
                  <a:cubicBezTo>
                    <a:pt x="270" y="73"/>
                    <a:pt x="271" y="72"/>
                    <a:pt x="273" y="72"/>
                  </a:cubicBezTo>
                  <a:cubicBezTo>
                    <a:pt x="273" y="74"/>
                    <a:pt x="281" y="72"/>
                    <a:pt x="284" y="73"/>
                  </a:cubicBezTo>
                  <a:cubicBezTo>
                    <a:pt x="283" y="73"/>
                    <a:pt x="281" y="73"/>
                    <a:pt x="280" y="73"/>
                  </a:cubicBezTo>
                  <a:cubicBezTo>
                    <a:pt x="288" y="75"/>
                    <a:pt x="297" y="75"/>
                    <a:pt x="304" y="76"/>
                  </a:cubicBezTo>
                  <a:cubicBezTo>
                    <a:pt x="314" y="76"/>
                    <a:pt x="320" y="79"/>
                    <a:pt x="327" y="78"/>
                  </a:cubicBezTo>
                  <a:cubicBezTo>
                    <a:pt x="325" y="79"/>
                    <a:pt x="330" y="79"/>
                    <a:pt x="331" y="80"/>
                  </a:cubicBezTo>
                  <a:cubicBezTo>
                    <a:pt x="341" y="79"/>
                    <a:pt x="345" y="82"/>
                    <a:pt x="355" y="82"/>
                  </a:cubicBezTo>
                  <a:cubicBezTo>
                    <a:pt x="354" y="82"/>
                    <a:pt x="354" y="82"/>
                    <a:pt x="354" y="82"/>
                  </a:cubicBezTo>
                  <a:cubicBezTo>
                    <a:pt x="376" y="85"/>
                    <a:pt x="398" y="88"/>
                    <a:pt x="422" y="90"/>
                  </a:cubicBezTo>
                  <a:cubicBezTo>
                    <a:pt x="436" y="92"/>
                    <a:pt x="446" y="95"/>
                    <a:pt x="463" y="96"/>
                  </a:cubicBezTo>
                  <a:cubicBezTo>
                    <a:pt x="466" y="96"/>
                    <a:pt x="464" y="96"/>
                    <a:pt x="467" y="96"/>
                  </a:cubicBezTo>
                  <a:cubicBezTo>
                    <a:pt x="470" y="96"/>
                    <a:pt x="466" y="96"/>
                    <a:pt x="467" y="96"/>
                  </a:cubicBezTo>
                  <a:cubicBezTo>
                    <a:pt x="475" y="97"/>
                    <a:pt x="483" y="98"/>
                    <a:pt x="493" y="99"/>
                  </a:cubicBezTo>
                  <a:cubicBezTo>
                    <a:pt x="494" y="99"/>
                    <a:pt x="497" y="99"/>
                    <a:pt x="497" y="99"/>
                  </a:cubicBezTo>
                  <a:cubicBezTo>
                    <a:pt x="501" y="100"/>
                    <a:pt x="508" y="100"/>
                    <a:pt x="516" y="100"/>
                  </a:cubicBezTo>
                  <a:cubicBezTo>
                    <a:pt x="520" y="100"/>
                    <a:pt x="524" y="100"/>
                    <a:pt x="530" y="100"/>
                  </a:cubicBezTo>
                  <a:cubicBezTo>
                    <a:pt x="534" y="101"/>
                    <a:pt x="558" y="94"/>
                    <a:pt x="557" y="93"/>
                  </a:cubicBezTo>
                  <a:cubicBezTo>
                    <a:pt x="549" y="96"/>
                    <a:pt x="562" y="89"/>
                    <a:pt x="560" y="87"/>
                  </a:cubicBezTo>
                  <a:cubicBezTo>
                    <a:pt x="561" y="86"/>
                    <a:pt x="562" y="86"/>
                    <a:pt x="563" y="86"/>
                  </a:cubicBezTo>
                  <a:cubicBezTo>
                    <a:pt x="564" y="83"/>
                    <a:pt x="563" y="81"/>
                    <a:pt x="563" y="77"/>
                  </a:cubicBezTo>
                  <a:cubicBezTo>
                    <a:pt x="562" y="76"/>
                    <a:pt x="559" y="76"/>
                    <a:pt x="559" y="74"/>
                  </a:cubicBezTo>
                  <a:cubicBezTo>
                    <a:pt x="561" y="72"/>
                    <a:pt x="557" y="70"/>
                    <a:pt x="557" y="68"/>
                  </a:cubicBezTo>
                  <a:cubicBezTo>
                    <a:pt x="554" y="69"/>
                    <a:pt x="551" y="68"/>
                    <a:pt x="550" y="66"/>
                  </a:cubicBezTo>
                  <a:cubicBezTo>
                    <a:pt x="554" y="65"/>
                    <a:pt x="554" y="65"/>
                    <a:pt x="554" y="65"/>
                  </a:cubicBezTo>
                  <a:cubicBezTo>
                    <a:pt x="548" y="61"/>
                    <a:pt x="545" y="52"/>
                    <a:pt x="534" y="47"/>
                  </a:cubicBezTo>
                  <a:cubicBezTo>
                    <a:pt x="536" y="46"/>
                    <a:pt x="536" y="46"/>
                    <a:pt x="536" y="46"/>
                  </a:cubicBezTo>
                  <a:cubicBezTo>
                    <a:pt x="528" y="41"/>
                    <a:pt x="524" y="34"/>
                    <a:pt x="521" y="29"/>
                  </a:cubicBezTo>
                  <a:cubicBezTo>
                    <a:pt x="521" y="29"/>
                    <a:pt x="520" y="30"/>
                    <a:pt x="527" y="30"/>
                  </a:cubicBezTo>
                  <a:cubicBezTo>
                    <a:pt x="534" y="29"/>
                    <a:pt x="537" y="29"/>
                    <a:pt x="543" y="29"/>
                  </a:cubicBezTo>
                  <a:cubicBezTo>
                    <a:pt x="546" y="29"/>
                    <a:pt x="546" y="30"/>
                    <a:pt x="547" y="30"/>
                  </a:cubicBezTo>
                  <a:cubicBezTo>
                    <a:pt x="555" y="31"/>
                    <a:pt x="560" y="33"/>
                    <a:pt x="569" y="32"/>
                  </a:cubicBezTo>
                  <a:cubicBezTo>
                    <a:pt x="568" y="33"/>
                    <a:pt x="568" y="33"/>
                    <a:pt x="568" y="33"/>
                  </a:cubicBezTo>
                  <a:cubicBezTo>
                    <a:pt x="575" y="33"/>
                    <a:pt x="586" y="34"/>
                    <a:pt x="592" y="35"/>
                  </a:cubicBezTo>
                  <a:cubicBezTo>
                    <a:pt x="595" y="35"/>
                    <a:pt x="603" y="36"/>
                    <a:pt x="601" y="35"/>
                  </a:cubicBezTo>
                  <a:cubicBezTo>
                    <a:pt x="604" y="35"/>
                    <a:pt x="600" y="36"/>
                    <a:pt x="605" y="36"/>
                  </a:cubicBezTo>
                  <a:cubicBezTo>
                    <a:pt x="600" y="36"/>
                    <a:pt x="600" y="36"/>
                    <a:pt x="600" y="36"/>
                  </a:cubicBezTo>
                  <a:cubicBezTo>
                    <a:pt x="618" y="38"/>
                    <a:pt x="625" y="42"/>
                    <a:pt x="656" y="39"/>
                  </a:cubicBezTo>
                  <a:cubicBezTo>
                    <a:pt x="672" y="35"/>
                    <a:pt x="667" y="30"/>
                    <a:pt x="667" y="26"/>
                  </a:cubicBezTo>
                  <a:cubicBezTo>
                    <a:pt x="665" y="25"/>
                    <a:pt x="664" y="21"/>
                    <a:pt x="659" y="21"/>
                  </a:cubicBezTo>
                  <a:cubicBezTo>
                    <a:pt x="661" y="20"/>
                    <a:pt x="661" y="20"/>
                    <a:pt x="661" y="20"/>
                  </a:cubicBezTo>
                  <a:cubicBezTo>
                    <a:pt x="659" y="18"/>
                    <a:pt x="657" y="14"/>
                    <a:pt x="655" y="11"/>
                  </a:cubicBezTo>
                  <a:cubicBezTo>
                    <a:pt x="655" y="9"/>
                    <a:pt x="653" y="10"/>
                    <a:pt x="651" y="8"/>
                  </a:cubicBezTo>
                  <a:cubicBezTo>
                    <a:pt x="653" y="8"/>
                    <a:pt x="653" y="8"/>
                    <a:pt x="653" y="8"/>
                  </a:cubicBezTo>
                  <a:cubicBezTo>
                    <a:pt x="651" y="6"/>
                    <a:pt x="649" y="6"/>
                    <a:pt x="647" y="6"/>
                  </a:cubicBezTo>
                  <a:cubicBezTo>
                    <a:pt x="648" y="5"/>
                    <a:pt x="648" y="5"/>
                    <a:pt x="648" y="5"/>
                  </a:cubicBezTo>
                  <a:cubicBezTo>
                    <a:pt x="649" y="5"/>
                    <a:pt x="650" y="4"/>
                    <a:pt x="651" y="4"/>
                  </a:cubicBezTo>
                  <a:cubicBezTo>
                    <a:pt x="652" y="5"/>
                    <a:pt x="653" y="5"/>
                    <a:pt x="654" y="5"/>
                  </a:cubicBezTo>
                  <a:cubicBezTo>
                    <a:pt x="653" y="5"/>
                    <a:pt x="654" y="5"/>
                    <a:pt x="654" y="4"/>
                  </a:cubicBezTo>
                  <a:cubicBezTo>
                    <a:pt x="655" y="4"/>
                    <a:pt x="655" y="4"/>
                    <a:pt x="656" y="4"/>
                  </a:cubicBezTo>
                  <a:cubicBezTo>
                    <a:pt x="662" y="4"/>
                    <a:pt x="666" y="4"/>
                    <a:pt x="668" y="3"/>
                  </a:cubicBezTo>
                  <a:cubicBezTo>
                    <a:pt x="666" y="4"/>
                    <a:pt x="671" y="4"/>
                    <a:pt x="667" y="4"/>
                  </a:cubicBezTo>
                  <a:cubicBezTo>
                    <a:pt x="671" y="4"/>
                    <a:pt x="674" y="4"/>
                    <a:pt x="677" y="4"/>
                  </a:cubicBezTo>
                  <a:cubicBezTo>
                    <a:pt x="676" y="4"/>
                    <a:pt x="675" y="4"/>
                    <a:pt x="674" y="4"/>
                  </a:cubicBezTo>
                  <a:cubicBezTo>
                    <a:pt x="678" y="3"/>
                    <a:pt x="682" y="3"/>
                    <a:pt x="682" y="3"/>
                  </a:cubicBezTo>
                  <a:cubicBezTo>
                    <a:pt x="680" y="3"/>
                    <a:pt x="679" y="3"/>
                    <a:pt x="677" y="3"/>
                  </a:cubicBezTo>
                  <a:cubicBezTo>
                    <a:pt x="679" y="2"/>
                    <a:pt x="687" y="2"/>
                    <a:pt x="687" y="3"/>
                  </a:cubicBezTo>
                  <a:cubicBezTo>
                    <a:pt x="687" y="4"/>
                    <a:pt x="681" y="4"/>
                    <a:pt x="683" y="4"/>
                  </a:cubicBezTo>
                  <a:cubicBezTo>
                    <a:pt x="695" y="4"/>
                    <a:pt x="695" y="4"/>
                    <a:pt x="695" y="4"/>
                  </a:cubicBezTo>
                  <a:cubicBezTo>
                    <a:pt x="692" y="4"/>
                    <a:pt x="691" y="3"/>
                    <a:pt x="693" y="3"/>
                  </a:cubicBezTo>
                  <a:cubicBezTo>
                    <a:pt x="688" y="3"/>
                    <a:pt x="688" y="3"/>
                    <a:pt x="688" y="3"/>
                  </a:cubicBezTo>
                  <a:cubicBezTo>
                    <a:pt x="689" y="2"/>
                    <a:pt x="689" y="2"/>
                    <a:pt x="689" y="2"/>
                  </a:cubicBezTo>
                  <a:cubicBezTo>
                    <a:pt x="682" y="2"/>
                    <a:pt x="677" y="1"/>
                    <a:pt x="668" y="1"/>
                  </a:cubicBezTo>
                  <a:cubicBezTo>
                    <a:pt x="670" y="2"/>
                    <a:pt x="670" y="2"/>
                    <a:pt x="670" y="2"/>
                  </a:cubicBezTo>
                  <a:cubicBezTo>
                    <a:pt x="665" y="2"/>
                    <a:pt x="659" y="3"/>
                    <a:pt x="655" y="3"/>
                  </a:cubicBezTo>
                  <a:cubicBezTo>
                    <a:pt x="658" y="2"/>
                    <a:pt x="656" y="2"/>
                    <a:pt x="657" y="2"/>
                  </a:cubicBezTo>
                  <a:cubicBezTo>
                    <a:pt x="655" y="2"/>
                    <a:pt x="654" y="2"/>
                    <a:pt x="652" y="2"/>
                  </a:cubicBezTo>
                  <a:cubicBezTo>
                    <a:pt x="656" y="1"/>
                    <a:pt x="656" y="1"/>
                    <a:pt x="656" y="1"/>
                  </a:cubicBezTo>
                  <a:cubicBezTo>
                    <a:pt x="655" y="1"/>
                    <a:pt x="654" y="2"/>
                    <a:pt x="652" y="2"/>
                  </a:cubicBezTo>
                  <a:cubicBezTo>
                    <a:pt x="649" y="3"/>
                    <a:pt x="655" y="0"/>
                    <a:pt x="645" y="4"/>
                  </a:cubicBezTo>
                  <a:cubicBezTo>
                    <a:pt x="644" y="4"/>
                    <a:pt x="644" y="4"/>
                    <a:pt x="644" y="4"/>
                  </a:cubicBezTo>
                  <a:cubicBezTo>
                    <a:pt x="644" y="6"/>
                    <a:pt x="643" y="7"/>
                    <a:pt x="643" y="7"/>
                  </a:cubicBezTo>
                  <a:cubicBezTo>
                    <a:pt x="643" y="7"/>
                    <a:pt x="643" y="7"/>
                    <a:pt x="643" y="7"/>
                  </a:cubicBezTo>
                  <a:cubicBezTo>
                    <a:pt x="641" y="10"/>
                    <a:pt x="645" y="6"/>
                    <a:pt x="645" y="8"/>
                  </a:cubicBezTo>
                  <a:cubicBezTo>
                    <a:pt x="644" y="9"/>
                    <a:pt x="641" y="9"/>
                    <a:pt x="640" y="11"/>
                  </a:cubicBezTo>
                  <a:cubicBezTo>
                    <a:pt x="640" y="13"/>
                    <a:pt x="645" y="16"/>
                    <a:pt x="644" y="19"/>
                  </a:cubicBezTo>
                  <a:cubicBezTo>
                    <a:pt x="647" y="21"/>
                    <a:pt x="650" y="23"/>
                    <a:pt x="653" y="24"/>
                  </a:cubicBezTo>
                  <a:cubicBezTo>
                    <a:pt x="654" y="25"/>
                    <a:pt x="649" y="25"/>
                    <a:pt x="652" y="26"/>
                  </a:cubicBezTo>
                  <a:cubicBezTo>
                    <a:pt x="650" y="26"/>
                    <a:pt x="649" y="26"/>
                    <a:pt x="648" y="27"/>
                  </a:cubicBezTo>
                  <a:cubicBezTo>
                    <a:pt x="650" y="27"/>
                    <a:pt x="650" y="30"/>
                    <a:pt x="652" y="28"/>
                  </a:cubicBezTo>
                  <a:cubicBezTo>
                    <a:pt x="653" y="30"/>
                    <a:pt x="654" y="32"/>
                    <a:pt x="653" y="33"/>
                  </a:cubicBezTo>
                  <a:cubicBezTo>
                    <a:pt x="652" y="33"/>
                    <a:pt x="650" y="33"/>
                    <a:pt x="649" y="33"/>
                  </a:cubicBezTo>
                  <a:cubicBezTo>
                    <a:pt x="648" y="34"/>
                    <a:pt x="650" y="34"/>
                    <a:pt x="646" y="34"/>
                  </a:cubicBezTo>
                  <a:cubicBezTo>
                    <a:pt x="638" y="35"/>
                    <a:pt x="640" y="33"/>
                    <a:pt x="639" y="32"/>
                  </a:cubicBezTo>
                  <a:cubicBezTo>
                    <a:pt x="643" y="32"/>
                    <a:pt x="643" y="32"/>
                    <a:pt x="643" y="32"/>
                  </a:cubicBezTo>
                  <a:cubicBezTo>
                    <a:pt x="640" y="32"/>
                    <a:pt x="637" y="32"/>
                    <a:pt x="633" y="32"/>
                  </a:cubicBezTo>
                  <a:cubicBezTo>
                    <a:pt x="635" y="30"/>
                    <a:pt x="640" y="32"/>
                    <a:pt x="643" y="32"/>
                  </a:cubicBezTo>
                  <a:cubicBezTo>
                    <a:pt x="642" y="30"/>
                    <a:pt x="642" y="30"/>
                    <a:pt x="642" y="30"/>
                  </a:cubicBezTo>
                  <a:cubicBezTo>
                    <a:pt x="636" y="29"/>
                    <a:pt x="638" y="31"/>
                    <a:pt x="632" y="30"/>
                  </a:cubicBezTo>
                  <a:cubicBezTo>
                    <a:pt x="634" y="30"/>
                    <a:pt x="634" y="30"/>
                    <a:pt x="634" y="30"/>
                  </a:cubicBezTo>
                  <a:cubicBezTo>
                    <a:pt x="629" y="29"/>
                    <a:pt x="629" y="29"/>
                    <a:pt x="629" y="29"/>
                  </a:cubicBezTo>
                  <a:cubicBezTo>
                    <a:pt x="628" y="30"/>
                    <a:pt x="627" y="31"/>
                    <a:pt x="631" y="31"/>
                  </a:cubicBezTo>
                  <a:cubicBezTo>
                    <a:pt x="626" y="32"/>
                    <a:pt x="627" y="31"/>
                    <a:pt x="621" y="30"/>
                  </a:cubicBezTo>
                  <a:cubicBezTo>
                    <a:pt x="618" y="31"/>
                    <a:pt x="624" y="31"/>
                    <a:pt x="622" y="31"/>
                  </a:cubicBezTo>
                  <a:cubicBezTo>
                    <a:pt x="621" y="32"/>
                    <a:pt x="617" y="32"/>
                    <a:pt x="614" y="31"/>
                  </a:cubicBezTo>
                  <a:cubicBezTo>
                    <a:pt x="609" y="31"/>
                    <a:pt x="614" y="30"/>
                    <a:pt x="613" y="30"/>
                  </a:cubicBezTo>
                  <a:cubicBezTo>
                    <a:pt x="614" y="30"/>
                    <a:pt x="618" y="30"/>
                    <a:pt x="616" y="30"/>
                  </a:cubicBezTo>
                  <a:cubicBezTo>
                    <a:pt x="624" y="30"/>
                    <a:pt x="618" y="29"/>
                    <a:pt x="623" y="29"/>
                  </a:cubicBezTo>
                  <a:cubicBezTo>
                    <a:pt x="619" y="27"/>
                    <a:pt x="617" y="28"/>
                    <a:pt x="615" y="28"/>
                  </a:cubicBezTo>
                  <a:cubicBezTo>
                    <a:pt x="616" y="29"/>
                    <a:pt x="612" y="29"/>
                    <a:pt x="613" y="29"/>
                  </a:cubicBezTo>
                  <a:cubicBezTo>
                    <a:pt x="600" y="30"/>
                    <a:pt x="611" y="27"/>
                    <a:pt x="603" y="27"/>
                  </a:cubicBezTo>
                  <a:cubicBezTo>
                    <a:pt x="602" y="28"/>
                    <a:pt x="589" y="27"/>
                    <a:pt x="591" y="29"/>
                  </a:cubicBezTo>
                  <a:cubicBezTo>
                    <a:pt x="589" y="29"/>
                    <a:pt x="586" y="29"/>
                    <a:pt x="585" y="29"/>
                  </a:cubicBezTo>
                  <a:cubicBezTo>
                    <a:pt x="589" y="28"/>
                    <a:pt x="583" y="28"/>
                    <a:pt x="588" y="27"/>
                  </a:cubicBezTo>
                  <a:cubicBezTo>
                    <a:pt x="586" y="27"/>
                    <a:pt x="586" y="27"/>
                    <a:pt x="586" y="27"/>
                  </a:cubicBezTo>
                  <a:cubicBezTo>
                    <a:pt x="592" y="27"/>
                    <a:pt x="592" y="27"/>
                    <a:pt x="592" y="27"/>
                  </a:cubicBezTo>
                  <a:cubicBezTo>
                    <a:pt x="590" y="26"/>
                    <a:pt x="587" y="24"/>
                    <a:pt x="586" y="24"/>
                  </a:cubicBezTo>
                  <a:cubicBezTo>
                    <a:pt x="581" y="24"/>
                    <a:pt x="586" y="25"/>
                    <a:pt x="580" y="24"/>
                  </a:cubicBezTo>
                  <a:cubicBezTo>
                    <a:pt x="583" y="24"/>
                    <a:pt x="581" y="23"/>
                    <a:pt x="579" y="23"/>
                  </a:cubicBezTo>
                  <a:cubicBezTo>
                    <a:pt x="582" y="24"/>
                    <a:pt x="576" y="24"/>
                    <a:pt x="573" y="24"/>
                  </a:cubicBezTo>
                  <a:cubicBezTo>
                    <a:pt x="569" y="24"/>
                    <a:pt x="567" y="23"/>
                    <a:pt x="568" y="23"/>
                  </a:cubicBezTo>
                  <a:cubicBezTo>
                    <a:pt x="574" y="22"/>
                    <a:pt x="574" y="22"/>
                    <a:pt x="574" y="22"/>
                  </a:cubicBezTo>
                  <a:cubicBezTo>
                    <a:pt x="570" y="23"/>
                    <a:pt x="573" y="22"/>
                    <a:pt x="570" y="22"/>
                  </a:cubicBezTo>
                  <a:cubicBezTo>
                    <a:pt x="568" y="22"/>
                    <a:pt x="564" y="23"/>
                    <a:pt x="562" y="23"/>
                  </a:cubicBezTo>
                  <a:cubicBezTo>
                    <a:pt x="558" y="23"/>
                    <a:pt x="558" y="22"/>
                    <a:pt x="556" y="22"/>
                  </a:cubicBezTo>
                  <a:cubicBezTo>
                    <a:pt x="562" y="22"/>
                    <a:pt x="562" y="22"/>
                    <a:pt x="562" y="22"/>
                  </a:cubicBezTo>
                  <a:cubicBezTo>
                    <a:pt x="556" y="22"/>
                    <a:pt x="564" y="21"/>
                    <a:pt x="556" y="21"/>
                  </a:cubicBezTo>
                  <a:cubicBezTo>
                    <a:pt x="553" y="21"/>
                    <a:pt x="553" y="21"/>
                    <a:pt x="553" y="21"/>
                  </a:cubicBezTo>
                  <a:cubicBezTo>
                    <a:pt x="552" y="21"/>
                    <a:pt x="552" y="21"/>
                    <a:pt x="554" y="20"/>
                  </a:cubicBezTo>
                  <a:cubicBezTo>
                    <a:pt x="552" y="21"/>
                    <a:pt x="548" y="21"/>
                    <a:pt x="546" y="21"/>
                  </a:cubicBezTo>
                  <a:cubicBezTo>
                    <a:pt x="546" y="20"/>
                    <a:pt x="546" y="20"/>
                    <a:pt x="546" y="20"/>
                  </a:cubicBezTo>
                  <a:cubicBezTo>
                    <a:pt x="543" y="20"/>
                    <a:pt x="536" y="21"/>
                    <a:pt x="532" y="21"/>
                  </a:cubicBezTo>
                  <a:cubicBezTo>
                    <a:pt x="534" y="22"/>
                    <a:pt x="538" y="20"/>
                    <a:pt x="543" y="21"/>
                  </a:cubicBezTo>
                  <a:cubicBezTo>
                    <a:pt x="545" y="22"/>
                    <a:pt x="536" y="22"/>
                    <a:pt x="534" y="22"/>
                  </a:cubicBezTo>
                  <a:cubicBezTo>
                    <a:pt x="537" y="21"/>
                    <a:pt x="523" y="22"/>
                    <a:pt x="513" y="25"/>
                  </a:cubicBezTo>
                  <a:cubicBezTo>
                    <a:pt x="507" y="26"/>
                    <a:pt x="500" y="29"/>
                    <a:pt x="500" y="29"/>
                  </a:cubicBezTo>
                  <a:cubicBezTo>
                    <a:pt x="501" y="30"/>
                    <a:pt x="501" y="30"/>
                    <a:pt x="501" y="30"/>
                  </a:cubicBezTo>
                  <a:cubicBezTo>
                    <a:pt x="493" y="32"/>
                    <a:pt x="499" y="34"/>
                    <a:pt x="498" y="36"/>
                  </a:cubicBezTo>
                  <a:cubicBezTo>
                    <a:pt x="496" y="35"/>
                    <a:pt x="494" y="35"/>
                    <a:pt x="494" y="37"/>
                  </a:cubicBezTo>
                  <a:cubicBezTo>
                    <a:pt x="497" y="35"/>
                    <a:pt x="499" y="38"/>
                    <a:pt x="501" y="37"/>
                  </a:cubicBezTo>
                  <a:cubicBezTo>
                    <a:pt x="501" y="39"/>
                    <a:pt x="496" y="37"/>
                    <a:pt x="494" y="38"/>
                  </a:cubicBezTo>
                  <a:cubicBezTo>
                    <a:pt x="497" y="39"/>
                    <a:pt x="494" y="41"/>
                    <a:pt x="498" y="41"/>
                  </a:cubicBezTo>
                  <a:cubicBezTo>
                    <a:pt x="498" y="40"/>
                    <a:pt x="500" y="41"/>
                    <a:pt x="502" y="41"/>
                  </a:cubicBezTo>
                  <a:cubicBezTo>
                    <a:pt x="503" y="43"/>
                    <a:pt x="500" y="41"/>
                    <a:pt x="500" y="43"/>
                  </a:cubicBezTo>
                  <a:cubicBezTo>
                    <a:pt x="501" y="43"/>
                    <a:pt x="504" y="44"/>
                    <a:pt x="504" y="42"/>
                  </a:cubicBezTo>
                  <a:cubicBezTo>
                    <a:pt x="504" y="43"/>
                    <a:pt x="509" y="44"/>
                    <a:pt x="507" y="45"/>
                  </a:cubicBezTo>
                  <a:cubicBezTo>
                    <a:pt x="506" y="46"/>
                    <a:pt x="505" y="44"/>
                    <a:pt x="504" y="45"/>
                  </a:cubicBezTo>
                  <a:cubicBezTo>
                    <a:pt x="505" y="47"/>
                    <a:pt x="510" y="45"/>
                    <a:pt x="513" y="47"/>
                  </a:cubicBezTo>
                  <a:cubicBezTo>
                    <a:pt x="513" y="45"/>
                    <a:pt x="518" y="45"/>
                    <a:pt x="520" y="46"/>
                  </a:cubicBezTo>
                  <a:cubicBezTo>
                    <a:pt x="521" y="49"/>
                    <a:pt x="518" y="45"/>
                    <a:pt x="516" y="47"/>
                  </a:cubicBezTo>
                  <a:cubicBezTo>
                    <a:pt x="517" y="48"/>
                    <a:pt x="517" y="48"/>
                    <a:pt x="517" y="48"/>
                  </a:cubicBezTo>
                  <a:cubicBezTo>
                    <a:pt x="515" y="50"/>
                    <a:pt x="508" y="46"/>
                    <a:pt x="506" y="48"/>
                  </a:cubicBezTo>
                  <a:cubicBezTo>
                    <a:pt x="509" y="49"/>
                    <a:pt x="509" y="49"/>
                    <a:pt x="509" y="49"/>
                  </a:cubicBezTo>
                  <a:cubicBezTo>
                    <a:pt x="507" y="49"/>
                    <a:pt x="505" y="49"/>
                    <a:pt x="504" y="50"/>
                  </a:cubicBezTo>
                  <a:cubicBezTo>
                    <a:pt x="507" y="50"/>
                    <a:pt x="507" y="52"/>
                    <a:pt x="508" y="52"/>
                  </a:cubicBezTo>
                  <a:cubicBezTo>
                    <a:pt x="511" y="52"/>
                    <a:pt x="507" y="52"/>
                    <a:pt x="509" y="51"/>
                  </a:cubicBezTo>
                  <a:cubicBezTo>
                    <a:pt x="510" y="52"/>
                    <a:pt x="514" y="52"/>
                    <a:pt x="515" y="54"/>
                  </a:cubicBezTo>
                  <a:cubicBezTo>
                    <a:pt x="512" y="53"/>
                    <a:pt x="512" y="55"/>
                    <a:pt x="510" y="55"/>
                  </a:cubicBezTo>
                  <a:cubicBezTo>
                    <a:pt x="510" y="56"/>
                    <a:pt x="513" y="55"/>
                    <a:pt x="513" y="56"/>
                  </a:cubicBezTo>
                  <a:cubicBezTo>
                    <a:pt x="512" y="56"/>
                    <a:pt x="512" y="56"/>
                    <a:pt x="512" y="56"/>
                  </a:cubicBezTo>
                  <a:cubicBezTo>
                    <a:pt x="516" y="61"/>
                    <a:pt x="521" y="66"/>
                    <a:pt x="530" y="69"/>
                  </a:cubicBezTo>
                  <a:cubicBezTo>
                    <a:pt x="528" y="70"/>
                    <a:pt x="529" y="72"/>
                    <a:pt x="529" y="74"/>
                  </a:cubicBezTo>
                  <a:cubicBezTo>
                    <a:pt x="529" y="73"/>
                    <a:pt x="531" y="74"/>
                    <a:pt x="532" y="74"/>
                  </a:cubicBezTo>
                  <a:cubicBezTo>
                    <a:pt x="530" y="76"/>
                    <a:pt x="530" y="76"/>
                    <a:pt x="530" y="76"/>
                  </a:cubicBezTo>
                  <a:cubicBezTo>
                    <a:pt x="530" y="78"/>
                    <a:pt x="533" y="79"/>
                    <a:pt x="535" y="80"/>
                  </a:cubicBezTo>
                  <a:cubicBezTo>
                    <a:pt x="535" y="80"/>
                    <a:pt x="534" y="80"/>
                    <a:pt x="534" y="80"/>
                  </a:cubicBezTo>
                  <a:cubicBezTo>
                    <a:pt x="533" y="82"/>
                    <a:pt x="536" y="81"/>
                    <a:pt x="537" y="82"/>
                  </a:cubicBezTo>
                  <a:cubicBezTo>
                    <a:pt x="535" y="83"/>
                    <a:pt x="535" y="83"/>
                    <a:pt x="535" y="83"/>
                  </a:cubicBezTo>
                  <a:cubicBezTo>
                    <a:pt x="537" y="83"/>
                    <a:pt x="537" y="83"/>
                    <a:pt x="537" y="83"/>
                  </a:cubicBezTo>
                  <a:cubicBezTo>
                    <a:pt x="538" y="84"/>
                    <a:pt x="538" y="86"/>
                    <a:pt x="535" y="86"/>
                  </a:cubicBezTo>
                  <a:cubicBezTo>
                    <a:pt x="536" y="86"/>
                    <a:pt x="536" y="87"/>
                    <a:pt x="537" y="86"/>
                  </a:cubicBezTo>
                  <a:cubicBezTo>
                    <a:pt x="536" y="87"/>
                    <a:pt x="535" y="90"/>
                    <a:pt x="535" y="91"/>
                  </a:cubicBezTo>
                  <a:cubicBezTo>
                    <a:pt x="530" y="91"/>
                    <a:pt x="523" y="91"/>
                    <a:pt x="518" y="91"/>
                  </a:cubicBezTo>
                  <a:cubicBezTo>
                    <a:pt x="516" y="91"/>
                    <a:pt x="516" y="91"/>
                    <a:pt x="515" y="91"/>
                  </a:cubicBezTo>
                  <a:cubicBezTo>
                    <a:pt x="510" y="89"/>
                    <a:pt x="499" y="90"/>
                    <a:pt x="493" y="88"/>
                  </a:cubicBezTo>
                  <a:cubicBezTo>
                    <a:pt x="494" y="89"/>
                    <a:pt x="489" y="90"/>
                    <a:pt x="485" y="90"/>
                  </a:cubicBezTo>
                  <a:cubicBezTo>
                    <a:pt x="479" y="90"/>
                    <a:pt x="486" y="88"/>
                    <a:pt x="483" y="87"/>
                  </a:cubicBezTo>
                  <a:cubicBezTo>
                    <a:pt x="480" y="87"/>
                    <a:pt x="476" y="87"/>
                    <a:pt x="475" y="87"/>
                  </a:cubicBezTo>
                  <a:cubicBezTo>
                    <a:pt x="475" y="87"/>
                    <a:pt x="475" y="87"/>
                    <a:pt x="475" y="87"/>
                  </a:cubicBezTo>
                  <a:cubicBezTo>
                    <a:pt x="472" y="87"/>
                    <a:pt x="468" y="87"/>
                    <a:pt x="466" y="86"/>
                  </a:cubicBezTo>
                  <a:cubicBezTo>
                    <a:pt x="466" y="86"/>
                    <a:pt x="466" y="86"/>
                    <a:pt x="466" y="86"/>
                  </a:cubicBezTo>
                  <a:cubicBezTo>
                    <a:pt x="464" y="86"/>
                    <a:pt x="463" y="85"/>
                    <a:pt x="460" y="85"/>
                  </a:cubicBezTo>
                  <a:cubicBezTo>
                    <a:pt x="457" y="85"/>
                    <a:pt x="453" y="84"/>
                    <a:pt x="450" y="85"/>
                  </a:cubicBezTo>
                  <a:cubicBezTo>
                    <a:pt x="450" y="84"/>
                    <a:pt x="450" y="84"/>
                    <a:pt x="450" y="84"/>
                  </a:cubicBezTo>
                  <a:cubicBezTo>
                    <a:pt x="448" y="85"/>
                    <a:pt x="448" y="85"/>
                    <a:pt x="448" y="85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46" y="84"/>
                    <a:pt x="447" y="83"/>
                    <a:pt x="448" y="83"/>
                  </a:cubicBezTo>
                  <a:cubicBezTo>
                    <a:pt x="444" y="82"/>
                    <a:pt x="445" y="84"/>
                    <a:pt x="442" y="84"/>
                  </a:cubicBezTo>
                  <a:cubicBezTo>
                    <a:pt x="437" y="84"/>
                    <a:pt x="439" y="83"/>
                    <a:pt x="438" y="83"/>
                  </a:cubicBezTo>
                  <a:cubicBezTo>
                    <a:pt x="440" y="83"/>
                    <a:pt x="440" y="83"/>
                    <a:pt x="441" y="83"/>
                  </a:cubicBezTo>
                  <a:cubicBezTo>
                    <a:pt x="445" y="83"/>
                    <a:pt x="440" y="83"/>
                    <a:pt x="440" y="82"/>
                  </a:cubicBezTo>
                  <a:cubicBezTo>
                    <a:pt x="440" y="82"/>
                    <a:pt x="438" y="83"/>
                    <a:pt x="435" y="82"/>
                  </a:cubicBezTo>
                  <a:cubicBezTo>
                    <a:pt x="433" y="82"/>
                    <a:pt x="428" y="82"/>
                    <a:pt x="430" y="81"/>
                  </a:cubicBezTo>
                  <a:cubicBezTo>
                    <a:pt x="427" y="81"/>
                    <a:pt x="425" y="81"/>
                    <a:pt x="423" y="81"/>
                  </a:cubicBezTo>
                  <a:cubicBezTo>
                    <a:pt x="424" y="81"/>
                    <a:pt x="427" y="82"/>
                    <a:pt x="427" y="82"/>
                  </a:cubicBezTo>
                  <a:cubicBezTo>
                    <a:pt x="425" y="82"/>
                    <a:pt x="421" y="82"/>
                    <a:pt x="421" y="82"/>
                  </a:cubicBezTo>
                  <a:cubicBezTo>
                    <a:pt x="423" y="82"/>
                    <a:pt x="423" y="82"/>
                    <a:pt x="423" y="82"/>
                  </a:cubicBezTo>
                  <a:cubicBezTo>
                    <a:pt x="421" y="82"/>
                    <a:pt x="417" y="81"/>
                    <a:pt x="418" y="82"/>
                  </a:cubicBezTo>
                  <a:cubicBezTo>
                    <a:pt x="417" y="80"/>
                    <a:pt x="417" y="80"/>
                    <a:pt x="417" y="80"/>
                  </a:cubicBezTo>
                  <a:cubicBezTo>
                    <a:pt x="414" y="81"/>
                    <a:pt x="411" y="80"/>
                    <a:pt x="408" y="80"/>
                  </a:cubicBezTo>
                  <a:cubicBezTo>
                    <a:pt x="409" y="79"/>
                    <a:pt x="413" y="79"/>
                    <a:pt x="408" y="78"/>
                  </a:cubicBezTo>
                  <a:cubicBezTo>
                    <a:pt x="402" y="78"/>
                    <a:pt x="402" y="78"/>
                    <a:pt x="402" y="78"/>
                  </a:cubicBezTo>
                  <a:cubicBezTo>
                    <a:pt x="400" y="78"/>
                    <a:pt x="399" y="78"/>
                    <a:pt x="401" y="77"/>
                  </a:cubicBezTo>
                  <a:cubicBezTo>
                    <a:pt x="393" y="76"/>
                    <a:pt x="388" y="78"/>
                    <a:pt x="383" y="77"/>
                  </a:cubicBezTo>
                  <a:cubicBezTo>
                    <a:pt x="387" y="76"/>
                    <a:pt x="385" y="76"/>
                    <a:pt x="383" y="75"/>
                  </a:cubicBezTo>
                  <a:cubicBezTo>
                    <a:pt x="383" y="75"/>
                    <a:pt x="382" y="76"/>
                    <a:pt x="380" y="76"/>
                  </a:cubicBezTo>
                  <a:cubicBezTo>
                    <a:pt x="380" y="76"/>
                    <a:pt x="383" y="75"/>
                    <a:pt x="384" y="76"/>
                  </a:cubicBezTo>
                  <a:cubicBezTo>
                    <a:pt x="384" y="77"/>
                    <a:pt x="381" y="76"/>
                    <a:pt x="379" y="76"/>
                  </a:cubicBezTo>
                  <a:cubicBezTo>
                    <a:pt x="378" y="73"/>
                    <a:pt x="361" y="73"/>
                    <a:pt x="354" y="71"/>
                  </a:cubicBezTo>
                  <a:cubicBezTo>
                    <a:pt x="352" y="72"/>
                    <a:pt x="349" y="71"/>
                    <a:pt x="346" y="71"/>
                  </a:cubicBezTo>
                  <a:cubicBezTo>
                    <a:pt x="349" y="70"/>
                    <a:pt x="340" y="71"/>
                    <a:pt x="339" y="70"/>
                  </a:cubicBezTo>
                  <a:cubicBezTo>
                    <a:pt x="338" y="71"/>
                    <a:pt x="338" y="71"/>
                    <a:pt x="338" y="71"/>
                  </a:cubicBezTo>
                  <a:cubicBezTo>
                    <a:pt x="333" y="70"/>
                    <a:pt x="325" y="71"/>
                    <a:pt x="324" y="70"/>
                  </a:cubicBezTo>
                  <a:cubicBezTo>
                    <a:pt x="321" y="69"/>
                    <a:pt x="327" y="69"/>
                    <a:pt x="329" y="69"/>
                  </a:cubicBezTo>
                  <a:cubicBezTo>
                    <a:pt x="327" y="67"/>
                    <a:pt x="314" y="69"/>
                    <a:pt x="313" y="67"/>
                  </a:cubicBezTo>
                  <a:cubicBezTo>
                    <a:pt x="312" y="67"/>
                    <a:pt x="312" y="68"/>
                    <a:pt x="307" y="68"/>
                  </a:cubicBezTo>
                  <a:cubicBezTo>
                    <a:pt x="305" y="68"/>
                    <a:pt x="299" y="66"/>
                    <a:pt x="300" y="66"/>
                  </a:cubicBezTo>
                  <a:cubicBezTo>
                    <a:pt x="297" y="66"/>
                    <a:pt x="295" y="67"/>
                    <a:pt x="293" y="66"/>
                  </a:cubicBezTo>
                  <a:cubicBezTo>
                    <a:pt x="294" y="66"/>
                    <a:pt x="295" y="66"/>
                    <a:pt x="297" y="66"/>
                  </a:cubicBezTo>
                  <a:cubicBezTo>
                    <a:pt x="292" y="65"/>
                    <a:pt x="287" y="65"/>
                    <a:pt x="282" y="65"/>
                  </a:cubicBezTo>
                  <a:cubicBezTo>
                    <a:pt x="281" y="64"/>
                    <a:pt x="271" y="64"/>
                    <a:pt x="263" y="64"/>
                  </a:cubicBezTo>
                  <a:cubicBezTo>
                    <a:pt x="259" y="65"/>
                    <a:pt x="244" y="65"/>
                    <a:pt x="240" y="69"/>
                  </a:cubicBezTo>
                  <a:cubicBezTo>
                    <a:pt x="240" y="68"/>
                    <a:pt x="238" y="69"/>
                    <a:pt x="237" y="70"/>
                  </a:cubicBezTo>
                  <a:cubicBezTo>
                    <a:pt x="235" y="72"/>
                    <a:pt x="239" y="72"/>
                    <a:pt x="239" y="73"/>
                  </a:cubicBezTo>
                  <a:cubicBezTo>
                    <a:pt x="236" y="73"/>
                    <a:pt x="236" y="73"/>
                    <a:pt x="236" y="73"/>
                  </a:cubicBezTo>
                  <a:cubicBezTo>
                    <a:pt x="233" y="74"/>
                    <a:pt x="237" y="76"/>
                    <a:pt x="236" y="77"/>
                  </a:cubicBezTo>
                  <a:cubicBezTo>
                    <a:pt x="238" y="76"/>
                    <a:pt x="237" y="78"/>
                    <a:pt x="239" y="77"/>
                  </a:cubicBezTo>
                  <a:cubicBezTo>
                    <a:pt x="241" y="78"/>
                    <a:pt x="241" y="78"/>
                    <a:pt x="241" y="78"/>
                  </a:cubicBezTo>
                  <a:cubicBezTo>
                    <a:pt x="243" y="80"/>
                    <a:pt x="242" y="78"/>
                    <a:pt x="245" y="80"/>
                  </a:cubicBezTo>
                  <a:cubicBezTo>
                    <a:pt x="246" y="81"/>
                    <a:pt x="242" y="81"/>
                    <a:pt x="242" y="81"/>
                  </a:cubicBezTo>
                  <a:cubicBezTo>
                    <a:pt x="241" y="82"/>
                    <a:pt x="243" y="82"/>
                    <a:pt x="245" y="83"/>
                  </a:cubicBezTo>
                  <a:cubicBezTo>
                    <a:pt x="245" y="83"/>
                    <a:pt x="245" y="83"/>
                    <a:pt x="246" y="83"/>
                  </a:cubicBezTo>
                  <a:cubicBezTo>
                    <a:pt x="245" y="83"/>
                    <a:pt x="245" y="83"/>
                    <a:pt x="245" y="83"/>
                  </a:cubicBezTo>
                  <a:cubicBezTo>
                    <a:pt x="246" y="84"/>
                    <a:pt x="246" y="84"/>
                    <a:pt x="247" y="84"/>
                  </a:cubicBezTo>
                  <a:cubicBezTo>
                    <a:pt x="247" y="84"/>
                    <a:pt x="247" y="84"/>
                    <a:pt x="247" y="84"/>
                  </a:cubicBezTo>
                  <a:cubicBezTo>
                    <a:pt x="246" y="84"/>
                    <a:pt x="246" y="84"/>
                    <a:pt x="245" y="83"/>
                  </a:cubicBezTo>
                  <a:cubicBezTo>
                    <a:pt x="245" y="84"/>
                    <a:pt x="246" y="84"/>
                    <a:pt x="246" y="84"/>
                  </a:cubicBezTo>
                  <a:cubicBezTo>
                    <a:pt x="246" y="85"/>
                    <a:pt x="246" y="85"/>
                    <a:pt x="246" y="85"/>
                  </a:cubicBezTo>
                  <a:cubicBezTo>
                    <a:pt x="247" y="85"/>
                    <a:pt x="247" y="85"/>
                    <a:pt x="247" y="85"/>
                  </a:cubicBezTo>
                  <a:cubicBezTo>
                    <a:pt x="245" y="86"/>
                    <a:pt x="245" y="86"/>
                    <a:pt x="245" y="86"/>
                  </a:cubicBezTo>
                  <a:cubicBezTo>
                    <a:pt x="245" y="86"/>
                    <a:pt x="250" y="87"/>
                    <a:pt x="251" y="87"/>
                  </a:cubicBezTo>
                  <a:cubicBezTo>
                    <a:pt x="252" y="90"/>
                    <a:pt x="260" y="94"/>
                    <a:pt x="263" y="95"/>
                  </a:cubicBezTo>
                  <a:cubicBezTo>
                    <a:pt x="262" y="95"/>
                    <a:pt x="262" y="95"/>
                    <a:pt x="263" y="95"/>
                  </a:cubicBezTo>
                  <a:cubicBezTo>
                    <a:pt x="265" y="96"/>
                    <a:pt x="268" y="96"/>
                    <a:pt x="267" y="96"/>
                  </a:cubicBezTo>
                  <a:cubicBezTo>
                    <a:pt x="269" y="97"/>
                    <a:pt x="266" y="97"/>
                    <a:pt x="268" y="99"/>
                  </a:cubicBezTo>
                  <a:cubicBezTo>
                    <a:pt x="268" y="99"/>
                    <a:pt x="270" y="98"/>
                    <a:pt x="269" y="98"/>
                  </a:cubicBezTo>
                  <a:cubicBezTo>
                    <a:pt x="270" y="101"/>
                    <a:pt x="279" y="102"/>
                    <a:pt x="281" y="105"/>
                  </a:cubicBezTo>
                  <a:cubicBezTo>
                    <a:pt x="280" y="105"/>
                    <a:pt x="279" y="105"/>
                    <a:pt x="278" y="105"/>
                  </a:cubicBezTo>
                  <a:cubicBezTo>
                    <a:pt x="282" y="106"/>
                    <a:pt x="285" y="108"/>
                    <a:pt x="291" y="109"/>
                  </a:cubicBezTo>
                  <a:cubicBezTo>
                    <a:pt x="289" y="109"/>
                    <a:pt x="289" y="109"/>
                    <a:pt x="287" y="109"/>
                  </a:cubicBezTo>
                  <a:cubicBezTo>
                    <a:pt x="289" y="110"/>
                    <a:pt x="292" y="112"/>
                    <a:pt x="295" y="112"/>
                  </a:cubicBezTo>
                  <a:cubicBezTo>
                    <a:pt x="295" y="111"/>
                    <a:pt x="294" y="112"/>
                    <a:pt x="293" y="111"/>
                  </a:cubicBezTo>
                  <a:cubicBezTo>
                    <a:pt x="293" y="110"/>
                    <a:pt x="298" y="111"/>
                    <a:pt x="299" y="112"/>
                  </a:cubicBezTo>
                  <a:cubicBezTo>
                    <a:pt x="299" y="112"/>
                    <a:pt x="299" y="112"/>
                    <a:pt x="299" y="112"/>
                  </a:cubicBezTo>
                  <a:cubicBezTo>
                    <a:pt x="301" y="113"/>
                    <a:pt x="302" y="113"/>
                    <a:pt x="304" y="114"/>
                  </a:cubicBezTo>
                  <a:cubicBezTo>
                    <a:pt x="304" y="115"/>
                    <a:pt x="302" y="114"/>
                    <a:pt x="302" y="115"/>
                  </a:cubicBezTo>
                  <a:cubicBezTo>
                    <a:pt x="299" y="116"/>
                    <a:pt x="304" y="118"/>
                    <a:pt x="304" y="118"/>
                  </a:cubicBezTo>
                  <a:cubicBezTo>
                    <a:pt x="306" y="118"/>
                    <a:pt x="307" y="119"/>
                    <a:pt x="308" y="118"/>
                  </a:cubicBezTo>
                  <a:cubicBezTo>
                    <a:pt x="310" y="119"/>
                    <a:pt x="307" y="119"/>
                    <a:pt x="308" y="120"/>
                  </a:cubicBezTo>
                  <a:cubicBezTo>
                    <a:pt x="318" y="121"/>
                    <a:pt x="318" y="121"/>
                    <a:pt x="318" y="121"/>
                  </a:cubicBezTo>
                  <a:cubicBezTo>
                    <a:pt x="317" y="121"/>
                    <a:pt x="317" y="123"/>
                    <a:pt x="314" y="122"/>
                  </a:cubicBezTo>
                  <a:cubicBezTo>
                    <a:pt x="318" y="124"/>
                    <a:pt x="324" y="124"/>
                    <a:pt x="328" y="125"/>
                  </a:cubicBezTo>
                  <a:cubicBezTo>
                    <a:pt x="329" y="126"/>
                    <a:pt x="333" y="127"/>
                    <a:pt x="334" y="128"/>
                  </a:cubicBezTo>
                  <a:cubicBezTo>
                    <a:pt x="333" y="129"/>
                    <a:pt x="334" y="127"/>
                    <a:pt x="332" y="128"/>
                  </a:cubicBezTo>
                  <a:cubicBezTo>
                    <a:pt x="332" y="129"/>
                    <a:pt x="332" y="129"/>
                    <a:pt x="332" y="129"/>
                  </a:cubicBezTo>
                  <a:cubicBezTo>
                    <a:pt x="329" y="128"/>
                    <a:pt x="329" y="130"/>
                    <a:pt x="326" y="130"/>
                  </a:cubicBezTo>
                  <a:cubicBezTo>
                    <a:pt x="329" y="131"/>
                    <a:pt x="332" y="133"/>
                    <a:pt x="335" y="135"/>
                  </a:cubicBezTo>
                  <a:cubicBezTo>
                    <a:pt x="336" y="133"/>
                    <a:pt x="340" y="137"/>
                    <a:pt x="343" y="136"/>
                  </a:cubicBezTo>
                  <a:cubicBezTo>
                    <a:pt x="347" y="138"/>
                    <a:pt x="342" y="138"/>
                    <a:pt x="342" y="139"/>
                  </a:cubicBezTo>
                  <a:cubicBezTo>
                    <a:pt x="347" y="140"/>
                    <a:pt x="349" y="143"/>
                    <a:pt x="352" y="144"/>
                  </a:cubicBezTo>
                  <a:cubicBezTo>
                    <a:pt x="352" y="144"/>
                    <a:pt x="352" y="144"/>
                    <a:pt x="351" y="144"/>
                  </a:cubicBezTo>
                  <a:cubicBezTo>
                    <a:pt x="355" y="146"/>
                    <a:pt x="358" y="149"/>
                    <a:pt x="363" y="150"/>
                  </a:cubicBezTo>
                  <a:cubicBezTo>
                    <a:pt x="363" y="150"/>
                    <a:pt x="362" y="150"/>
                    <a:pt x="361" y="150"/>
                  </a:cubicBezTo>
                  <a:cubicBezTo>
                    <a:pt x="362" y="152"/>
                    <a:pt x="366" y="149"/>
                    <a:pt x="367" y="152"/>
                  </a:cubicBezTo>
                  <a:cubicBezTo>
                    <a:pt x="364" y="152"/>
                    <a:pt x="364" y="152"/>
                    <a:pt x="364" y="152"/>
                  </a:cubicBezTo>
                  <a:cubicBezTo>
                    <a:pt x="368" y="153"/>
                    <a:pt x="366" y="155"/>
                    <a:pt x="371" y="156"/>
                  </a:cubicBezTo>
                  <a:cubicBezTo>
                    <a:pt x="370" y="156"/>
                    <a:pt x="369" y="156"/>
                    <a:pt x="368" y="156"/>
                  </a:cubicBezTo>
                  <a:cubicBezTo>
                    <a:pt x="371" y="157"/>
                    <a:pt x="372" y="159"/>
                    <a:pt x="376" y="160"/>
                  </a:cubicBezTo>
                  <a:cubicBezTo>
                    <a:pt x="375" y="160"/>
                    <a:pt x="374" y="160"/>
                    <a:pt x="372" y="160"/>
                  </a:cubicBezTo>
                  <a:cubicBezTo>
                    <a:pt x="372" y="161"/>
                    <a:pt x="377" y="161"/>
                    <a:pt x="376" y="162"/>
                  </a:cubicBezTo>
                  <a:cubicBezTo>
                    <a:pt x="376" y="163"/>
                    <a:pt x="375" y="164"/>
                    <a:pt x="375" y="164"/>
                  </a:cubicBezTo>
                  <a:cubicBezTo>
                    <a:pt x="378" y="164"/>
                    <a:pt x="376" y="167"/>
                    <a:pt x="370" y="167"/>
                  </a:cubicBezTo>
                  <a:cubicBezTo>
                    <a:pt x="370" y="167"/>
                    <a:pt x="368" y="167"/>
                    <a:pt x="365" y="167"/>
                  </a:cubicBezTo>
                  <a:cubicBezTo>
                    <a:pt x="339" y="166"/>
                    <a:pt x="317" y="163"/>
                    <a:pt x="293" y="161"/>
                  </a:cubicBezTo>
                  <a:cubicBezTo>
                    <a:pt x="292" y="159"/>
                    <a:pt x="300" y="161"/>
                    <a:pt x="299" y="160"/>
                  </a:cubicBezTo>
                  <a:cubicBezTo>
                    <a:pt x="297" y="161"/>
                    <a:pt x="295" y="159"/>
                    <a:pt x="288" y="159"/>
                  </a:cubicBezTo>
                  <a:cubicBezTo>
                    <a:pt x="288" y="159"/>
                    <a:pt x="288" y="159"/>
                    <a:pt x="288" y="159"/>
                  </a:cubicBezTo>
                  <a:cubicBezTo>
                    <a:pt x="285" y="158"/>
                    <a:pt x="285" y="157"/>
                    <a:pt x="281" y="157"/>
                  </a:cubicBezTo>
                  <a:cubicBezTo>
                    <a:pt x="280" y="158"/>
                    <a:pt x="280" y="158"/>
                    <a:pt x="280" y="158"/>
                  </a:cubicBezTo>
                  <a:cubicBezTo>
                    <a:pt x="276" y="158"/>
                    <a:pt x="276" y="155"/>
                    <a:pt x="272" y="156"/>
                  </a:cubicBezTo>
                  <a:cubicBezTo>
                    <a:pt x="271" y="155"/>
                    <a:pt x="271" y="155"/>
                    <a:pt x="271" y="155"/>
                  </a:cubicBezTo>
                  <a:cubicBezTo>
                    <a:pt x="265" y="156"/>
                    <a:pt x="267" y="154"/>
                    <a:pt x="261" y="154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58" y="153"/>
                    <a:pt x="249" y="154"/>
                    <a:pt x="249" y="152"/>
                  </a:cubicBezTo>
                  <a:cubicBezTo>
                    <a:pt x="244" y="152"/>
                    <a:pt x="239" y="151"/>
                    <a:pt x="236" y="152"/>
                  </a:cubicBezTo>
                  <a:cubicBezTo>
                    <a:pt x="236" y="151"/>
                    <a:pt x="238" y="151"/>
                    <a:pt x="239" y="151"/>
                  </a:cubicBezTo>
                  <a:cubicBezTo>
                    <a:pt x="222" y="149"/>
                    <a:pt x="205" y="145"/>
                    <a:pt x="188" y="144"/>
                  </a:cubicBezTo>
                  <a:cubicBezTo>
                    <a:pt x="188" y="143"/>
                    <a:pt x="189" y="144"/>
                    <a:pt x="190" y="143"/>
                  </a:cubicBezTo>
                  <a:cubicBezTo>
                    <a:pt x="179" y="143"/>
                    <a:pt x="175" y="139"/>
                    <a:pt x="164" y="140"/>
                  </a:cubicBezTo>
                  <a:cubicBezTo>
                    <a:pt x="160" y="140"/>
                    <a:pt x="160" y="140"/>
                    <a:pt x="160" y="140"/>
                  </a:cubicBezTo>
                  <a:cubicBezTo>
                    <a:pt x="159" y="139"/>
                    <a:pt x="160" y="139"/>
                    <a:pt x="159" y="138"/>
                  </a:cubicBezTo>
                  <a:cubicBezTo>
                    <a:pt x="156" y="139"/>
                    <a:pt x="151" y="137"/>
                    <a:pt x="148" y="138"/>
                  </a:cubicBezTo>
                  <a:cubicBezTo>
                    <a:pt x="148" y="137"/>
                    <a:pt x="150" y="137"/>
                    <a:pt x="150" y="137"/>
                  </a:cubicBezTo>
                  <a:cubicBezTo>
                    <a:pt x="147" y="136"/>
                    <a:pt x="139" y="136"/>
                    <a:pt x="136" y="135"/>
                  </a:cubicBezTo>
                  <a:cubicBezTo>
                    <a:pt x="138" y="135"/>
                    <a:pt x="138" y="135"/>
                    <a:pt x="138" y="135"/>
                  </a:cubicBezTo>
                  <a:cubicBezTo>
                    <a:pt x="122" y="130"/>
                    <a:pt x="100" y="124"/>
                    <a:pt x="79" y="123"/>
                  </a:cubicBezTo>
                  <a:cubicBezTo>
                    <a:pt x="74" y="122"/>
                    <a:pt x="80" y="122"/>
                    <a:pt x="78" y="121"/>
                  </a:cubicBezTo>
                  <a:cubicBezTo>
                    <a:pt x="58" y="120"/>
                    <a:pt x="44" y="114"/>
                    <a:pt x="23" y="113"/>
                  </a:cubicBezTo>
                  <a:cubicBezTo>
                    <a:pt x="10" y="111"/>
                    <a:pt x="0" y="113"/>
                    <a:pt x="0" y="113"/>
                  </a:cubicBezTo>
                  <a:cubicBezTo>
                    <a:pt x="31" y="117"/>
                    <a:pt x="53" y="123"/>
                    <a:pt x="78" y="130"/>
                  </a:cubicBezTo>
                  <a:close/>
                  <a:moveTo>
                    <a:pt x="656" y="33"/>
                  </a:moveTo>
                  <a:cubicBezTo>
                    <a:pt x="656" y="33"/>
                    <a:pt x="656" y="33"/>
                    <a:pt x="656" y="33"/>
                  </a:cubicBezTo>
                  <a:moveTo>
                    <a:pt x="655" y="33"/>
                  </a:moveTo>
                  <a:cubicBezTo>
                    <a:pt x="655" y="33"/>
                    <a:pt x="655" y="33"/>
                    <a:pt x="655" y="33"/>
                  </a:cubicBezTo>
                  <a:cubicBezTo>
                    <a:pt x="656" y="33"/>
                    <a:pt x="656" y="33"/>
                    <a:pt x="655" y="33"/>
                  </a:cubicBezTo>
                  <a:close/>
                  <a:moveTo>
                    <a:pt x="650" y="3"/>
                  </a:moveTo>
                  <a:cubicBezTo>
                    <a:pt x="650" y="3"/>
                    <a:pt x="650" y="4"/>
                    <a:pt x="650" y="4"/>
                  </a:cubicBezTo>
                  <a:cubicBezTo>
                    <a:pt x="650" y="4"/>
                    <a:pt x="649" y="4"/>
                    <a:pt x="648" y="5"/>
                  </a:cubicBezTo>
                  <a:cubicBezTo>
                    <a:pt x="648" y="4"/>
                    <a:pt x="648" y="3"/>
                    <a:pt x="650" y="3"/>
                  </a:cubicBezTo>
                  <a:close/>
                  <a:moveTo>
                    <a:pt x="649" y="34"/>
                  </a:moveTo>
                  <a:cubicBezTo>
                    <a:pt x="650" y="34"/>
                    <a:pt x="651" y="34"/>
                    <a:pt x="653" y="34"/>
                  </a:cubicBezTo>
                  <a:cubicBezTo>
                    <a:pt x="653" y="33"/>
                    <a:pt x="653" y="33"/>
                    <a:pt x="653" y="33"/>
                  </a:cubicBezTo>
                  <a:cubicBezTo>
                    <a:pt x="653" y="34"/>
                    <a:pt x="653" y="34"/>
                    <a:pt x="653" y="34"/>
                  </a:cubicBezTo>
                  <a:cubicBezTo>
                    <a:pt x="654" y="34"/>
                    <a:pt x="655" y="33"/>
                    <a:pt x="655" y="33"/>
                  </a:cubicBezTo>
                  <a:cubicBezTo>
                    <a:pt x="654" y="34"/>
                    <a:pt x="654" y="34"/>
                    <a:pt x="653" y="34"/>
                  </a:cubicBezTo>
                  <a:cubicBezTo>
                    <a:pt x="653" y="34"/>
                    <a:pt x="653" y="35"/>
                    <a:pt x="652" y="35"/>
                  </a:cubicBezTo>
                  <a:cubicBezTo>
                    <a:pt x="652" y="35"/>
                    <a:pt x="652" y="35"/>
                    <a:pt x="652" y="35"/>
                  </a:cubicBezTo>
                  <a:cubicBezTo>
                    <a:pt x="652" y="35"/>
                    <a:pt x="651" y="35"/>
                    <a:pt x="650" y="35"/>
                  </a:cubicBezTo>
                  <a:cubicBezTo>
                    <a:pt x="649" y="35"/>
                    <a:pt x="649" y="35"/>
                    <a:pt x="649" y="35"/>
                  </a:cubicBezTo>
                  <a:cubicBezTo>
                    <a:pt x="647" y="36"/>
                    <a:pt x="650" y="36"/>
                    <a:pt x="648" y="37"/>
                  </a:cubicBezTo>
                  <a:cubicBezTo>
                    <a:pt x="646" y="37"/>
                    <a:pt x="644" y="37"/>
                    <a:pt x="643" y="37"/>
                  </a:cubicBezTo>
                  <a:cubicBezTo>
                    <a:pt x="643" y="36"/>
                    <a:pt x="646" y="35"/>
                    <a:pt x="640" y="34"/>
                  </a:cubicBezTo>
                  <a:cubicBezTo>
                    <a:pt x="644" y="33"/>
                    <a:pt x="649" y="35"/>
                    <a:pt x="649" y="34"/>
                  </a:cubicBezTo>
                  <a:close/>
                  <a:moveTo>
                    <a:pt x="539" y="91"/>
                  </a:moveTo>
                  <a:cubicBezTo>
                    <a:pt x="541" y="91"/>
                    <a:pt x="537" y="92"/>
                    <a:pt x="538" y="92"/>
                  </a:cubicBezTo>
                  <a:cubicBezTo>
                    <a:pt x="537" y="92"/>
                    <a:pt x="535" y="93"/>
                    <a:pt x="535" y="92"/>
                  </a:cubicBezTo>
                  <a:cubicBezTo>
                    <a:pt x="538" y="92"/>
                    <a:pt x="539" y="91"/>
                    <a:pt x="539" y="9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68" name="矩形 67">
            <a:extLst>
              <a:ext uri="{FF2B5EF4-FFF2-40B4-BE49-F238E27FC236}">
                <a16:creationId xmlns:a16="http://schemas.microsoft.com/office/drawing/2014/main" id="{072EEBA1-948E-4DC5-B0C3-09CE26D909DE}"/>
              </a:ext>
            </a:extLst>
          </p:cNvPr>
          <p:cNvSpPr/>
          <p:nvPr/>
        </p:nvSpPr>
        <p:spPr>
          <a:xfrm>
            <a:off x="669925" y="2211349"/>
            <a:ext cx="3447888" cy="7379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lc="http://schemas.openxmlformats.org/drawingml/2006/lockedCanvas" xmlns="" val="1"/>
            </a:ext>
          </a:extLst>
        </p:spPr>
        <p:txBody>
          <a:bodyPr wrap="square" lIns="91440" tIns="45720" rIns="91440" bIns="4572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Copy paste fonts. Choose the only option to retain text…...</a:t>
            </a: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A1978845-C76E-4628-AB71-3B711D7E3059}"/>
              </a:ext>
            </a:extLst>
          </p:cNvPr>
          <p:cNvSpPr/>
          <p:nvPr/>
        </p:nvSpPr>
        <p:spPr>
          <a:xfrm>
            <a:off x="669925" y="1825076"/>
            <a:ext cx="3464695" cy="37373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a16="http://schemas.microsoft.com/office/drawing/2014/main" xmlns:p14="http://schemas.microsoft.com/office/powerpoint/2010/main" xmlns:ma14="http://schemas.microsoft.com/office/mac/drawingml/2011/main" xmlns:a14="http://schemas.microsoft.com/office/drawing/2010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grpSp>
        <p:nvGrpSpPr>
          <p:cNvPr id="70" name="组合 69">
            <a:extLst>
              <a:ext uri="{FF2B5EF4-FFF2-40B4-BE49-F238E27FC236}">
                <a16:creationId xmlns:a16="http://schemas.microsoft.com/office/drawing/2014/main" id="{C45F9906-2B1D-4A2E-8D1C-1AFF3F6A5393}"/>
              </a:ext>
            </a:extLst>
          </p:cNvPr>
          <p:cNvGrpSpPr/>
          <p:nvPr/>
        </p:nvGrpSpPr>
        <p:grpSpPr>
          <a:xfrm>
            <a:off x="3227749" y="3071763"/>
            <a:ext cx="1462846" cy="890064"/>
            <a:chOff x="2169960" y="3071763"/>
            <a:chExt cx="1462846" cy="890064"/>
          </a:xfrm>
        </p:grpSpPr>
        <p:sp>
          <p:nvSpPr>
            <p:cNvPr id="94" name="椭圆 93">
              <a:extLst>
                <a:ext uri="{FF2B5EF4-FFF2-40B4-BE49-F238E27FC236}">
                  <a16:creationId xmlns:a16="http://schemas.microsoft.com/office/drawing/2014/main" id="{D10C985D-1177-4B4F-B437-973E98C3F909}"/>
                </a:ext>
              </a:extLst>
            </p:cNvPr>
            <p:cNvSpPr/>
            <p:nvPr/>
          </p:nvSpPr>
          <p:spPr>
            <a:xfrm>
              <a:off x="2169960" y="3071763"/>
              <a:ext cx="890064" cy="890064"/>
            </a:xfrm>
            <a:prstGeom prst="ellipse">
              <a:avLst/>
            </a:prstGeom>
            <a:solidFill>
              <a:schemeClr val="accent1">
                <a:lumMod val="100000"/>
              </a:schemeClr>
            </a:solidFill>
            <a:ln w="9525">
              <a:noFill/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547322F8-628C-492B-9AFD-88EED26ED528}"/>
                </a:ext>
              </a:extLst>
            </p:cNvPr>
            <p:cNvSpPr/>
            <p:nvPr/>
          </p:nvSpPr>
          <p:spPr>
            <a:xfrm>
              <a:off x="2451289" y="3238588"/>
              <a:ext cx="327404" cy="557897"/>
            </a:xfrm>
            <a:custGeom>
              <a:avLst/>
              <a:gdLst>
                <a:gd name="connsiteX0" fmla="*/ 99219 w 198438"/>
                <a:gd name="connsiteY0" fmla="*/ 288925 h 338138"/>
                <a:gd name="connsiteX1" fmla="*/ 84137 w 198438"/>
                <a:gd name="connsiteY1" fmla="*/ 302419 h 338138"/>
                <a:gd name="connsiteX2" fmla="*/ 99219 w 198438"/>
                <a:gd name="connsiteY2" fmla="*/ 315913 h 338138"/>
                <a:gd name="connsiteX3" fmla="*/ 114301 w 198438"/>
                <a:gd name="connsiteY3" fmla="*/ 302419 h 338138"/>
                <a:gd name="connsiteX4" fmla="*/ 99219 w 198438"/>
                <a:gd name="connsiteY4" fmla="*/ 288925 h 338138"/>
                <a:gd name="connsiteX5" fmla="*/ 14287 w 198438"/>
                <a:gd name="connsiteY5" fmla="*/ 69850 h 338138"/>
                <a:gd name="connsiteX6" fmla="*/ 14287 w 198438"/>
                <a:gd name="connsiteY6" fmla="*/ 268288 h 338138"/>
                <a:gd name="connsiteX7" fmla="*/ 184150 w 198438"/>
                <a:gd name="connsiteY7" fmla="*/ 268288 h 338138"/>
                <a:gd name="connsiteX8" fmla="*/ 184150 w 198438"/>
                <a:gd name="connsiteY8" fmla="*/ 69850 h 338138"/>
                <a:gd name="connsiteX9" fmla="*/ 63723 w 198438"/>
                <a:gd name="connsiteY9" fmla="*/ 28575 h 338138"/>
                <a:gd name="connsiteX10" fmla="*/ 57150 w 198438"/>
                <a:gd name="connsiteY10" fmla="*/ 36368 h 338138"/>
                <a:gd name="connsiteX11" fmla="*/ 63723 w 198438"/>
                <a:gd name="connsiteY11" fmla="*/ 42863 h 338138"/>
                <a:gd name="connsiteX12" fmla="*/ 134715 w 198438"/>
                <a:gd name="connsiteY12" fmla="*/ 42863 h 338138"/>
                <a:gd name="connsiteX13" fmla="*/ 141288 w 198438"/>
                <a:gd name="connsiteY13" fmla="*/ 36368 h 338138"/>
                <a:gd name="connsiteX14" fmla="*/ 134715 w 198438"/>
                <a:gd name="connsiteY14" fmla="*/ 28575 h 338138"/>
                <a:gd name="connsiteX15" fmla="*/ 63723 w 198438"/>
                <a:gd name="connsiteY15" fmla="*/ 28575 h 338138"/>
                <a:gd name="connsiteX16" fmla="*/ 35719 w 198438"/>
                <a:gd name="connsiteY16" fmla="*/ 0 h 338138"/>
                <a:gd name="connsiteX17" fmla="*/ 162719 w 198438"/>
                <a:gd name="connsiteY17" fmla="*/ 0 h 338138"/>
                <a:gd name="connsiteX18" fmla="*/ 198438 w 198438"/>
                <a:gd name="connsiteY18" fmla="*/ 35663 h 338138"/>
                <a:gd name="connsiteX19" fmla="*/ 198438 w 198438"/>
                <a:gd name="connsiteY19" fmla="*/ 302475 h 338138"/>
                <a:gd name="connsiteX20" fmla="*/ 162719 w 198438"/>
                <a:gd name="connsiteY20" fmla="*/ 338138 h 338138"/>
                <a:gd name="connsiteX21" fmla="*/ 35719 w 198438"/>
                <a:gd name="connsiteY21" fmla="*/ 338138 h 338138"/>
                <a:gd name="connsiteX22" fmla="*/ 0 w 198438"/>
                <a:gd name="connsiteY22" fmla="*/ 302475 h 338138"/>
                <a:gd name="connsiteX23" fmla="*/ 0 w 198438"/>
                <a:gd name="connsiteY23" fmla="*/ 35663 h 338138"/>
                <a:gd name="connsiteX24" fmla="*/ 35719 w 198438"/>
                <a:gd name="connsiteY24" fmla="*/ 0 h 338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98438" h="338138">
                  <a:moveTo>
                    <a:pt x="99219" y="288925"/>
                  </a:moveTo>
                  <a:cubicBezTo>
                    <a:pt x="90889" y="288925"/>
                    <a:pt x="84137" y="294966"/>
                    <a:pt x="84137" y="302419"/>
                  </a:cubicBezTo>
                  <a:cubicBezTo>
                    <a:pt x="84137" y="309872"/>
                    <a:pt x="90889" y="315913"/>
                    <a:pt x="99219" y="315913"/>
                  </a:cubicBezTo>
                  <a:cubicBezTo>
                    <a:pt x="107549" y="315913"/>
                    <a:pt x="114301" y="309872"/>
                    <a:pt x="114301" y="302419"/>
                  </a:cubicBezTo>
                  <a:cubicBezTo>
                    <a:pt x="114301" y="294966"/>
                    <a:pt x="107549" y="288925"/>
                    <a:pt x="99219" y="288925"/>
                  </a:cubicBezTo>
                  <a:close/>
                  <a:moveTo>
                    <a:pt x="14287" y="69850"/>
                  </a:moveTo>
                  <a:lnTo>
                    <a:pt x="14287" y="268288"/>
                  </a:lnTo>
                  <a:lnTo>
                    <a:pt x="184150" y="268288"/>
                  </a:lnTo>
                  <a:lnTo>
                    <a:pt x="184150" y="69850"/>
                  </a:lnTo>
                  <a:close/>
                  <a:moveTo>
                    <a:pt x="63723" y="28575"/>
                  </a:moveTo>
                  <a:cubicBezTo>
                    <a:pt x="59779" y="28575"/>
                    <a:pt x="57150" y="32472"/>
                    <a:pt x="57150" y="36368"/>
                  </a:cubicBezTo>
                  <a:cubicBezTo>
                    <a:pt x="57150" y="40265"/>
                    <a:pt x="59779" y="42863"/>
                    <a:pt x="63723" y="42863"/>
                  </a:cubicBezTo>
                  <a:cubicBezTo>
                    <a:pt x="63723" y="42863"/>
                    <a:pt x="63723" y="42863"/>
                    <a:pt x="134715" y="42863"/>
                  </a:cubicBezTo>
                  <a:cubicBezTo>
                    <a:pt x="138659" y="42863"/>
                    <a:pt x="141288" y="40265"/>
                    <a:pt x="141288" y="36368"/>
                  </a:cubicBezTo>
                  <a:cubicBezTo>
                    <a:pt x="141288" y="32472"/>
                    <a:pt x="138659" y="28575"/>
                    <a:pt x="134715" y="28575"/>
                  </a:cubicBezTo>
                  <a:cubicBezTo>
                    <a:pt x="134715" y="28575"/>
                    <a:pt x="134715" y="28575"/>
                    <a:pt x="63723" y="28575"/>
                  </a:cubicBezTo>
                  <a:close/>
                  <a:moveTo>
                    <a:pt x="35719" y="0"/>
                  </a:moveTo>
                  <a:cubicBezTo>
                    <a:pt x="35719" y="0"/>
                    <a:pt x="35719" y="0"/>
                    <a:pt x="162719" y="0"/>
                  </a:cubicBezTo>
                  <a:cubicBezTo>
                    <a:pt x="182563" y="0"/>
                    <a:pt x="198438" y="15850"/>
                    <a:pt x="198438" y="35663"/>
                  </a:cubicBezTo>
                  <a:cubicBezTo>
                    <a:pt x="198438" y="35663"/>
                    <a:pt x="198438" y="35663"/>
                    <a:pt x="198438" y="302475"/>
                  </a:cubicBezTo>
                  <a:cubicBezTo>
                    <a:pt x="198438" y="322288"/>
                    <a:pt x="182563" y="338138"/>
                    <a:pt x="162719" y="338138"/>
                  </a:cubicBezTo>
                  <a:cubicBezTo>
                    <a:pt x="162719" y="338138"/>
                    <a:pt x="162719" y="338138"/>
                    <a:pt x="35719" y="338138"/>
                  </a:cubicBezTo>
                  <a:cubicBezTo>
                    <a:pt x="15875" y="338138"/>
                    <a:pt x="0" y="322288"/>
                    <a:pt x="0" y="302475"/>
                  </a:cubicBezTo>
                  <a:cubicBezTo>
                    <a:pt x="0" y="302475"/>
                    <a:pt x="0" y="302475"/>
                    <a:pt x="0" y="35663"/>
                  </a:cubicBezTo>
                  <a:cubicBezTo>
                    <a:pt x="0" y="15850"/>
                    <a:pt x="15875" y="0"/>
                    <a:pt x="35719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miter lim="400000"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cxnSp>
          <p:nvCxnSpPr>
            <p:cNvPr id="96" name="直接箭头连接符 95">
              <a:extLst>
                <a:ext uri="{FF2B5EF4-FFF2-40B4-BE49-F238E27FC236}">
                  <a16:creationId xmlns:a16="http://schemas.microsoft.com/office/drawing/2014/main" id="{87F9680A-F73C-41A7-91B9-539EC7C5A618}"/>
                </a:ext>
              </a:extLst>
            </p:cNvPr>
            <p:cNvCxnSpPr>
              <a:cxnSpLocks/>
              <a:stCxn id="94" idx="6"/>
            </p:cNvCxnSpPr>
            <p:nvPr/>
          </p:nvCxnSpPr>
          <p:spPr>
            <a:xfrm>
              <a:off x="3060024" y="3516795"/>
              <a:ext cx="572782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矩形 70">
            <a:extLst>
              <a:ext uri="{FF2B5EF4-FFF2-40B4-BE49-F238E27FC236}">
                <a16:creationId xmlns:a16="http://schemas.microsoft.com/office/drawing/2014/main" id="{B8BC72F0-782B-4C75-941D-8CC4C797876B}"/>
              </a:ext>
            </a:extLst>
          </p:cNvPr>
          <p:cNvSpPr/>
          <p:nvPr/>
        </p:nvSpPr>
        <p:spPr bwMode="auto">
          <a:xfrm>
            <a:off x="7332551" y="1961489"/>
            <a:ext cx="4186349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C30F0D7A-11F9-4D64-9D98-C2AD4A933ECD}"/>
              </a:ext>
            </a:extLst>
          </p:cNvPr>
          <p:cNvSpPr/>
          <p:nvPr/>
        </p:nvSpPr>
        <p:spPr bwMode="auto">
          <a:xfrm>
            <a:off x="7332551" y="2549529"/>
            <a:ext cx="4186349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73" name="矩形 72">
            <a:extLst>
              <a:ext uri="{FF2B5EF4-FFF2-40B4-BE49-F238E27FC236}">
                <a16:creationId xmlns:a16="http://schemas.microsoft.com/office/drawing/2014/main" id="{10AD500C-2D1D-489D-AB3E-D3231CE57A6E}"/>
              </a:ext>
            </a:extLst>
          </p:cNvPr>
          <p:cNvSpPr/>
          <p:nvPr/>
        </p:nvSpPr>
        <p:spPr bwMode="auto">
          <a:xfrm>
            <a:off x="7332551" y="3137569"/>
            <a:ext cx="4186349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16E2901F-AEA7-47D6-A089-C6C9BC694425}"/>
              </a:ext>
            </a:extLst>
          </p:cNvPr>
          <p:cNvSpPr/>
          <p:nvPr/>
        </p:nvSpPr>
        <p:spPr bwMode="auto">
          <a:xfrm>
            <a:off x="7332551" y="3725609"/>
            <a:ext cx="4186349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75" name="矩形 74">
            <a:extLst>
              <a:ext uri="{FF2B5EF4-FFF2-40B4-BE49-F238E27FC236}">
                <a16:creationId xmlns:a16="http://schemas.microsoft.com/office/drawing/2014/main" id="{775E02B6-02BF-4E2B-AC4E-65357122EB75}"/>
              </a:ext>
            </a:extLst>
          </p:cNvPr>
          <p:cNvSpPr/>
          <p:nvPr/>
        </p:nvSpPr>
        <p:spPr bwMode="auto">
          <a:xfrm>
            <a:off x="7332551" y="4313649"/>
            <a:ext cx="4186349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99D82066-DDC2-4FB8-B4C6-4DB02F95D828}"/>
              </a:ext>
            </a:extLst>
          </p:cNvPr>
          <p:cNvSpPr/>
          <p:nvPr/>
        </p:nvSpPr>
        <p:spPr bwMode="auto">
          <a:xfrm>
            <a:off x="7332551" y="4901687"/>
            <a:ext cx="4186349" cy="401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cxnSp>
        <p:nvCxnSpPr>
          <p:cNvPr id="77" name="直接连接符 76">
            <a:extLst>
              <a:ext uri="{FF2B5EF4-FFF2-40B4-BE49-F238E27FC236}">
                <a16:creationId xmlns:a16="http://schemas.microsoft.com/office/drawing/2014/main" id="{BB154CBF-7656-4E92-A08E-EE2CBE286B45}"/>
              </a:ext>
            </a:extLst>
          </p:cNvPr>
          <p:cNvCxnSpPr/>
          <p:nvPr/>
        </p:nvCxnSpPr>
        <p:spPr>
          <a:xfrm>
            <a:off x="6972552" y="2456121"/>
            <a:ext cx="45463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直接连接符 77">
            <a:extLst>
              <a:ext uri="{FF2B5EF4-FFF2-40B4-BE49-F238E27FC236}">
                <a16:creationId xmlns:a16="http://schemas.microsoft.com/office/drawing/2014/main" id="{E9AD3B3A-4856-4099-86D0-D8C601D86943}"/>
              </a:ext>
            </a:extLst>
          </p:cNvPr>
          <p:cNvCxnSpPr/>
          <p:nvPr/>
        </p:nvCxnSpPr>
        <p:spPr>
          <a:xfrm>
            <a:off x="6972552" y="3044161"/>
            <a:ext cx="45463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直接连接符 78">
            <a:extLst>
              <a:ext uri="{FF2B5EF4-FFF2-40B4-BE49-F238E27FC236}">
                <a16:creationId xmlns:a16="http://schemas.microsoft.com/office/drawing/2014/main" id="{C6DD57C3-45A0-4B18-9F5C-F0A4D3CAE55A}"/>
              </a:ext>
            </a:extLst>
          </p:cNvPr>
          <p:cNvCxnSpPr/>
          <p:nvPr/>
        </p:nvCxnSpPr>
        <p:spPr>
          <a:xfrm>
            <a:off x="6972552" y="3632201"/>
            <a:ext cx="45463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直接连接符 79">
            <a:extLst>
              <a:ext uri="{FF2B5EF4-FFF2-40B4-BE49-F238E27FC236}">
                <a16:creationId xmlns:a16="http://schemas.microsoft.com/office/drawing/2014/main" id="{3589F396-117F-4EFA-9F16-FBE8BCF97484}"/>
              </a:ext>
            </a:extLst>
          </p:cNvPr>
          <p:cNvCxnSpPr/>
          <p:nvPr/>
        </p:nvCxnSpPr>
        <p:spPr>
          <a:xfrm>
            <a:off x="6972552" y="4220241"/>
            <a:ext cx="45463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直接连接符 80">
            <a:extLst>
              <a:ext uri="{FF2B5EF4-FFF2-40B4-BE49-F238E27FC236}">
                <a16:creationId xmlns:a16="http://schemas.microsoft.com/office/drawing/2014/main" id="{A6F3EC0F-3855-4036-99D2-3406EFF302D7}"/>
              </a:ext>
            </a:extLst>
          </p:cNvPr>
          <p:cNvCxnSpPr/>
          <p:nvPr/>
        </p:nvCxnSpPr>
        <p:spPr>
          <a:xfrm>
            <a:off x="6972552" y="4808280"/>
            <a:ext cx="454634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任意多边形: 形状 81">
            <a:extLst>
              <a:ext uri="{FF2B5EF4-FFF2-40B4-BE49-F238E27FC236}">
                <a16:creationId xmlns:a16="http://schemas.microsoft.com/office/drawing/2014/main" id="{48C868B2-E9DF-45DB-A799-19B714B24172}"/>
              </a:ext>
            </a:extLst>
          </p:cNvPr>
          <p:cNvSpPr/>
          <p:nvPr/>
        </p:nvSpPr>
        <p:spPr>
          <a:xfrm>
            <a:off x="7038975" y="2043564"/>
            <a:ext cx="251816" cy="2370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B0763ACD-700B-4007-BCF4-5072434CC901}"/>
              </a:ext>
            </a:extLst>
          </p:cNvPr>
          <p:cNvSpPr/>
          <p:nvPr/>
        </p:nvSpPr>
        <p:spPr>
          <a:xfrm>
            <a:off x="7038975" y="3219644"/>
            <a:ext cx="251816" cy="2370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4" name="任意多边形: 形状 83">
            <a:extLst>
              <a:ext uri="{FF2B5EF4-FFF2-40B4-BE49-F238E27FC236}">
                <a16:creationId xmlns:a16="http://schemas.microsoft.com/office/drawing/2014/main" id="{95E3C039-F3E0-4C65-B298-A7C8CE74A6F5}"/>
              </a:ext>
            </a:extLst>
          </p:cNvPr>
          <p:cNvSpPr/>
          <p:nvPr/>
        </p:nvSpPr>
        <p:spPr>
          <a:xfrm>
            <a:off x="7038975" y="4395724"/>
            <a:ext cx="251816" cy="2370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85" name="组合 84">
            <a:extLst>
              <a:ext uri="{FF2B5EF4-FFF2-40B4-BE49-F238E27FC236}">
                <a16:creationId xmlns:a16="http://schemas.microsoft.com/office/drawing/2014/main" id="{58BBDD01-A537-4444-96F4-AE22D867B871}"/>
              </a:ext>
            </a:extLst>
          </p:cNvPr>
          <p:cNvGrpSpPr/>
          <p:nvPr/>
        </p:nvGrpSpPr>
        <p:grpSpPr>
          <a:xfrm>
            <a:off x="7038975" y="4983764"/>
            <a:ext cx="251816" cy="237074"/>
            <a:chOff x="0" y="0"/>
            <a:chExt cx="767929" cy="767929"/>
          </a:xfrm>
        </p:grpSpPr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1DB52480-0E30-4A5B-AC7D-7105C11C984A}"/>
                </a:ext>
              </a:extLst>
            </p:cNvPr>
            <p:cNvSpPr/>
            <p:nvPr/>
          </p:nvSpPr>
          <p:spPr>
            <a:xfrm>
              <a:off x="0" y="0"/>
              <a:ext cx="767929" cy="76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8C2AFE44-FA51-40B5-8038-C23B249E2E0E}"/>
                </a:ext>
              </a:extLst>
            </p:cNvPr>
            <p:cNvSpPr/>
            <p:nvPr/>
          </p:nvSpPr>
          <p:spPr>
            <a:xfrm>
              <a:off x="234638" y="227334"/>
              <a:ext cx="298653" cy="3132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4" h="21302" extrusionOk="0">
                  <a:moveTo>
                    <a:pt x="7816" y="21302"/>
                  </a:moveTo>
                  <a:cubicBezTo>
                    <a:pt x="7132" y="21302"/>
                    <a:pt x="6483" y="20993"/>
                    <a:pt x="6068" y="20461"/>
                  </a:cubicBezTo>
                  <a:lnTo>
                    <a:pt x="445" y="13277"/>
                  </a:lnTo>
                  <a:cubicBezTo>
                    <a:pt x="-287" y="12344"/>
                    <a:pt x="-97" y="11016"/>
                    <a:pt x="870" y="10308"/>
                  </a:cubicBezTo>
                  <a:cubicBezTo>
                    <a:pt x="1838" y="9597"/>
                    <a:pt x="3211" y="9785"/>
                    <a:pt x="3943" y="10719"/>
                  </a:cubicBezTo>
                  <a:lnTo>
                    <a:pt x="7643" y="15442"/>
                  </a:lnTo>
                  <a:lnTo>
                    <a:pt x="16946" y="999"/>
                  </a:lnTo>
                  <a:cubicBezTo>
                    <a:pt x="17586" y="6"/>
                    <a:pt x="18940" y="-298"/>
                    <a:pt x="19969" y="321"/>
                  </a:cubicBezTo>
                  <a:cubicBezTo>
                    <a:pt x="20997" y="939"/>
                    <a:pt x="21313" y="2248"/>
                    <a:pt x="20671" y="3243"/>
                  </a:cubicBezTo>
                  <a:lnTo>
                    <a:pt x="9680" y="20301"/>
                  </a:lnTo>
                  <a:cubicBezTo>
                    <a:pt x="9299" y="20896"/>
                    <a:pt x="8639" y="21267"/>
                    <a:pt x="7917" y="21299"/>
                  </a:cubicBezTo>
                  <a:cubicBezTo>
                    <a:pt x="7882" y="21302"/>
                    <a:pt x="7851" y="21302"/>
                    <a:pt x="7816" y="2130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86" name="组合 85">
            <a:extLst>
              <a:ext uri="{FF2B5EF4-FFF2-40B4-BE49-F238E27FC236}">
                <a16:creationId xmlns:a16="http://schemas.microsoft.com/office/drawing/2014/main" id="{37BAE2A8-E2F9-45EE-907A-E1A867234ECF}"/>
              </a:ext>
            </a:extLst>
          </p:cNvPr>
          <p:cNvGrpSpPr/>
          <p:nvPr/>
        </p:nvGrpSpPr>
        <p:grpSpPr>
          <a:xfrm>
            <a:off x="7038975" y="3807684"/>
            <a:ext cx="251816" cy="237074"/>
            <a:chOff x="0" y="0"/>
            <a:chExt cx="767929" cy="767929"/>
          </a:xfrm>
        </p:grpSpPr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A6F76C4-B5B3-4854-B604-2FB061BEAE65}"/>
                </a:ext>
              </a:extLst>
            </p:cNvPr>
            <p:cNvSpPr/>
            <p:nvPr/>
          </p:nvSpPr>
          <p:spPr>
            <a:xfrm>
              <a:off x="0" y="0"/>
              <a:ext cx="767929" cy="76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2600CB25-760A-4C38-8255-E3BD852C9CA8}"/>
                </a:ext>
              </a:extLst>
            </p:cNvPr>
            <p:cNvSpPr/>
            <p:nvPr/>
          </p:nvSpPr>
          <p:spPr>
            <a:xfrm>
              <a:off x="234638" y="227334"/>
              <a:ext cx="298653" cy="3132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4" h="21302" extrusionOk="0">
                  <a:moveTo>
                    <a:pt x="7816" y="21302"/>
                  </a:moveTo>
                  <a:cubicBezTo>
                    <a:pt x="7132" y="21302"/>
                    <a:pt x="6483" y="20993"/>
                    <a:pt x="6068" y="20461"/>
                  </a:cubicBezTo>
                  <a:lnTo>
                    <a:pt x="445" y="13277"/>
                  </a:lnTo>
                  <a:cubicBezTo>
                    <a:pt x="-287" y="12344"/>
                    <a:pt x="-97" y="11016"/>
                    <a:pt x="870" y="10308"/>
                  </a:cubicBezTo>
                  <a:cubicBezTo>
                    <a:pt x="1838" y="9597"/>
                    <a:pt x="3211" y="9785"/>
                    <a:pt x="3943" y="10719"/>
                  </a:cubicBezTo>
                  <a:lnTo>
                    <a:pt x="7643" y="15442"/>
                  </a:lnTo>
                  <a:lnTo>
                    <a:pt x="16946" y="999"/>
                  </a:lnTo>
                  <a:cubicBezTo>
                    <a:pt x="17586" y="6"/>
                    <a:pt x="18940" y="-298"/>
                    <a:pt x="19969" y="321"/>
                  </a:cubicBezTo>
                  <a:cubicBezTo>
                    <a:pt x="20997" y="939"/>
                    <a:pt x="21313" y="2248"/>
                    <a:pt x="20671" y="3243"/>
                  </a:cubicBezTo>
                  <a:lnTo>
                    <a:pt x="9680" y="20301"/>
                  </a:lnTo>
                  <a:cubicBezTo>
                    <a:pt x="9299" y="20896"/>
                    <a:pt x="8639" y="21267"/>
                    <a:pt x="7917" y="21299"/>
                  </a:cubicBezTo>
                  <a:cubicBezTo>
                    <a:pt x="7882" y="21302"/>
                    <a:pt x="7851" y="21302"/>
                    <a:pt x="7816" y="2130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87" name="组合 86">
            <a:extLst>
              <a:ext uri="{FF2B5EF4-FFF2-40B4-BE49-F238E27FC236}">
                <a16:creationId xmlns:a16="http://schemas.microsoft.com/office/drawing/2014/main" id="{75CEC95D-523E-4CBF-A433-4075DC27F834}"/>
              </a:ext>
            </a:extLst>
          </p:cNvPr>
          <p:cNvGrpSpPr/>
          <p:nvPr/>
        </p:nvGrpSpPr>
        <p:grpSpPr>
          <a:xfrm>
            <a:off x="7038975" y="2631604"/>
            <a:ext cx="251816" cy="237074"/>
            <a:chOff x="0" y="0"/>
            <a:chExt cx="767929" cy="767929"/>
          </a:xfrm>
        </p:grpSpPr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DD6C5E7-F53C-45E2-8D52-5FED925D5257}"/>
                </a:ext>
              </a:extLst>
            </p:cNvPr>
            <p:cNvSpPr/>
            <p:nvPr/>
          </p:nvSpPr>
          <p:spPr>
            <a:xfrm>
              <a:off x="0" y="0"/>
              <a:ext cx="767929" cy="76792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19679" extrusionOk="0">
                  <a:moveTo>
                    <a:pt x="16796" y="2882"/>
                  </a:moveTo>
                  <a:cubicBezTo>
                    <a:pt x="20639" y="6724"/>
                    <a:pt x="20639" y="12954"/>
                    <a:pt x="16796" y="16796"/>
                  </a:cubicBezTo>
                  <a:cubicBezTo>
                    <a:pt x="12954" y="20639"/>
                    <a:pt x="6724" y="20639"/>
                    <a:pt x="2882" y="16796"/>
                  </a:cubicBezTo>
                  <a:cubicBezTo>
                    <a:pt x="-961" y="12954"/>
                    <a:pt x="-961" y="6724"/>
                    <a:pt x="2882" y="2882"/>
                  </a:cubicBezTo>
                  <a:cubicBezTo>
                    <a:pt x="6724" y="-961"/>
                    <a:pt x="12954" y="-961"/>
                    <a:pt x="16796" y="2882"/>
                  </a:cubicBez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DD29EB93-D2FD-4A1C-8BBE-891E6B5E4B66}"/>
                </a:ext>
              </a:extLst>
            </p:cNvPr>
            <p:cNvSpPr/>
            <p:nvPr/>
          </p:nvSpPr>
          <p:spPr>
            <a:xfrm>
              <a:off x="234638" y="227334"/>
              <a:ext cx="298653" cy="3132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004" h="21302" extrusionOk="0">
                  <a:moveTo>
                    <a:pt x="7816" y="21302"/>
                  </a:moveTo>
                  <a:cubicBezTo>
                    <a:pt x="7132" y="21302"/>
                    <a:pt x="6483" y="20993"/>
                    <a:pt x="6068" y="20461"/>
                  </a:cubicBezTo>
                  <a:lnTo>
                    <a:pt x="445" y="13277"/>
                  </a:lnTo>
                  <a:cubicBezTo>
                    <a:pt x="-287" y="12344"/>
                    <a:pt x="-97" y="11016"/>
                    <a:pt x="870" y="10308"/>
                  </a:cubicBezTo>
                  <a:cubicBezTo>
                    <a:pt x="1838" y="9597"/>
                    <a:pt x="3211" y="9785"/>
                    <a:pt x="3943" y="10719"/>
                  </a:cubicBezTo>
                  <a:lnTo>
                    <a:pt x="7643" y="15442"/>
                  </a:lnTo>
                  <a:lnTo>
                    <a:pt x="16946" y="999"/>
                  </a:lnTo>
                  <a:cubicBezTo>
                    <a:pt x="17586" y="6"/>
                    <a:pt x="18940" y="-298"/>
                    <a:pt x="19969" y="321"/>
                  </a:cubicBezTo>
                  <a:cubicBezTo>
                    <a:pt x="20997" y="939"/>
                    <a:pt x="21313" y="2248"/>
                    <a:pt x="20671" y="3243"/>
                  </a:cubicBezTo>
                  <a:lnTo>
                    <a:pt x="9680" y="20301"/>
                  </a:lnTo>
                  <a:cubicBezTo>
                    <a:pt x="9299" y="20896"/>
                    <a:pt x="8639" y="21267"/>
                    <a:pt x="7917" y="21299"/>
                  </a:cubicBezTo>
                  <a:cubicBezTo>
                    <a:pt x="7882" y="21302"/>
                    <a:pt x="7851" y="21302"/>
                    <a:pt x="7816" y="2130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631798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428D96F-BC14-40F6-AA1C-D60F81248D03}"/>
              </a:ext>
            </a:extLst>
          </p:cNvPr>
          <p:cNvSpPr/>
          <p:nvPr/>
        </p:nvSpPr>
        <p:spPr bwMode="auto">
          <a:xfrm>
            <a:off x="3727014" y="3375497"/>
            <a:ext cx="7688588" cy="71009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5" name="组合 54">
            <a:extLst>
              <a:ext uri="{FF2B5EF4-FFF2-40B4-BE49-F238E27FC236}">
                <a16:creationId xmlns:a16="http://schemas.microsoft.com/office/drawing/2014/main" id="{4DF2512D-45E8-C9DD-D89D-023D81ACF0DA}"/>
              </a:ext>
            </a:extLst>
          </p:cNvPr>
          <p:cNvGrpSpPr/>
          <p:nvPr/>
        </p:nvGrpSpPr>
        <p:grpSpPr>
          <a:xfrm>
            <a:off x="776399" y="2455095"/>
            <a:ext cx="3900871" cy="2122391"/>
            <a:chOff x="776399" y="2455095"/>
            <a:chExt cx="3900871" cy="2122391"/>
          </a:xfrm>
        </p:grpSpPr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9F6D91E7-97FF-48D3-8DB9-C4FD3363539F}"/>
                </a:ext>
              </a:extLst>
            </p:cNvPr>
            <p:cNvSpPr/>
            <p:nvPr/>
          </p:nvSpPr>
          <p:spPr>
            <a:xfrm>
              <a:off x="1348667" y="3999969"/>
              <a:ext cx="367512" cy="577517"/>
            </a:xfrm>
            <a:custGeom>
              <a:avLst/>
              <a:gdLst>
                <a:gd name="connsiteX0" fmla="*/ 63341 w 266700"/>
                <a:gd name="connsiteY0" fmla="*/ 7144 h 419100"/>
                <a:gd name="connsiteX1" fmla="*/ 266224 w 266700"/>
                <a:gd name="connsiteY1" fmla="*/ 210026 h 419100"/>
                <a:gd name="connsiteX2" fmla="*/ 63341 w 266700"/>
                <a:gd name="connsiteY2" fmla="*/ 412909 h 419100"/>
                <a:gd name="connsiteX3" fmla="*/ 7144 w 266700"/>
                <a:gd name="connsiteY3" fmla="*/ 412909 h 419100"/>
                <a:gd name="connsiteX4" fmla="*/ 7144 w 266700"/>
                <a:gd name="connsiteY4" fmla="*/ 8096 h 419100"/>
                <a:gd name="connsiteX5" fmla="*/ 63341 w 266700"/>
                <a:gd name="connsiteY5" fmla="*/ 809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419100">
                  <a:moveTo>
                    <a:pt x="63341" y="7144"/>
                  </a:moveTo>
                  <a:cubicBezTo>
                    <a:pt x="174784" y="7144"/>
                    <a:pt x="266224" y="97631"/>
                    <a:pt x="266224" y="210026"/>
                  </a:cubicBezTo>
                  <a:cubicBezTo>
                    <a:pt x="266224" y="321469"/>
                    <a:pt x="175736" y="412909"/>
                    <a:pt x="63341" y="412909"/>
                  </a:cubicBezTo>
                  <a:lnTo>
                    <a:pt x="7144" y="412909"/>
                  </a:lnTo>
                  <a:lnTo>
                    <a:pt x="7144" y="8096"/>
                  </a:lnTo>
                  <a:lnTo>
                    <a:pt x="63341" y="8096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AC9DD5B3-520B-4941-948D-2A81F3C7ACE6}"/>
                </a:ext>
              </a:extLst>
            </p:cNvPr>
            <p:cNvSpPr/>
            <p:nvPr/>
          </p:nvSpPr>
          <p:spPr>
            <a:xfrm>
              <a:off x="2805586" y="3999969"/>
              <a:ext cx="367512" cy="577517"/>
            </a:xfrm>
            <a:custGeom>
              <a:avLst/>
              <a:gdLst>
                <a:gd name="connsiteX0" fmla="*/ 63341 w 266700"/>
                <a:gd name="connsiteY0" fmla="*/ 7144 h 419100"/>
                <a:gd name="connsiteX1" fmla="*/ 266224 w 266700"/>
                <a:gd name="connsiteY1" fmla="*/ 210026 h 419100"/>
                <a:gd name="connsiteX2" fmla="*/ 63341 w 266700"/>
                <a:gd name="connsiteY2" fmla="*/ 412909 h 419100"/>
                <a:gd name="connsiteX3" fmla="*/ 7144 w 266700"/>
                <a:gd name="connsiteY3" fmla="*/ 412909 h 419100"/>
                <a:gd name="connsiteX4" fmla="*/ 7144 w 266700"/>
                <a:gd name="connsiteY4" fmla="*/ 8096 h 419100"/>
                <a:gd name="connsiteX5" fmla="*/ 63341 w 266700"/>
                <a:gd name="connsiteY5" fmla="*/ 809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419100">
                  <a:moveTo>
                    <a:pt x="63341" y="7144"/>
                  </a:moveTo>
                  <a:cubicBezTo>
                    <a:pt x="174784" y="7144"/>
                    <a:pt x="266224" y="97631"/>
                    <a:pt x="266224" y="210026"/>
                  </a:cubicBezTo>
                  <a:cubicBezTo>
                    <a:pt x="266224" y="321469"/>
                    <a:pt x="175736" y="412909"/>
                    <a:pt x="63341" y="412909"/>
                  </a:cubicBezTo>
                  <a:lnTo>
                    <a:pt x="7144" y="412909"/>
                  </a:lnTo>
                  <a:lnTo>
                    <a:pt x="7144" y="8096"/>
                  </a:lnTo>
                  <a:lnTo>
                    <a:pt x="63341" y="8096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3E1099B-481B-4B93-92AD-497B497A5F84}"/>
                </a:ext>
              </a:extLst>
            </p:cNvPr>
            <p:cNvSpPr/>
            <p:nvPr/>
          </p:nvSpPr>
          <p:spPr>
            <a:xfrm>
              <a:off x="1390667" y="3998063"/>
              <a:ext cx="367512" cy="577517"/>
            </a:xfrm>
            <a:custGeom>
              <a:avLst/>
              <a:gdLst>
                <a:gd name="connsiteX0" fmla="*/ 63341 w 266700"/>
                <a:gd name="connsiteY0" fmla="*/ 7144 h 419100"/>
                <a:gd name="connsiteX1" fmla="*/ 266224 w 266700"/>
                <a:gd name="connsiteY1" fmla="*/ 210026 h 419100"/>
                <a:gd name="connsiteX2" fmla="*/ 63341 w 266700"/>
                <a:gd name="connsiteY2" fmla="*/ 412909 h 419100"/>
                <a:gd name="connsiteX3" fmla="*/ 7144 w 266700"/>
                <a:gd name="connsiteY3" fmla="*/ 412909 h 419100"/>
                <a:gd name="connsiteX4" fmla="*/ 7144 w 266700"/>
                <a:gd name="connsiteY4" fmla="*/ 8096 h 419100"/>
                <a:gd name="connsiteX5" fmla="*/ 63341 w 266700"/>
                <a:gd name="connsiteY5" fmla="*/ 809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419100">
                  <a:moveTo>
                    <a:pt x="63341" y="7144"/>
                  </a:moveTo>
                  <a:cubicBezTo>
                    <a:pt x="174784" y="7144"/>
                    <a:pt x="266224" y="97631"/>
                    <a:pt x="266224" y="210026"/>
                  </a:cubicBezTo>
                  <a:cubicBezTo>
                    <a:pt x="266224" y="321469"/>
                    <a:pt x="175736" y="412909"/>
                    <a:pt x="63341" y="412909"/>
                  </a:cubicBezTo>
                  <a:lnTo>
                    <a:pt x="7144" y="412909"/>
                  </a:lnTo>
                  <a:lnTo>
                    <a:pt x="7144" y="8096"/>
                  </a:lnTo>
                  <a:lnTo>
                    <a:pt x="63341" y="8096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0A0D112C-C1F3-421A-AD4C-695FB57CF47A}"/>
                </a:ext>
              </a:extLst>
            </p:cNvPr>
            <p:cNvSpPr/>
            <p:nvPr/>
          </p:nvSpPr>
          <p:spPr>
            <a:xfrm>
              <a:off x="1674177" y="3947467"/>
              <a:ext cx="577518" cy="577517"/>
            </a:xfrm>
            <a:custGeom>
              <a:avLst/>
              <a:gdLst>
                <a:gd name="connsiteX0" fmla="*/ 7144 w 419100"/>
                <a:gd name="connsiteY0" fmla="*/ 210026 h 419100"/>
                <a:gd name="connsiteX1" fmla="*/ 210026 w 419100"/>
                <a:gd name="connsiteY1" fmla="*/ 7144 h 419100"/>
                <a:gd name="connsiteX2" fmla="*/ 412909 w 419100"/>
                <a:gd name="connsiteY2" fmla="*/ 210026 h 419100"/>
                <a:gd name="connsiteX3" fmla="*/ 210026 w 419100"/>
                <a:gd name="connsiteY3" fmla="*/ 412909 h 419100"/>
                <a:gd name="connsiteX4" fmla="*/ 7144 w 419100"/>
                <a:gd name="connsiteY4" fmla="*/ 21002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0" h="419100">
                  <a:moveTo>
                    <a:pt x="7144" y="210026"/>
                  </a:moveTo>
                  <a:cubicBezTo>
                    <a:pt x="7144" y="98584"/>
                    <a:pt x="97631" y="7144"/>
                    <a:pt x="210026" y="7144"/>
                  </a:cubicBezTo>
                  <a:cubicBezTo>
                    <a:pt x="321469" y="7144"/>
                    <a:pt x="412909" y="97631"/>
                    <a:pt x="412909" y="210026"/>
                  </a:cubicBezTo>
                  <a:cubicBezTo>
                    <a:pt x="412909" y="321469"/>
                    <a:pt x="322421" y="412909"/>
                    <a:pt x="210026" y="412909"/>
                  </a:cubicBezTo>
                  <a:cubicBezTo>
                    <a:pt x="98584" y="411956"/>
                    <a:pt x="7144" y="321469"/>
                    <a:pt x="7144" y="210026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486933F-0FD7-4B4D-B41D-AB35C24B3BBE}"/>
                </a:ext>
              </a:extLst>
            </p:cNvPr>
            <p:cNvSpPr/>
            <p:nvPr/>
          </p:nvSpPr>
          <p:spPr>
            <a:xfrm>
              <a:off x="3443481" y="3947467"/>
              <a:ext cx="367512" cy="577517"/>
            </a:xfrm>
            <a:custGeom>
              <a:avLst/>
              <a:gdLst>
                <a:gd name="connsiteX0" fmla="*/ 63341 w 266700"/>
                <a:gd name="connsiteY0" fmla="*/ 7144 h 419100"/>
                <a:gd name="connsiteX1" fmla="*/ 266224 w 266700"/>
                <a:gd name="connsiteY1" fmla="*/ 210026 h 419100"/>
                <a:gd name="connsiteX2" fmla="*/ 63341 w 266700"/>
                <a:gd name="connsiteY2" fmla="*/ 412909 h 419100"/>
                <a:gd name="connsiteX3" fmla="*/ 7144 w 266700"/>
                <a:gd name="connsiteY3" fmla="*/ 412909 h 419100"/>
                <a:gd name="connsiteX4" fmla="*/ 7144 w 266700"/>
                <a:gd name="connsiteY4" fmla="*/ 8096 h 419100"/>
                <a:gd name="connsiteX5" fmla="*/ 63341 w 266700"/>
                <a:gd name="connsiteY5" fmla="*/ 809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6700" h="419100">
                  <a:moveTo>
                    <a:pt x="63341" y="7144"/>
                  </a:moveTo>
                  <a:cubicBezTo>
                    <a:pt x="174784" y="7144"/>
                    <a:pt x="266224" y="97631"/>
                    <a:pt x="266224" y="210026"/>
                  </a:cubicBezTo>
                  <a:cubicBezTo>
                    <a:pt x="266224" y="321469"/>
                    <a:pt x="175736" y="412909"/>
                    <a:pt x="63341" y="412909"/>
                  </a:cubicBezTo>
                  <a:lnTo>
                    <a:pt x="7144" y="412909"/>
                  </a:lnTo>
                  <a:lnTo>
                    <a:pt x="7144" y="8096"/>
                  </a:lnTo>
                  <a:lnTo>
                    <a:pt x="63341" y="8096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3486DF9-27A8-42A6-9530-015156E6F45F}"/>
                </a:ext>
              </a:extLst>
            </p:cNvPr>
            <p:cNvSpPr/>
            <p:nvPr/>
          </p:nvSpPr>
          <p:spPr>
            <a:xfrm>
              <a:off x="3163910" y="3947467"/>
              <a:ext cx="577518" cy="577517"/>
            </a:xfrm>
            <a:custGeom>
              <a:avLst/>
              <a:gdLst>
                <a:gd name="connsiteX0" fmla="*/ 7144 w 419100"/>
                <a:gd name="connsiteY0" fmla="*/ 210026 h 419100"/>
                <a:gd name="connsiteX1" fmla="*/ 210026 w 419100"/>
                <a:gd name="connsiteY1" fmla="*/ 7144 h 419100"/>
                <a:gd name="connsiteX2" fmla="*/ 412909 w 419100"/>
                <a:gd name="connsiteY2" fmla="*/ 210026 h 419100"/>
                <a:gd name="connsiteX3" fmla="*/ 210026 w 419100"/>
                <a:gd name="connsiteY3" fmla="*/ 412909 h 419100"/>
                <a:gd name="connsiteX4" fmla="*/ 7144 w 419100"/>
                <a:gd name="connsiteY4" fmla="*/ 21002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0" h="419100">
                  <a:moveTo>
                    <a:pt x="7144" y="210026"/>
                  </a:moveTo>
                  <a:cubicBezTo>
                    <a:pt x="7144" y="98584"/>
                    <a:pt x="97631" y="7144"/>
                    <a:pt x="210026" y="7144"/>
                  </a:cubicBezTo>
                  <a:cubicBezTo>
                    <a:pt x="321469" y="7144"/>
                    <a:pt x="412909" y="97631"/>
                    <a:pt x="412909" y="210026"/>
                  </a:cubicBezTo>
                  <a:cubicBezTo>
                    <a:pt x="412909" y="321469"/>
                    <a:pt x="322421" y="412909"/>
                    <a:pt x="210026" y="412909"/>
                  </a:cubicBezTo>
                  <a:cubicBezTo>
                    <a:pt x="98584" y="411956"/>
                    <a:pt x="7144" y="321469"/>
                    <a:pt x="7144" y="210026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905DDC97-BDBC-4CB3-A627-C7685899F9FE}"/>
                </a:ext>
              </a:extLst>
            </p:cNvPr>
            <p:cNvSpPr/>
            <p:nvPr/>
          </p:nvSpPr>
          <p:spPr>
            <a:xfrm>
              <a:off x="2805677" y="2455095"/>
              <a:ext cx="1443794" cy="511891"/>
            </a:xfrm>
            <a:custGeom>
              <a:avLst/>
              <a:gdLst>
                <a:gd name="connsiteX0" fmla="*/ 1045369 w 1047750"/>
                <a:gd name="connsiteY0" fmla="*/ 366236 h 371475"/>
                <a:gd name="connsiteX1" fmla="*/ 7144 w 1047750"/>
                <a:gd name="connsiteY1" fmla="*/ 366236 h 371475"/>
                <a:gd name="connsiteX2" fmla="*/ 7144 w 1047750"/>
                <a:gd name="connsiteY2" fmla="*/ 7144 h 371475"/>
                <a:gd name="connsiteX3" fmla="*/ 1045369 w 1047750"/>
                <a:gd name="connsiteY3" fmla="*/ 7144 h 371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750" h="371475">
                  <a:moveTo>
                    <a:pt x="1045369" y="366236"/>
                  </a:moveTo>
                  <a:lnTo>
                    <a:pt x="7144" y="366236"/>
                  </a:lnTo>
                  <a:lnTo>
                    <a:pt x="7144" y="7144"/>
                  </a:lnTo>
                  <a:lnTo>
                    <a:pt x="1045369" y="7144"/>
                  </a:lnTo>
                  <a:close/>
                </a:path>
              </a:pathLst>
            </a:custGeom>
            <a:solidFill>
              <a:srgbClr val="E8BF7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A26AA341-13A5-4437-9C13-8124CFD9A04F}"/>
                </a:ext>
              </a:extLst>
            </p:cNvPr>
            <p:cNvSpPr/>
            <p:nvPr/>
          </p:nvSpPr>
          <p:spPr>
            <a:xfrm>
              <a:off x="2232768" y="2948650"/>
              <a:ext cx="1155036" cy="1155036"/>
            </a:xfrm>
            <a:custGeom>
              <a:avLst/>
              <a:gdLst>
                <a:gd name="connsiteX0" fmla="*/ 837724 w 838200"/>
                <a:gd name="connsiteY0" fmla="*/ 837724 h 838200"/>
                <a:gd name="connsiteX1" fmla="*/ 7144 w 838200"/>
                <a:gd name="connsiteY1" fmla="*/ 837724 h 838200"/>
                <a:gd name="connsiteX2" fmla="*/ 7144 w 838200"/>
                <a:gd name="connsiteY2" fmla="*/ 7144 h 838200"/>
                <a:gd name="connsiteX3" fmla="*/ 837724 w 838200"/>
                <a:gd name="connsiteY3" fmla="*/ 714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8200" h="838200">
                  <a:moveTo>
                    <a:pt x="837724" y="837724"/>
                  </a:moveTo>
                  <a:lnTo>
                    <a:pt x="7144" y="837724"/>
                  </a:lnTo>
                  <a:lnTo>
                    <a:pt x="7144" y="7144"/>
                  </a:lnTo>
                  <a:lnTo>
                    <a:pt x="837724" y="7144"/>
                  </a:lnTo>
                  <a:close/>
                </a:path>
              </a:pathLst>
            </a:custGeom>
            <a:solidFill>
              <a:srgbClr val="E8BF7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A1CC8B72-0175-4709-A0AC-42261D33FC2E}"/>
                </a:ext>
              </a:extLst>
            </p:cNvPr>
            <p:cNvSpPr/>
            <p:nvPr/>
          </p:nvSpPr>
          <p:spPr>
            <a:xfrm>
              <a:off x="2233057" y="3433241"/>
              <a:ext cx="1155036" cy="183756"/>
            </a:xfrm>
            <a:custGeom>
              <a:avLst/>
              <a:gdLst>
                <a:gd name="connsiteX0" fmla="*/ 837724 w 838200"/>
                <a:gd name="connsiteY0" fmla="*/ 7144 h 133350"/>
                <a:gd name="connsiteX1" fmla="*/ 837724 w 838200"/>
                <a:gd name="connsiteY1" fmla="*/ 134779 h 133350"/>
                <a:gd name="connsiteX2" fmla="*/ 7144 w 838200"/>
                <a:gd name="connsiteY2" fmla="*/ 134779 h 133350"/>
                <a:gd name="connsiteX3" fmla="*/ 7144 w 838200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38200" h="133350">
                  <a:moveTo>
                    <a:pt x="837724" y="7144"/>
                  </a:moveTo>
                  <a:lnTo>
                    <a:pt x="837724" y="134779"/>
                  </a:lnTo>
                  <a:lnTo>
                    <a:pt x="7144" y="134779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D0A56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E864A28E-7DFD-44C7-994B-24AF95186F14}"/>
                </a:ext>
              </a:extLst>
            </p:cNvPr>
            <p:cNvSpPr/>
            <p:nvPr/>
          </p:nvSpPr>
          <p:spPr>
            <a:xfrm>
              <a:off x="2685594" y="3432977"/>
              <a:ext cx="249382" cy="183756"/>
            </a:xfrm>
            <a:custGeom>
              <a:avLst/>
              <a:gdLst>
                <a:gd name="connsiteX0" fmla="*/ 180499 w 180975"/>
                <a:gd name="connsiteY0" fmla="*/ 134779 h 133350"/>
                <a:gd name="connsiteX1" fmla="*/ 7144 w 180975"/>
                <a:gd name="connsiteY1" fmla="*/ 134779 h 133350"/>
                <a:gd name="connsiteX2" fmla="*/ 7144 w 180975"/>
                <a:gd name="connsiteY2" fmla="*/ 7144 h 133350"/>
                <a:gd name="connsiteX3" fmla="*/ 180499 w 1809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33350">
                  <a:moveTo>
                    <a:pt x="180499" y="134779"/>
                  </a:moveTo>
                  <a:lnTo>
                    <a:pt x="7144" y="134779"/>
                  </a:lnTo>
                  <a:lnTo>
                    <a:pt x="7144" y="7144"/>
                  </a:lnTo>
                  <a:lnTo>
                    <a:pt x="180499" y="7144"/>
                  </a:lnTo>
                  <a:close/>
                </a:path>
              </a:pathLst>
            </a:custGeom>
            <a:solidFill>
              <a:srgbClr val="AB7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7F529DF0-CDED-4CDB-88E4-68BD70CD5005}"/>
                </a:ext>
              </a:extLst>
            </p:cNvPr>
            <p:cNvSpPr/>
            <p:nvPr/>
          </p:nvSpPr>
          <p:spPr>
            <a:xfrm>
              <a:off x="2717094" y="2948650"/>
              <a:ext cx="183756" cy="1155036"/>
            </a:xfrm>
            <a:custGeom>
              <a:avLst/>
              <a:gdLst>
                <a:gd name="connsiteX0" fmla="*/ 134779 w 133350"/>
                <a:gd name="connsiteY0" fmla="*/ 837724 h 838200"/>
                <a:gd name="connsiteX1" fmla="*/ 7144 w 133350"/>
                <a:gd name="connsiteY1" fmla="*/ 837724 h 838200"/>
                <a:gd name="connsiteX2" fmla="*/ 7144 w 133350"/>
                <a:gd name="connsiteY2" fmla="*/ 7144 h 838200"/>
                <a:gd name="connsiteX3" fmla="*/ 134779 w 133350"/>
                <a:gd name="connsiteY3" fmla="*/ 714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838200">
                  <a:moveTo>
                    <a:pt x="134779" y="837724"/>
                  </a:moveTo>
                  <a:lnTo>
                    <a:pt x="7144" y="837724"/>
                  </a:lnTo>
                  <a:lnTo>
                    <a:pt x="7144" y="7144"/>
                  </a:lnTo>
                  <a:lnTo>
                    <a:pt x="134779" y="7144"/>
                  </a:lnTo>
                  <a:close/>
                </a:path>
              </a:pathLst>
            </a:custGeom>
            <a:solidFill>
              <a:srgbClr val="D0A56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319C745-8452-47DF-8FA7-9100820B0F66}"/>
                </a:ext>
              </a:extLst>
            </p:cNvPr>
            <p:cNvSpPr/>
            <p:nvPr/>
          </p:nvSpPr>
          <p:spPr>
            <a:xfrm>
              <a:off x="3378208" y="2948650"/>
              <a:ext cx="866277" cy="1155036"/>
            </a:xfrm>
            <a:custGeom>
              <a:avLst/>
              <a:gdLst>
                <a:gd name="connsiteX0" fmla="*/ 630079 w 628650"/>
                <a:gd name="connsiteY0" fmla="*/ 837724 h 838200"/>
                <a:gd name="connsiteX1" fmla="*/ 7144 w 628650"/>
                <a:gd name="connsiteY1" fmla="*/ 837724 h 838200"/>
                <a:gd name="connsiteX2" fmla="*/ 7144 w 628650"/>
                <a:gd name="connsiteY2" fmla="*/ 7144 h 838200"/>
                <a:gd name="connsiteX3" fmla="*/ 630079 w 628650"/>
                <a:gd name="connsiteY3" fmla="*/ 714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8650" h="838200">
                  <a:moveTo>
                    <a:pt x="630079" y="837724"/>
                  </a:moveTo>
                  <a:lnTo>
                    <a:pt x="7144" y="837724"/>
                  </a:lnTo>
                  <a:lnTo>
                    <a:pt x="7144" y="7144"/>
                  </a:lnTo>
                  <a:lnTo>
                    <a:pt x="630079" y="7144"/>
                  </a:lnTo>
                  <a:close/>
                </a:path>
              </a:pathLst>
            </a:custGeom>
            <a:solidFill>
              <a:srgbClr val="D0A5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EF0553D-BC98-4998-B4DB-E8613803FE82}"/>
                </a:ext>
              </a:extLst>
            </p:cNvPr>
            <p:cNvSpPr/>
            <p:nvPr/>
          </p:nvSpPr>
          <p:spPr>
            <a:xfrm>
              <a:off x="3378052" y="3432781"/>
              <a:ext cx="866277" cy="183756"/>
            </a:xfrm>
            <a:custGeom>
              <a:avLst/>
              <a:gdLst>
                <a:gd name="connsiteX0" fmla="*/ 630079 w 628650"/>
                <a:gd name="connsiteY0" fmla="*/ 7144 h 133350"/>
                <a:gd name="connsiteX1" fmla="*/ 630079 w 628650"/>
                <a:gd name="connsiteY1" fmla="*/ 134779 h 133350"/>
                <a:gd name="connsiteX2" fmla="*/ 7144 w 628650"/>
                <a:gd name="connsiteY2" fmla="*/ 134779 h 133350"/>
                <a:gd name="connsiteX3" fmla="*/ 7144 w 628650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28650" h="133350">
                  <a:moveTo>
                    <a:pt x="630079" y="7144"/>
                  </a:moveTo>
                  <a:lnTo>
                    <a:pt x="630079" y="134779"/>
                  </a:lnTo>
                  <a:lnTo>
                    <a:pt x="7144" y="134779"/>
                  </a:lnTo>
                  <a:lnTo>
                    <a:pt x="7144" y="7144"/>
                  </a:lnTo>
                  <a:close/>
                </a:path>
              </a:pathLst>
            </a:custGeom>
            <a:solidFill>
              <a:srgbClr val="AB7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09E7D798-5749-45D4-A2A1-CF8B58BFC79A}"/>
                </a:ext>
              </a:extLst>
            </p:cNvPr>
            <p:cNvSpPr/>
            <p:nvPr/>
          </p:nvSpPr>
          <p:spPr>
            <a:xfrm>
              <a:off x="3684963" y="3432977"/>
              <a:ext cx="249382" cy="183756"/>
            </a:xfrm>
            <a:custGeom>
              <a:avLst/>
              <a:gdLst>
                <a:gd name="connsiteX0" fmla="*/ 180499 w 180975"/>
                <a:gd name="connsiteY0" fmla="*/ 134779 h 133350"/>
                <a:gd name="connsiteX1" fmla="*/ 7144 w 180975"/>
                <a:gd name="connsiteY1" fmla="*/ 134779 h 133350"/>
                <a:gd name="connsiteX2" fmla="*/ 7144 w 180975"/>
                <a:gd name="connsiteY2" fmla="*/ 7144 h 133350"/>
                <a:gd name="connsiteX3" fmla="*/ 180499 w 180975"/>
                <a:gd name="connsiteY3" fmla="*/ 7144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0975" h="133350">
                  <a:moveTo>
                    <a:pt x="180499" y="134779"/>
                  </a:moveTo>
                  <a:lnTo>
                    <a:pt x="7144" y="134779"/>
                  </a:lnTo>
                  <a:lnTo>
                    <a:pt x="7144" y="7144"/>
                  </a:lnTo>
                  <a:lnTo>
                    <a:pt x="180499" y="7144"/>
                  </a:lnTo>
                  <a:close/>
                </a:path>
              </a:pathLst>
            </a:custGeom>
            <a:solidFill>
              <a:srgbClr val="986E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2D67EC23-C560-451A-840C-BEA9452DE8AB}"/>
                </a:ext>
              </a:extLst>
            </p:cNvPr>
            <p:cNvSpPr/>
            <p:nvPr/>
          </p:nvSpPr>
          <p:spPr>
            <a:xfrm>
              <a:off x="3377855" y="2523361"/>
              <a:ext cx="1299415" cy="433138"/>
            </a:xfrm>
            <a:custGeom>
              <a:avLst/>
              <a:gdLst>
                <a:gd name="connsiteX0" fmla="*/ 7144 w 942975"/>
                <a:gd name="connsiteY0" fmla="*/ 316706 h 314325"/>
                <a:gd name="connsiteX1" fmla="*/ 630079 w 942975"/>
                <a:gd name="connsiteY1" fmla="*/ 316706 h 314325"/>
                <a:gd name="connsiteX2" fmla="*/ 941546 w 942975"/>
                <a:gd name="connsiteY2" fmla="*/ 7144 h 314325"/>
                <a:gd name="connsiteX3" fmla="*/ 318611 w 942975"/>
                <a:gd name="connsiteY3" fmla="*/ 714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2975" h="314325">
                  <a:moveTo>
                    <a:pt x="7144" y="316706"/>
                  </a:moveTo>
                  <a:lnTo>
                    <a:pt x="630079" y="316706"/>
                  </a:lnTo>
                  <a:lnTo>
                    <a:pt x="941546" y="7144"/>
                  </a:lnTo>
                  <a:lnTo>
                    <a:pt x="318611" y="7144"/>
                  </a:lnTo>
                  <a:close/>
                </a:path>
              </a:pathLst>
            </a:custGeom>
            <a:solidFill>
              <a:srgbClr val="A8794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80BFC90-D1B2-40E7-952F-1FA09AC34D18}"/>
                </a:ext>
              </a:extLst>
            </p:cNvPr>
            <p:cNvSpPr/>
            <p:nvPr/>
          </p:nvSpPr>
          <p:spPr>
            <a:xfrm>
              <a:off x="3715177" y="2948624"/>
              <a:ext cx="183756" cy="1155036"/>
            </a:xfrm>
            <a:custGeom>
              <a:avLst/>
              <a:gdLst>
                <a:gd name="connsiteX0" fmla="*/ 7144 w 133350"/>
                <a:gd name="connsiteY0" fmla="*/ 7144 h 838200"/>
                <a:gd name="connsiteX1" fmla="*/ 134779 w 133350"/>
                <a:gd name="connsiteY1" fmla="*/ 7144 h 838200"/>
                <a:gd name="connsiteX2" fmla="*/ 134779 w 133350"/>
                <a:gd name="connsiteY2" fmla="*/ 837724 h 838200"/>
                <a:gd name="connsiteX3" fmla="*/ 7144 w 133350"/>
                <a:gd name="connsiteY3" fmla="*/ 83772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838200">
                  <a:moveTo>
                    <a:pt x="7144" y="7144"/>
                  </a:moveTo>
                  <a:lnTo>
                    <a:pt x="134779" y="7144"/>
                  </a:lnTo>
                  <a:lnTo>
                    <a:pt x="134779" y="837724"/>
                  </a:lnTo>
                  <a:lnTo>
                    <a:pt x="7144" y="837724"/>
                  </a:lnTo>
                  <a:close/>
                </a:path>
              </a:pathLst>
            </a:custGeom>
            <a:solidFill>
              <a:srgbClr val="AB7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B842530-ACE5-41F3-81D4-434E11E87133}"/>
                </a:ext>
              </a:extLst>
            </p:cNvPr>
            <p:cNvSpPr/>
            <p:nvPr/>
          </p:nvSpPr>
          <p:spPr>
            <a:xfrm>
              <a:off x="3715177" y="2523361"/>
              <a:ext cx="616894" cy="433138"/>
            </a:xfrm>
            <a:custGeom>
              <a:avLst/>
              <a:gdLst>
                <a:gd name="connsiteX0" fmla="*/ 7144 w 447675"/>
                <a:gd name="connsiteY0" fmla="*/ 315754 h 314325"/>
                <a:gd name="connsiteX1" fmla="*/ 134779 w 447675"/>
                <a:gd name="connsiteY1" fmla="*/ 315754 h 314325"/>
                <a:gd name="connsiteX2" fmla="*/ 444341 w 447675"/>
                <a:gd name="connsiteY2" fmla="*/ 7144 h 314325"/>
                <a:gd name="connsiteX3" fmla="*/ 316706 w 447675"/>
                <a:gd name="connsiteY3" fmla="*/ 7144 h 314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675" h="314325">
                  <a:moveTo>
                    <a:pt x="7144" y="315754"/>
                  </a:moveTo>
                  <a:lnTo>
                    <a:pt x="134779" y="315754"/>
                  </a:lnTo>
                  <a:lnTo>
                    <a:pt x="444341" y="7144"/>
                  </a:lnTo>
                  <a:lnTo>
                    <a:pt x="316706" y="7144"/>
                  </a:lnTo>
                  <a:close/>
                </a:path>
              </a:pathLst>
            </a:custGeom>
            <a:solidFill>
              <a:srgbClr val="986E3E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065BAE00-0029-473D-83EE-96DDE823863F}"/>
                </a:ext>
              </a:extLst>
            </p:cNvPr>
            <p:cNvSpPr/>
            <p:nvPr/>
          </p:nvSpPr>
          <p:spPr>
            <a:xfrm>
              <a:off x="1802806" y="2519423"/>
              <a:ext cx="1588175" cy="446263"/>
            </a:xfrm>
            <a:custGeom>
              <a:avLst/>
              <a:gdLst>
                <a:gd name="connsiteX0" fmla="*/ 1150144 w 1152525"/>
                <a:gd name="connsiteY0" fmla="*/ 318611 h 323850"/>
                <a:gd name="connsiteX1" fmla="*/ 319564 w 1152525"/>
                <a:gd name="connsiteY1" fmla="*/ 318611 h 323850"/>
                <a:gd name="connsiteX2" fmla="*/ 7144 w 1152525"/>
                <a:gd name="connsiteY2" fmla="*/ 7144 h 323850"/>
                <a:gd name="connsiteX3" fmla="*/ 838676 w 1152525"/>
                <a:gd name="connsiteY3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52525" h="323850">
                  <a:moveTo>
                    <a:pt x="1150144" y="318611"/>
                  </a:moveTo>
                  <a:lnTo>
                    <a:pt x="319564" y="318611"/>
                  </a:lnTo>
                  <a:lnTo>
                    <a:pt x="7144" y="7144"/>
                  </a:lnTo>
                  <a:lnTo>
                    <a:pt x="838676" y="7144"/>
                  </a:lnTo>
                  <a:close/>
                </a:path>
              </a:pathLst>
            </a:custGeom>
            <a:solidFill>
              <a:srgbClr val="D0A56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1F7CCD79-B620-44F3-A368-FB8E91C2DE46}"/>
                </a:ext>
              </a:extLst>
            </p:cNvPr>
            <p:cNvSpPr/>
            <p:nvPr/>
          </p:nvSpPr>
          <p:spPr>
            <a:xfrm>
              <a:off x="2288446" y="2519423"/>
              <a:ext cx="616894" cy="446263"/>
            </a:xfrm>
            <a:custGeom>
              <a:avLst/>
              <a:gdLst>
                <a:gd name="connsiteX0" fmla="*/ 446246 w 447675"/>
                <a:gd name="connsiteY0" fmla="*/ 318611 h 323850"/>
                <a:gd name="connsiteX1" fmla="*/ 318611 w 447675"/>
                <a:gd name="connsiteY1" fmla="*/ 318611 h 323850"/>
                <a:gd name="connsiteX2" fmla="*/ 7144 w 447675"/>
                <a:gd name="connsiteY2" fmla="*/ 7144 h 323850"/>
                <a:gd name="connsiteX3" fmla="*/ 134779 w 447675"/>
                <a:gd name="connsiteY3" fmla="*/ 7144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7675" h="323850">
                  <a:moveTo>
                    <a:pt x="446246" y="318611"/>
                  </a:moveTo>
                  <a:lnTo>
                    <a:pt x="318611" y="318611"/>
                  </a:lnTo>
                  <a:lnTo>
                    <a:pt x="7144" y="7144"/>
                  </a:lnTo>
                  <a:lnTo>
                    <a:pt x="134779" y="7144"/>
                  </a:lnTo>
                  <a:close/>
                </a:path>
              </a:pathLst>
            </a:custGeom>
            <a:solidFill>
              <a:srgbClr val="AB7A4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671057A4-D6E5-46B4-8EE0-5B98326C4446}"/>
                </a:ext>
              </a:extLst>
            </p:cNvPr>
            <p:cNvSpPr/>
            <p:nvPr/>
          </p:nvSpPr>
          <p:spPr>
            <a:xfrm>
              <a:off x="776399" y="4080753"/>
              <a:ext cx="2611957" cy="196881"/>
            </a:xfrm>
            <a:custGeom>
              <a:avLst/>
              <a:gdLst>
                <a:gd name="connsiteX0" fmla="*/ 47149 w 1895475"/>
                <a:gd name="connsiteY0" fmla="*/ 141446 h 142875"/>
                <a:gd name="connsiteX1" fmla="*/ 1894999 w 1895475"/>
                <a:gd name="connsiteY1" fmla="*/ 141446 h 142875"/>
                <a:gd name="connsiteX2" fmla="*/ 1894999 w 1895475"/>
                <a:gd name="connsiteY2" fmla="*/ 7144 h 142875"/>
                <a:gd name="connsiteX3" fmla="*/ 47149 w 1895475"/>
                <a:gd name="connsiteY3" fmla="*/ 7144 h 142875"/>
                <a:gd name="connsiteX4" fmla="*/ 7144 w 1895475"/>
                <a:gd name="connsiteY4" fmla="*/ 47149 h 142875"/>
                <a:gd name="connsiteX5" fmla="*/ 7144 w 1895475"/>
                <a:gd name="connsiteY5" fmla="*/ 101441 h 142875"/>
                <a:gd name="connsiteX6" fmla="*/ 47149 w 1895475"/>
                <a:gd name="connsiteY6" fmla="*/ 141446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95475" h="142875">
                  <a:moveTo>
                    <a:pt x="47149" y="141446"/>
                  </a:moveTo>
                  <a:lnTo>
                    <a:pt x="1894999" y="141446"/>
                  </a:lnTo>
                  <a:lnTo>
                    <a:pt x="1894999" y="7144"/>
                  </a:lnTo>
                  <a:lnTo>
                    <a:pt x="47149" y="7144"/>
                  </a:lnTo>
                  <a:cubicBezTo>
                    <a:pt x="25241" y="7144"/>
                    <a:pt x="7144" y="25241"/>
                    <a:pt x="7144" y="47149"/>
                  </a:cubicBezTo>
                  <a:lnTo>
                    <a:pt x="7144" y="101441"/>
                  </a:lnTo>
                  <a:cubicBezTo>
                    <a:pt x="7144" y="123349"/>
                    <a:pt x="25241" y="141446"/>
                    <a:pt x="47149" y="141446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EC0DEA3E-7D98-4490-9610-5A38188D73EC}"/>
                </a:ext>
              </a:extLst>
            </p:cNvPr>
            <p:cNvSpPr/>
            <p:nvPr/>
          </p:nvSpPr>
          <p:spPr>
            <a:xfrm>
              <a:off x="831526" y="2948624"/>
              <a:ext cx="1417544" cy="1155036"/>
            </a:xfrm>
            <a:custGeom>
              <a:avLst/>
              <a:gdLst>
                <a:gd name="connsiteX0" fmla="*/ 7144 w 1028700"/>
                <a:gd name="connsiteY0" fmla="*/ 837724 h 838200"/>
                <a:gd name="connsiteX1" fmla="*/ 1023461 w 1028700"/>
                <a:gd name="connsiteY1" fmla="*/ 837724 h 838200"/>
                <a:gd name="connsiteX2" fmla="*/ 1023461 w 1028700"/>
                <a:gd name="connsiteY2" fmla="*/ 7144 h 838200"/>
                <a:gd name="connsiteX3" fmla="*/ 514826 w 1028700"/>
                <a:gd name="connsiteY3" fmla="*/ 7144 h 838200"/>
                <a:gd name="connsiteX4" fmla="*/ 267176 w 1028700"/>
                <a:gd name="connsiteY4" fmla="*/ 138589 h 838200"/>
                <a:gd name="connsiteX5" fmla="*/ 59531 w 1028700"/>
                <a:gd name="connsiteY5" fmla="*/ 446246 h 838200"/>
                <a:gd name="connsiteX6" fmla="*/ 8096 w 1028700"/>
                <a:gd name="connsiteY6" fmla="*/ 613886 h 838200"/>
                <a:gd name="connsiteX7" fmla="*/ 8096 w 1028700"/>
                <a:gd name="connsiteY7" fmla="*/ 83772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8700" h="838200">
                  <a:moveTo>
                    <a:pt x="7144" y="837724"/>
                  </a:moveTo>
                  <a:lnTo>
                    <a:pt x="1023461" y="837724"/>
                  </a:lnTo>
                  <a:lnTo>
                    <a:pt x="1023461" y="7144"/>
                  </a:lnTo>
                  <a:lnTo>
                    <a:pt x="514826" y="7144"/>
                  </a:lnTo>
                  <a:cubicBezTo>
                    <a:pt x="415766" y="7144"/>
                    <a:pt x="322421" y="56674"/>
                    <a:pt x="267176" y="138589"/>
                  </a:cubicBezTo>
                  <a:lnTo>
                    <a:pt x="59531" y="446246"/>
                  </a:lnTo>
                  <a:cubicBezTo>
                    <a:pt x="26194" y="495776"/>
                    <a:pt x="8096" y="553879"/>
                    <a:pt x="8096" y="613886"/>
                  </a:cubicBezTo>
                  <a:lnTo>
                    <a:pt x="8096" y="837724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80B0B8B1-44F8-4150-9CC3-8B222F5A31BD}"/>
                </a:ext>
              </a:extLst>
            </p:cNvPr>
            <p:cNvSpPr/>
            <p:nvPr/>
          </p:nvSpPr>
          <p:spPr>
            <a:xfrm>
              <a:off x="1010031" y="3077253"/>
              <a:ext cx="905653" cy="564393"/>
            </a:xfrm>
            <a:custGeom>
              <a:avLst/>
              <a:gdLst>
                <a:gd name="connsiteX0" fmla="*/ 650081 w 657225"/>
                <a:gd name="connsiteY0" fmla="*/ 405289 h 409575"/>
                <a:gd name="connsiteX1" fmla="*/ 650081 w 657225"/>
                <a:gd name="connsiteY1" fmla="*/ 7144 h 409575"/>
                <a:gd name="connsiteX2" fmla="*/ 385286 w 657225"/>
                <a:gd name="connsiteY2" fmla="*/ 7144 h 409575"/>
                <a:gd name="connsiteX3" fmla="*/ 214789 w 657225"/>
                <a:gd name="connsiteY3" fmla="*/ 97631 h 409575"/>
                <a:gd name="connsiteX4" fmla="*/ 7144 w 657225"/>
                <a:gd name="connsiteY4" fmla="*/ 405289 h 409575"/>
                <a:gd name="connsiteX5" fmla="*/ 650081 w 657225"/>
                <a:gd name="connsiteY5" fmla="*/ 405289 h 409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57225" h="409575">
                  <a:moveTo>
                    <a:pt x="650081" y="405289"/>
                  </a:moveTo>
                  <a:lnTo>
                    <a:pt x="650081" y="7144"/>
                  </a:lnTo>
                  <a:lnTo>
                    <a:pt x="385286" y="7144"/>
                  </a:lnTo>
                  <a:cubicBezTo>
                    <a:pt x="316706" y="7144"/>
                    <a:pt x="252889" y="41434"/>
                    <a:pt x="214789" y="97631"/>
                  </a:cubicBezTo>
                  <a:lnTo>
                    <a:pt x="7144" y="405289"/>
                  </a:lnTo>
                  <a:lnTo>
                    <a:pt x="650081" y="405289"/>
                  </a:ln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AF75033-5370-4A0C-A6C7-6CB902B9ADD1}"/>
                </a:ext>
              </a:extLst>
            </p:cNvPr>
            <p:cNvSpPr/>
            <p:nvPr/>
          </p:nvSpPr>
          <p:spPr>
            <a:xfrm>
              <a:off x="2063528" y="2948650"/>
              <a:ext cx="183756" cy="1155036"/>
            </a:xfrm>
            <a:custGeom>
              <a:avLst/>
              <a:gdLst>
                <a:gd name="connsiteX0" fmla="*/ 130016 w 133350"/>
                <a:gd name="connsiteY0" fmla="*/ 837724 h 838200"/>
                <a:gd name="connsiteX1" fmla="*/ 7144 w 133350"/>
                <a:gd name="connsiteY1" fmla="*/ 837724 h 838200"/>
                <a:gd name="connsiteX2" fmla="*/ 7144 w 133350"/>
                <a:gd name="connsiteY2" fmla="*/ 7144 h 838200"/>
                <a:gd name="connsiteX3" fmla="*/ 130016 w 133350"/>
                <a:gd name="connsiteY3" fmla="*/ 7144 h 838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350" h="838200">
                  <a:moveTo>
                    <a:pt x="130016" y="837724"/>
                  </a:moveTo>
                  <a:lnTo>
                    <a:pt x="7144" y="837724"/>
                  </a:lnTo>
                  <a:lnTo>
                    <a:pt x="7144" y="7144"/>
                  </a:lnTo>
                  <a:lnTo>
                    <a:pt x="130016" y="714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F2F86A7E-D3FD-4133-90CB-09B51EEAA04A}"/>
                </a:ext>
              </a:extLst>
            </p:cNvPr>
            <p:cNvSpPr/>
            <p:nvPr/>
          </p:nvSpPr>
          <p:spPr>
            <a:xfrm>
              <a:off x="2460388" y="3947467"/>
              <a:ext cx="682521" cy="341261"/>
            </a:xfrm>
            <a:custGeom>
              <a:avLst/>
              <a:gdLst>
                <a:gd name="connsiteX0" fmla="*/ 248126 w 495300"/>
                <a:gd name="connsiteY0" fmla="*/ 7144 h 247650"/>
                <a:gd name="connsiteX1" fmla="*/ 488156 w 495300"/>
                <a:gd name="connsiteY1" fmla="*/ 247174 h 247650"/>
                <a:gd name="connsiteX2" fmla="*/ 7144 w 495300"/>
                <a:gd name="connsiteY2" fmla="*/ 247174 h 247650"/>
                <a:gd name="connsiteX3" fmla="*/ 248126 w 495300"/>
                <a:gd name="connsiteY3" fmla="*/ 714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95300" h="247650">
                  <a:moveTo>
                    <a:pt x="248126" y="7144"/>
                  </a:moveTo>
                  <a:cubicBezTo>
                    <a:pt x="380524" y="7144"/>
                    <a:pt x="488156" y="114776"/>
                    <a:pt x="488156" y="247174"/>
                  </a:cubicBezTo>
                  <a:lnTo>
                    <a:pt x="7144" y="247174"/>
                  </a:lnTo>
                  <a:cubicBezTo>
                    <a:pt x="8096" y="114776"/>
                    <a:pt x="115729" y="7144"/>
                    <a:pt x="248126" y="7144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39B23FB-9677-4C8F-8966-7890B3F6AEED}"/>
                </a:ext>
              </a:extLst>
            </p:cNvPr>
            <p:cNvSpPr/>
            <p:nvPr/>
          </p:nvSpPr>
          <p:spPr>
            <a:xfrm>
              <a:off x="1004781" y="3947467"/>
              <a:ext cx="669396" cy="341261"/>
            </a:xfrm>
            <a:custGeom>
              <a:avLst/>
              <a:gdLst>
                <a:gd name="connsiteX0" fmla="*/ 247174 w 485775"/>
                <a:gd name="connsiteY0" fmla="*/ 7144 h 247650"/>
                <a:gd name="connsiteX1" fmla="*/ 487204 w 485775"/>
                <a:gd name="connsiteY1" fmla="*/ 247174 h 247650"/>
                <a:gd name="connsiteX2" fmla="*/ 7144 w 485775"/>
                <a:gd name="connsiteY2" fmla="*/ 247174 h 247650"/>
                <a:gd name="connsiteX3" fmla="*/ 247174 w 485775"/>
                <a:gd name="connsiteY3" fmla="*/ 7144 h 247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5775" h="247650">
                  <a:moveTo>
                    <a:pt x="247174" y="7144"/>
                  </a:moveTo>
                  <a:cubicBezTo>
                    <a:pt x="379571" y="7144"/>
                    <a:pt x="487204" y="114776"/>
                    <a:pt x="487204" y="247174"/>
                  </a:cubicBezTo>
                  <a:lnTo>
                    <a:pt x="7144" y="247174"/>
                  </a:lnTo>
                  <a:cubicBezTo>
                    <a:pt x="7144" y="114776"/>
                    <a:pt x="114776" y="7144"/>
                    <a:pt x="247174" y="7144"/>
                  </a:cubicBez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5079D832-2B25-452C-ABA3-919C54B3C7AD}"/>
                </a:ext>
              </a:extLst>
            </p:cNvPr>
            <p:cNvSpPr/>
            <p:nvPr/>
          </p:nvSpPr>
          <p:spPr>
            <a:xfrm>
              <a:off x="2526015" y="3999969"/>
              <a:ext cx="577518" cy="577517"/>
            </a:xfrm>
            <a:custGeom>
              <a:avLst/>
              <a:gdLst>
                <a:gd name="connsiteX0" fmla="*/ 7144 w 419100"/>
                <a:gd name="connsiteY0" fmla="*/ 210026 h 419100"/>
                <a:gd name="connsiteX1" fmla="*/ 210026 w 419100"/>
                <a:gd name="connsiteY1" fmla="*/ 7144 h 419100"/>
                <a:gd name="connsiteX2" fmla="*/ 412909 w 419100"/>
                <a:gd name="connsiteY2" fmla="*/ 210026 h 419100"/>
                <a:gd name="connsiteX3" fmla="*/ 210026 w 419100"/>
                <a:gd name="connsiteY3" fmla="*/ 412909 h 419100"/>
                <a:gd name="connsiteX4" fmla="*/ 7144 w 419100"/>
                <a:gd name="connsiteY4" fmla="*/ 21002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0" h="419100">
                  <a:moveTo>
                    <a:pt x="7144" y="210026"/>
                  </a:moveTo>
                  <a:cubicBezTo>
                    <a:pt x="7144" y="98584"/>
                    <a:pt x="97631" y="7144"/>
                    <a:pt x="210026" y="7144"/>
                  </a:cubicBezTo>
                  <a:cubicBezTo>
                    <a:pt x="321469" y="7144"/>
                    <a:pt x="412909" y="97631"/>
                    <a:pt x="412909" y="210026"/>
                  </a:cubicBezTo>
                  <a:cubicBezTo>
                    <a:pt x="412909" y="321469"/>
                    <a:pt x="322421" y="412909"/>
                    <a:pt x="210026" y="412909"/>
                  </a:cubicBezTo>
                  <a:cubicBezTo>
                    <a:pt x="97631" y="411956"/>
                    <a:pt x="7144" y="321469"/>
                    <a:pt x="7144" y="210026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C2528B19-23AA-45FC-815B-4ACED2DCA348}"/>
                </a:ext>
              </a:extLst>
            </p:cNvPr>
            <p:cNvSpPr/>
            <p:nvPr/>
          </p:nvSpPr>
          <p:spPr>
            <a:xfrm>
              <a:off x="2646660" y="4105550"/>
              <a:ext cx="328135" cy="328135"/>
            </a:xfrm>
            <a:custGeom>
              <a:avLst/>
              <a:gdLst>
                <a:gd name="connsiteX0" fmla="*/ 138869 w 238125"/>
                <a:gd name="connsiteY0" fmla="*/ 24165 h 238125"/>
                <a:gd name="connsiteX1" fmla="*/ 221630 w 238125"/>
                <a:gd name="connsiteY1" fmla="*/ 138869 h 238125"/>
                <a:gd name="connsiteX2" fmla="*/ 106925 w 238125"/>
                <a:gd name="connsiteY2" fmla="*/ 221630 h 238125"/>
                <a:gd name="connsiteX3" fmla="*/ 24165 w 238125"/>
                <a:gd name="connsiteY3" fmla="*/ 106925 h 238125"/>
                <a:gd name="connsiteX4" fmla="*/ 138869 w 238125"/>
                <a:gd name="connsiteY4" fmla="*/ 2416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238125">
                  <a:moveTo>
                    <a:pt x="138869" y="24165"/>
                  </a:moveTo>
                  <a:cubicBezTo>
                    <a:pt x="193398" y="32986"/>
                    <a:pt x="230451" y="84341"/>
                    <a:pt x="221630" y="138869"/>
                  </a:cubicBezTo>
                  <a:cubicBezTo>
                    <a:pt x="212809" y="193398"/>
                    <a:pt x="161454" y="230451"/>
                    <a:pt x="106925" y="221630"/>
                  </a:cubicBezTo>
                  <a:cubicBezTo>
                    <a:pt x="52397" y="212809"/>
                    <a:pt x="15344" y="161454"/>
                    <a:pt x="24165" y="106925"/>
                  </a:cubicBezTo>
                  <a:cubicBezTo>
                    <a:pt x="32986" y="52397"/>
                    <a:pt x="84341" y="15344"/>
                    <a:pt x="138869" y="2416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7816E0C-75CD-455C-995A-FD8A14DD1C12}"/>
                </a:ext>
              </a:extLst>
            </p:cNvPr>
            <p:cNvSpPr/>
            <p:nvPr/>
          </p:nvSpPr>
          <p:spPr>
            <a:xfrm>
              <a:off x="1069094" y="3999969"/>
              <a:ext cx="577518" cy="577517"/>
            </a:xfrm>
            <a:custGeom>
              <a:avLst/>
              <a:gdLst>
                <a:gd name="connsiteX0" fmla="*/ 412909 w 419100"/>
                <a:gd name="connsiteY0" fmla="*/ 210026 h 419100"/>
                <a:gd name="connsiteX1" fmla="*/ 210026 w 419100"/>
                <a:gd name="connsiteY1" fmla="*/ 412909 h 419100"/>
                <a:gd name="connsiteX2" fmla="*/ 7144 w 419100"/>
                <a:gd name="connsiteY2" fmla="*/ 210026 h 419100"/>
                <a:gd name="connsiteX3" fmla="*/ 210026 w 419100"/>
                <a:gd name="connsiteY3" fmla="*/ 7144 h 419100"/>
                <a:gd name="connsiteX4" fmla="*/ 412909 w 419100"/>
                <a:gd name="connsiteY4" fmla="*/ 210026 h 419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9100" h="419100">
                  <a:moveTo>
                    <a:pt x="412909" y="210026"/>
                  </a:moveTo>
                  <a:cubicBezTo>
                    <a:pt x="412909" y="322075"/>
                    <a:pt x="322075" y="412909"/>
                    <a:pt x="210026" y="412909"/>
                  </a:cubicBezTo>
                  <a:cubicBezTo>
                    <a:pt x="97977" y="412909"/>
                    <a:pt x="7144" y="322075"/>
                    <a:pt x="7144" y="210026"/>
                  </a:cubicBezTo>
                  <a:cubicBezTo>
                    <a:pt x="7144" y="97977"/>
                    <a:pt x="97977" y="7144"/>
                    <a:pt x="210026" y="7144"/>
                  </a:cubicBezTo>
                  <a:cubicBezTo>
                    <a:pt x="322075" y="7144"/>
                    <a:pt x="412909" y="97977"/>
                    <a:pt x="412909" y="210026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400A4C3C-901E-4CE0-A4A7-EF498B121FD6}"/>
                </a:ext>
              </a:extLst>
            </p:cNvPr>
            <p:cNvSpPr/>
            <p:nvPr/>
          </p:nvSpPr>
          <p:spPr>
            <a:xfrm>
              <a:off x="1189700" y="4105618"/>
              <a:ext cx="328135" cy="328135"/>
            </a:xfrm>
            <a:custGeom>
              <a:avLst/>
              <a:gdLst>
                <a:gd name="connsiteX0" fmla="*/ 138869 w 238125"/>
                <a:gd name="connsiteY0" fmla="*/ 24165 h 238125"/>
                <a:gd name="connsiteX1" fmla="*/ 221630 w 238125"/>
                <a:gd name="connsiteY1" fmla="*/ 138870 h 238125"/>
                <a:gd name="connsiteX2" fmla="*/ 106925 w 238125"/>
                <a:gd name="connsiteY2" fmla="*/ 221630 h 238125"/>
                <a:gd name="connsiteX3" fmla="*/ 24165 w 238125"/>
                <a:gd name="connsiteY3" fmla="*/ 106926 h 238125"/>
                <a:gd name="connsiteX4" fmla="*/ 138869 w 238125"/>
                <a:gd name="connsiteY4" fmla="*/ 2416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8125" h="238125">
                  <a:moveTo>
                    <a:pt x="138869" y="24165"/>
                  </a:moveTo>
                  <a:cubicBezTo>
                    <a:pt x="193398" y="32986"/>
                    <a:pt x="230451" y="84341"/>
                    <a:pt x="221630" y="138870"/>
                  </a:cubicBezTo>
                  <a:cubicBezTo>
                    <a:pt x="212809" y="193398"/>
                    <a:pt x="161454" y="230451"/>
                    <a:pt x="106925" y="221630"/>
                  </a:cubicBezTo>
                  <a:cubicBezTo>
                    <a:pt x="52397" y="212809"/>
                    <a:pt x="15344" y="161454"/>
                    <a:pt x="24165" y="106926"/>
                  </a:cubicBezTo>
                  <a:cubicBezTo>
                    <a:pt x="32986" y="52397"/>
                    <a:pt x="84341" y="15344"/>
                    <a:pt x="138869" y="24165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508A7964-D799-4953-A9B8-B2C94F257DA6}"/>
                </a:ext>
              </a:extLst>
            </p:cNvPr>
            <p:cNvSpPr/>
            <p:nvPr/>
          </p:nvSpPr>
          <p:spPr>
            <a:xfrm>
              <a:off x="3377985" y="3890239"/>
              <a:ext cx="131254" cy="131254"/>
            </a:xfrm>
            <a:custGeom>
              <a:avLst/>
              <a:gdLst>
                <a:gd name="connsiteX0" fmla="*/ 93821 w 95250"/>
                <a:gd name="connsiteY0" fmla="*/ 90011 h 95250"/>
                <a:gd name="connsiteX1" fmla="*/ 7144 w 95250"/>
                <a:gd name="connsiteY1" fmla="*/ 90011 h 95250"/>
                <a:gd name="connsiteX2" fmla="*/ 7144 w 95250"/>
                <a:gd name="connsiteY2" fmla="*/ 7144 h 95250"/>
                <a:gd name="connsiteX3" fmla="*/ 93821 w 95250"/>
                <a:gd name="connsiteY3" fmla="*/ 714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95250">
                  <a:moveTo>
                    <a:pt x="93821" y="90011"/>
                  </a:moveTo>
                  <a:lnTo>
                    <a:pt x="7144" y="90011"/>
                  </a:lnTo>
                  <a:lnTo>
                    <a:pt x="7144" y="7144"/>
                  </a:lnTo>
                  <a:lnTo>
                    <a:pt x="93821" y="714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562F79B1-1A0C-41D9-A0D0-8F91B9277D4B}"/>
                </a:ext>
              </a:extLst>
            </p:cNvPr>
            <p:cNvSpPr/>
            <p:nvPr/>
          </p:nvSpPr>
          <p:spPr>
            <a:xfrm>
              <a:off x="3258229" y="3890239"/>
              <a:ext cx="131254" cy="131254"/>
            </a:xfrm>
            <a:custGeom>
              <a:avLst/>
              <a:gdLst>
                <a:gd name="connsiteX0" fmla="*/ 93821 w 95250"/>
                <a:gd name="connsiteY0" fmla="*/ 90011 h 95250"/>
                <a:gd name="connsiteX1" fmla="*/ 7144 w 95250"/>
                <a:gd name="connsiteY1" fmla="*/ 90011 h 95250"/>
                <a:gd name="connsiteX2" fmla="*/ 7144 w 95250"/>
                <a:gd name="connsiteY2" fmla="*/ 7144 h 95250"/>
                <a:gd name="connsiteX3" fmla="*/ 93821 w 95250"/>
                <a:gd name="connsiteY3" fmla="*/ 714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95250">
                  <a:moveTo>
                    <a:pt x="93821" y="90011"/>
                  </a:moveTo>
                  <a:lnTo>
                    <a:pt x="7144" y="90011"/>
                  </a:lnTo>
                  <a:lnTo>
                    <a:pt x="7144" y="7144"/>
                  </a:lnTo>
                  <a:lnTo>
                    <a:pt x="93821" y="7144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834F8453-2F9D-4842-B7CE-FA76A3F703BB}"/>
                </a:ext>
              </a:extLst>
            </p:cNvPr>
            <p:cNvSpPr/>
            <p:nvPr/>
          </p:nvSpPr>
          <p:spPr>
            <a:xfrm>
              <a:off x="4117406" y="3890239"/>
              <a:ext cx="131254" cy="131254"/>
            </a:xfrm>
            <a:custGeom>
              <a:avLst/>
              <a:gdLst>
                <a:gd name="connsiteX0" fmla="*/ 93821 w 95250"/>
                <a:gd name="connsiteY0" fmla="*/ 90011 h 95250"/>
                <a:gd name="connsiteX1" fmla="*/ 7144 w 95250"/>
                <a:gd name="connsiteY1" fmla="*/ 90011 h 95250"/>
                <a:gd name="connsiteX2" fmla="*/ 7144 w 95250"/>
                <a:gd name="connsiteY2" fmla="*/ 7144 h 95250"/>
                <a:gd name="connsiteX3" fmla="*/ 93821 w 95250"/>
                <a:gd name="connsiteY3" fmla="*/ 7144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5250" h="95250">
                  <a:moveTo>
                    <a:pt x="93821" y="90011"/>
                  </a:moveTo>
                  <a:lnTo>
                    <a:pt x="7144" y="90011"/>
                  </a:lnTo>
                  <a:lnTo>
                    <a:pt x="7144" y="7144"/>
                  </a:lnTo>
                  <a:lnTo>
                    <a:pt x="93821" y="714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B375916E-3406-4642-9A57-9460C7E8D17E}"/>
                </a:ext>
              </a:extLst>
            </p:cNvPr>
            <p:cNvSpPr/>
            <p:nvPr/>
          </p:nvSpPr>
          <p:spPr>
            <a:xfrm>
              <a:off x="1716178" y="3671834"/>
              <a:ext cx="196881" cy="78753"/>
            </a:xfrm>
            <a:custGeom>
              <a:avLst/>
              <a:gdLst>
                <a:gd name="connsiteX0" fmla="*/ 32861 w 142875"/>
                <a:gd name="connsiteY0" fmla="*/ 50959 h 57150"/>
                <a:gd name="connsiteX1" fmla="*/ 112871 w 142875"/>
                <a:gd name="connsiteY1" fmla="*/ 50959 h 57150"/>
                <a:gd name="connsiteX2" fmla="*/ 138589 w 142875"/>
                <a:gd name="connsiteY2" fmla="*/ 25241 h 57150"/>
                <a:gd name="connsiteX3" fmla="*/ 138589 w 142875"/>
                <a:gd name="connsiteY3" fmla="*/ 7144 h 57150"/>
                <a:gd name="connsiteX4" fmla="*/ 7144 w 142875"/>
                <a:gd name="connsiteY4" fmla="*/ 7144 h 57150"/>
                <a:gd name="connsiteX5" fmla="*/ 7144 w 142875"/>
                <a:gd name="connsiteY5" fmla="*/ 25241 h 57150"/>
                <a:gd name="connsiteX6" fmla="*/ 32861 w 142875"/>
                <a:gd name="connsiteY6" fmla="*/ 5095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57150">
                  <a:moveTo>
                    <a:pt x="32861" y="50959"/>
                  </a:moveTo>
                  <a:lnTo>
                    <a:pt x="112871" y="50959"/>
                  </a:lnTo>
                  <a:cubicBezTo>
                    <a:pt x="127159" y="50959"/>
                    <a:pt x="138589" y="39529"/>
                    <a:pt x="138589" y="25241"/>
                  </a:cubicBezTo>
                  <a:lnTo>
                    <a:pt x="138589" y="7144"/>
                  </a:lnTo>
                  <a:lnTo>
                    <a:pt x="7144" y="7144"/>
                  </a:lnTo>
                  <a:lnTo>
                    <a:pt x="7144" y="25241"/>
                  </a:lnTo>
                  <a:cubicBezTo>
                    <a:pt x="7144" y="39529"/>
                    <a:pt x="18574" y="50959"/>
                    <a:pt x="32861" y="50959"/>
                  </a:cubicBez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5216F4C4-734A-451B-BE1B-1217DF6D6932}"/>
                </a:ext>
              </a:extLst>
            </p:cNvPr>
            <p:cNvSpPr/>
            <p:nvPr/>
          </p:nvSpPr>
          <p:spPr>
            <a:xfrm>
              <a:off x="1716178" y="3670521"/>
              <a:ext cx="196881" cy="65627"/>
            </a:xfrm>
            <a:custGeom>
              <a:avLst/>
              <a:gdLst>
                <a:gd name="connsiteX0" fmla="*/ 32861 w 142875"/>
                <a:gd name="connsiteY0" fmla="*/ 40481 h 47625"/>
                <a:gd name="connsiteX1" fmla="*/ 112871 w 142875"/>
                <a:gd name="connsiteY1" fmla="*/ 40481 h 47625"/>
                <a:gd name="connsiteX2" fmla="*/ 138589 w 142875"/>
                <a:gd name="connsiteY2" fmla="*/ 14764 h 47625"/>
                <a:gd name="connsiteX3" fmla="*/ 138589 w 142875"/>
                <a:gd name="connsiteY3" fmla="*/ 7144 h 47625"/>
                <a:gd name="connsiteX4" fmla="*/ 7144 w 142875"/>
                <a:gd name="connsiteY4" fmla="*/ 7144 h 47625"/>
                <a:gd name="connsiteX5" fmla="*/ 7144 w 142875"/>
                <a:gd name="connsiteY5" fmla="*/ 14764 h 47625"/>
                <a:gd name="connsiteX6" fmla="*/ 32861 w 142875"/>
                <a:gd name="connsiteY6" fmla="*/ 40481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2875" h="47625">
                  <a:moveTo>
                    <a:pt x="32861" y="40481"/>
                  </a:moveTo>
                  <a:lnTo>
                    <a:pt x="112871" y="40481"/>
                  </a:lnTo>
                  <a:cubicBezTo>
                    <a:pt x="127159" y="40481"/>
                    <a:pt x="138589" y="29051"/>
                    <a:pt x="138589" y="14764"/>
                  </a:cubicBezTo>
                  <a:lnTo>
                    <a:pt x="138589" y="7144"/>
                  </a:lnTo>
                  <a:lnTo>
                    <a:pt x="7144" y="7144"/>
                  </a:lnTo>
                  <a:lnTo>
                    <a:pt x="7144" y="14764"/>
                  </a:lnTo>
                  <a:cubicBezTo>
                    <a:pt x="7144" y="29051"/>
                    <a:pt x="18574" y="40481"/>
                    <a:pt x="32861" y="40481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171C159-EB2D-40DD-97BA-1E76A9C66B70}"/>
                </a:ext>
              </a:extLst>
            </p:cNvPr>
            <p:cNvSpPr/>
            <p:nvPr/>
          </p:nvSpPr>
          <p:spPr>
            <a:xfrm>
              <a:off x="831526" y="3838526"/>
              <a:ext cx="118128" cy="236258"/>
            </a:xfrm>
            <a:custGeom>
              <a:avLst/>
              <a:gdLst>
                <a:gd name="connsiteX0" fmla="*/ 86201 w 85725"/>
                <a:gd name="connsiteY0" fmla="*/ 86201 h 171450"/>
                <a:gd name="connsiteX1" fmla="*/ 7144 w 85725"/>
                <a:gd name="connsiteY1" fmla="*/ 7144 h 171450"/>
                <a:gd name="connsiteX2" fmla="*/ 7144 w 85725"/>
                <a:gd name="connsiteY2" fmla="*/ 165259 h 171450"/>
                <a:gd name="connsiteX3" fmla="*/ 86201 w 85725"/>
                <a:gd name="connsiteY3" fmla="*/ 86201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5725" h="171450">
                  <a:moveTo>
                    <a:pt x="86201" y="86201"/>
                  </a:moveTo>
                  <a:cubicBezTo>
                    <a:pt x="86201" y="42386"/>
                    <a:pt x="50959" y="7144"/>
                    <a:pt x="7144" y="7144"/>
                  </a:cubicBezTo>
                  <a:lnTo>
                    <a:pt x="7144" y="165259"/>
                  </a:lnTo>
                  <a:cubicBezTo>
                    <a:pt x="50959" y="165259"/>
                    <a:pt x="86201" y="130016"/>
                    <a:pt x="86201" y="8620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5B6DE94-B0B6-42E2-801B-7B5EBB6568ED}"/>
                </a:ext>
              </a:extLst>
            </p:cNvPr>
            <p:cNvSpPr/>
            <p:nvPr/>
          </p:nvSpPr>
          <p:spPr>
            <a:xfrm>
              <a:off x="3322728" y="4079441"/>
              <a:ext cx="984405" cy="196881"/>
            </a:xfrm>
            <a:custGeom>
              <a:avLst/>
              <a:gdLst>
                <a:gd name="connsiteX0" fmla="*/ 670084 w 714375"/>
                <a:gd name="connsiteY0" fmla="*/ 7144 h 142875"/>
                <a:gd name="connsiteX1" fmla="*/ 47149 w 714375"/>
                <a:gd name="connsiteY1" fmla="*/ 7144 h 142875"/>
                <a:gd name="connsiteX2" fmla="*/ 7144 w 714375"/>
                <a:gd name="connsiteY2" fmla="*/ 47149 h 142875"/>
                <a:gd name="connsiteX3" fmla="*/ 7144 w 714375"/>
                <a:gd name="connsiteY3" fmla="*/ 101441 h 142875"/>
                <a:gd name="connsiteX4" fmla="*/ 47149 w 714375"/>
                <a:gd name="connsiteY4" fmla="*/ 141446 h 142875"/>
                <a:gd name="connsiteX5" fmla="*/ 670084 w 714375"/>
                <a:gd name="connsiteY5" fmla="*/ 141446 h 142875"/>
                <a:gd name="connsiteX6" fmla="*/ 710089 w 714375"/>
                <a:gd name="connsiteY6" fmla="*/ 101441 h 142875"/>
                <a:gd name="connsiteX7" fmla="*/ 710089 w 714375"/>
                <a:gd name="connsiteY7" fmla="*/ 47149 h 142875"/>
                <a:gd name="connsiteX8" fmla="*/ 670084 w 714375"/>
                <a:gd name="connsiteY8" fmla="*/ 7144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4375" h="142875">
                  <a:moveTo>
                    <a:pt x="670084" y="7144"/>
                  </a:moveTo>
                  <a:lnTo>
                    <a:pt x="47149" y="7144"/>
                  </a:lnTo>
                  <a:cubicBezTo>
                    <a:pt x="25241" y="7144"/>
                    <a:pt x="7144" y="25241"/>
                    <a:pt x="7144" y="47149"/>
                  </a:cubicBezTo>
                  <a:lnTo>
                    <a:pt x="7144" y="101441"/>
                  </a:lnTo>
                  <a:cubicBezTo>
                    <a:pt x="7144" y="123349"/>
                    <a:pt x="25241" y="141446"/>
                    <a:pt x="47149" y="141446"/>
                  </a:cubicBezTo>
                  <a:lnTo>
                    <a:pt x="670084" y="141446"/>
                  </a:lnTo>
                  <a:cubicBezTo>
                    <a:pt x="691991" y="141446"/>
                    <a:pt x="710089" y="123349"/>
                    <a:pt x="710089" y="101441"/>
                  </a:cubicBezTo>
                  <a:lnTo>
                    <a:pt x="710089" y="47149"/>
                  </a:lnTo>
                  <a:cubicBezTo>
                    <a:pt x="710089" y="25241"/>
                    <a:pt x="691991" y="7144"/>
                    <a:pt x="670084" y="7144"/>
                  </a:cubicBez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DF31EF33-0EDC-44CE-9407-39D5E5BC907C}"/>
                </a:ext>
              </a:extLst>
            </p:cNvPr>
            <p:cNvSpPr/>
            <p:nvPr/>
          </p:nvSpPr>
          <p:spPr>
            <a:xfrm>
              <a:off x="3398855" y="4133254"/>
              <a:ext cx="91877" cy="91877"/>
            </a:xfrm>
            <a:custGeom>
              <a:avLst/>
              <a:gdLst>
                <a:gd name="connsiteX0" fmla="*/ 64294 w 66675"/>
                <a:gd name="connsiteY0" fmla="*/ 35719 h 66675"/>
                <a:gd name="connsiteX1" fmla="*/ 35719 w 66675"/>
                <a:gd name="connsiteY1" fmla="*/ 7144 h 66675"/>
                <a:gd name="connsiteX2" fmla="*/ 7144 w 66675"/>
                <a:gd name="connsiteY2" fmla="*/ 35719 h 66675"/>
                <a:gd name="connsiteX3" fmla="*/ 35719 w 66675"/>
                <a:gd name="connsiteY3" fmla="*/ 64294 h 66675"/>
                <a:gd name="connsiteX4" fmla="*/ 64294 w 66675"/>
                <a:gd name="connsiteY4" fmla="*/ 3571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" h="66675">
                  <a:moveTo>
                    <a:pt x="64294" y="35719"/>
                  </a:moveTo>
                  <a:cubicBezTo>
                    <a:pt x="64294" y="19526"/>
                    <a:pt x="51911" y="7144"/>
                    <a:pt x="35719" y="7144"/>
                  </a:cubicBezTo>
                  <a:cubicBezTo>
                    <a:pt x="19526" y="7144"/>
                    <a:pt x="7144" y="19526"/>
                    <a:pt x="7144" y="35719"/>
                  </a:cubicBezTo>
                  <a:cubicBezTo>
                    <a:pt x="7144" y="51911"/>
                    <a:pt x="19526" y="64294"/>
                    <a:pt x="35719" y="64294"/>
                  </a:cubicBezTo>
                  <a:cubicBezTo>
                    <a:pt x="50959" y="64294"/>
                    <a:pt x="64294" y="50959"/>
                    <a:pt x="64294" y="35719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17025610-1001-4960-A666-2AF2304D34B3}"/>
                </a:ext>
              </a:extLst>
            </p:cNvPr>
            <p:cNvSpPr/>
            <p:nvPr/>
          </p:nvSpPr>
          <p:spPr>
            <a:xfrm>
              <a:off x="3505171" y="4152943"/>
              <a:ext cx="52502" cy="52502"/>
            </a:xfrm>
            <a:custGeom>
              <a:avLst/>
              <a:gdLst>
                <a:gd name="connsiteX0" fmla="*/ 35719 w 38100"/>
                <a:gd name="connsiteY0" fmla="*/ 21431 h 38100"/>
                <a:gd name="connsiteX1" fmla="*/ 21431 w 38100"/>
                <a:gd name="connsiteY1" fmla="*/ 7144 h 38100"/>
                <a:gd name="connsiteX2" fmla="*/ 7144 w 38100"/>
                <a:gd name="connsiteY2" fmla="*/ 21431 h 38100"/>
                <a:gd name="connsiteX3" fmla="*/ 21431 w 38100"/>
                <a:gd name="connsiteY3" fmla="*/ 35719 h 38100"/>
                <a:gd name="connsiteX4" fmla="*/ 35719 w 38100"/>
                <a:gd name="connsiteY4" fmla="*/ 2143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35719" y="21431"/>
                  </a:moveTo>
                  <a:cubicBezTo>
                    <a:pt x="35719" y="13811"/>
                    <a:pt x="29051" y="7144"/>
                    <a:pt x="21431" y="7144"/>
                  </a:cubicBezTo>
                  <a:cubicBezTo>
                    <a:pt x="13811" y="7144"/>
                    <a:pt x="7144" y="13811"/>
                    <a:pt x="7144" y="21431"/>
                  </a:cubicBezTo>
                  <a:cubicBezTo>
                    <a:pt x="7144" y="29051"/>
                    <a:pt x="13811" y="35719"/>
                    <a:pt x="21431" y="35719"/>
                  </a:cubicBezTo>
                  <a:cubicBezTo>
                    <a:pt x="29051" y="35719"/>
                    <a:pt x="35719" y="29051"/>
                    <a:pt x="35719" y="2143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538AC123-6B21-4522-97CF-D578B3718FD1}"/>
                </a:ext>
              </a:extLst>
            </p:cNvPr>
            <p:cNvSpPr/>
            <p:nvPr/>
          </p:nvSpPr>
          <p:spPr>
            <a:xfrm>
              <a:off x="4137815" y="4133254"/>
              <a:ext cx="91877" cy="91877"/>
            </a:xfrm>
            <a:custGeom>
              <a:avLst/>
              <a:gdLst>
                <a:gd name="connsiteX0" fmla="*/ 7144 w 66675"/>
                <a:gd name="connsiteY0" fmla="*/ 35719 h 66675"/>
                <a:gd name="connsiteX1" fmla="*/ 35719 w 66675"/>
                <a:gd name="connsiteY1" fmla="*/ 64294 h 66675"/>
                <a:gd name="connsiteX2" fmla="*/ 64294 w 66675"/>
                <a:gd name="connsiteY2" fmla="*/ 35719 h 66675"/>
                <a:gd name="connsiteX3" fmla="*/ 35719 w 66675"/>
                <a:gd name="connsiteY3" fmla="*/ 7144 h 66675"/>
                <a:gd name="connsiteX4" fmla="*/ 7144 w 66675"/>
                <a:gd name="connsiteY4" fmla="*/ 35719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" h="66675">
                  <a:moveTo>
                    <a:pt x="7144" y="35719"/>
                  </a:moveTo>
                  <a:cubicBezTo>
                    <a:pt x="7144" y="51911"/>
                    <a:pt x="19526" y="64294"/>
                    <a:pt x="35719" y="64294"/>
                  </a:cubicBezTo>
                  <a:cubicBezTo>
                    <a:pt x="51911" y="64294"/>
                    <a:pt x="64294" y="51911"/>
                    <a:pt x="64294" y="35719"/>
                  </a:cubicBezTo>
                  <a:cubicBezTo>
                    <a:pt x="64294" y="19526"/>
                    <a:pt x="51911" y="7144"/>
                    <a:pt x="35719" y="7144"/>
                  </a:cubicBezTo>
                  <a:cubicBezTo>
                    <a:pt x="19526" y="7144"/>
                    <a:pt x="7144" y="19526"/>
                    <a:pt x="7144" y="35719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050B54A1-83EB-4C5B-8056-5D78F7995F4D}"/>
                </a:ext>
              </a:extLst>
            </p:cNvPr>
            <p:cNvSpPr/>
            <p:nvPr/>
          </p:nvSpPr>
          <p:spPr>
            <a:xfrm>
              <a:off x="4069563" y="4152943"/>
              <a:ext cx="52502" cy="52502"/>
            </a:xfrm>
            <a:custGeom>
              <a:avLst/>
              <a:gdLst>
                <a:gd name="connsiteX0" fmla="*/ 7144 w 38100"/>
                <a:gd name="connsiteY0" fmla="*/ 21431 h 38100"/>
                <a:gd name="connsiteX1" fmla="*/ 21431 w 38100"/>
                <a:gd name="connsiteY1" fmla="*/ 35719 h 38100"/>
                <a:gd name="connsiteX2" fmla="*/ 35719 w 38100"/>
                <a:gd name="connsiteY2" fmla="*/ 21431 h 38100"/>
                <a:gd name="connsiteX3" fmla="*/ 21431 w 38100"/>
                <a:gd name="connsiteY3" fmla="*/ 7144 h 38100"/>
                <a:gd name="connsiteX4" fmla="*/ 7144 w 38100"/>
                <a:gd name="connsiteY4" fmla="*/ 21431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100" h="38100">
                  <a:moveTo>
                    <a:pt x="7144" y="21431"/>
                  </a:moveTo>
                  <a:cubicBezTo>
                    <a:pt x="7144" y="29051"/>
                    <a:pt x="13811" y="35719"/>
                    <a:pt x="21431" y="35719"/>
                  </a:cubicBezTo>
                  <a:cubicBezTo>
                    <a:pt x="29051" y="35719"/>
                    <a:pt x="35719" y="29051"/>
                    <a:pt x="35719" y="21431"/>
                  </a:cubicBezTo>
                  <a:cubicBezTo>
                    <a:pt x="35719" y="13811"/>
                    <a:pt x="29051" y="7144"/>
                    <a:pt x="21431" y="7144"/>
                  </a:cubicBezTo>
                  <a:cubicBezTo>
                    <a:pt x="13811" y="7144"/>
                    <a:pt x="7144" y="13811"/>
                    <a:pt x="7144" y="21431"/>
                  </a:cubicBezTo>
                  <a:close/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1F26BB3B-276F-4B8C-9256-A7E53D5EFE16}"/>
                </a:ext>
              </a:extLst>
            </p:cNvPr>
            <p:cNvSpPr/>
            <p:nvPr/>
          </p:nvSpPr>
          <p:spPr>
            <a:xfrm>
              <a:off x="3210984" y="3532298"/>
              <a:ext cx="39994" cy="59991"/>
            </a:xfrm>
            <a:custGeom>
              <a:avLst/>
              <a:gdLst>
                <a:gd name="connsiteX0" fmla="*/ 18574 w 19050"/>
                <a:gd name="connsiteY0" fmla="*/ 22384 h 28575"/>
                <a:gd name="connsiteX1" fmla="*/ 7144 w 19050"/>
                <a:gd name="connsiteY1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050" h="28575">
                  <a:moveTo>
                    <a:pt x="18574" y="22384"/>
                  </a:moveTo>
                  <a:cubicBezTo>
                    <a:pt x="18574" y="22384"/>
                    <a:pt x="14764" y="16669"/>
                    <a:pt x="7144" y="7144"/>
                  </a:cubicBezTo>
                </a:path>
              </a:pathLst>
            </a:custGeom>
            <a:noFill/>
            <a:ln w="9525" cap="flat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48" name="矩形 47">
            <a:extLst>
              <a:ext uri="{FF2B5EF4-FFF2-40B4-BE49-F238E27FC236}">
                <a16:creationId xmlns:a16="http://schemas.microsoft.com/office/drawing/2014/main" id="{95BDAA05-E2D8-447B-A22C-F17A369A3992}"/>
              </a:ext>
            </a:extLst>
          </p:cNvPr>
          <p:cNvSpPr/>
          <p:nvPr/>
        </p:nvSpPr>
        <p:spPr>
          <a:xfrm>
            <a:off x="4525721" y="4103660"/>
            <a:ext cx="1839782" cy="356476"/>
          </a:xfrm>
          <a:prstGeom prst="rect">
            <a:avLst/>
          </a:prstGeom>
          <a:noFill/>
        </p:spPr>
        <p:txBody>
          <a:bodyPr wrap="square" lIns="90000" tIns="46800" rIns="90000" bIns="46800" anchor="ctr">
            <a:normAutofit fontScale="85000" lnSpcReduction="20000"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2500" b="1" i="0" strike="noStrike" kern="1200" cap="none" spc="0" normalizeH="0" baseline="0" noProof="0" dirty="0"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TEXT HERE</a:t>
            </a:r>
          </a:p>
        </p:txBody>
      </p:sp>
      <p:sp>
        <p:nvSpPr>
          <p:cNvPr id="49" name="矩形 48">
            <a:extLst>
              <a:ext uri="{FF2B5EF4-FFF2-40B4-BE49-F238E27FC236}">
                <a16:creationId xmlns:a16="http://schemas.microsoft.com/office/drawing/2014/main" id="{14A4F600-048A-4F7F-8200-AA5182BFED96}"/>
              </a:ext>
            </a:extLst>
          </p:cNvPr>
          <p:cNvSpPr/>
          <p:nvPr/>
        </p:nvSpPr>
        <p:spPr>
          <a:xfrm>
            <a:off x="4525720" y="4384063"/>
            <a:ext cx="1839783" cy="278453"/>
          </a:xfrm>
          <a:prstGeom prst="rect">
            <a:avLst/>
          </a:prstGeom>
          <a:noFill/>
        </p:spPr>
        <p:txBody>
          <a:bodyPr wrap="none" lIns="90000" tIns="46800" rIns="90000" bIns="46800">
            <a:normAutofit fontScale="85000" lnSpcReduction="20000"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cs typeface="+mn-ea"/>
                <a:sym typeface="+mn-lt"/>
              </a:rPr>
              <a:t>Supporting text here</a:t>
            </a: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3CC1525A-116C-4DFC-9FA7-55E9DA100737}"/>
              </a:ext>
            </a:extLst>
          </p:cNvPr>
          <p:cNvSpPr/>
          <p:nvPr/>
        </p:nvSpPr>
        <p:spPr>
          <a:xfrm>
            <a:off x="6531250" y="4139627"/>
            <a:ext cx="2957140" cy="400281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en-US" altLang="zh-CN" sz="1050" dirty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Supporting text here Supporting text  </a:t>
            </a:r>
          </a:p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p"/>
              <a:defRPr/>
            </a:pPr>
            <a:r>
              <a:rPr lang="en-US" altLang="zh-CN" sz="1050" dirty="0">
                <a:solidFill>
                  <a:schemeClr val="tx2">
                    <a:lumMod val="50000"/>
                  </a:schemeClr>
                </a:solidFill>
                <a:cs typeface="+mn-ea"/>
                <a:sym typeface="+mn-lt"/>
              </a:rPr>
              <a:t>Supporting text here Supporting text here</a:t>
            </a:r>
            <a:endParaRPr lang="en-US" altLang="zh-CN" sz="1100" dirty="0">
              <a:solidFill>
                <a:schemeClr val="tx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E7D311C2-52A6-4B4E-A4EA-DADA10CC74F8}"/>
              </a:ext>
            </a:extLst>
          </p:cNvPr>
          <p:cNvSpPr/>
          <p:nvPr/>
        </p:nvSpPr>
        <p:spPr>
          <a:xfrm>
            <a:off x="7456820" y="2901783"/>
            <a:ext cx="519923" cy="759887"/>
          </a:xfrm>
          <a:custGeom>
            <a:avLst/>
            <a:gdLst>
              <a:gd name="connsiteX0" fmla="*/ 210553 w 247650"/>
              <a:gd name="connsiteY0" fmla="*/ 42148 h 361950"/>
              <a:gd name="connsiteX1" fmla="*/ 41961 w 247650"/>
              <a:gd name="connsiteY1" fmla="*/ 42148 h 361950"/>
              <a:gd name="connsiteX2" fmla="*/ 20053 w 247650"/>
              <a:gd name="connsiteY2" fmla="*/ 180261 h 361950"/>
              <a:gd name="connsiteX3" fmla="*/ 20053 w 247650"/>
              <a:gd name="connsiteY3" fmla="*/ 180261 h 361950"/>
              <a:gd name="connsiteX4" fmla="*/ 20053 w 247650"/>
              <a:gd name="connsiteY4" fmla="*/ 181213 h 361950"/>
              <a:gd name="connsiteX5" fmla="*/ 26721 w 247650"/>
              <a:gd name="connsiteY5" fmla="*/ 191691 h 361950"/>
              <a:gd name="connsiteX6" fmla="*/ 126733 w 247650"/>
              <a:gd name="connsiteY6" fmla="*/ 364093 h 361950"/>
              <a:gd name="connsiteX7" fmla="*/ 225793 w 247650"/>
              <a:gd name="connsiteY7" fmla="*/ 191691 h 361950"/>
              <a:gd name="connsiteX8" fmla="*/ 232461 w 247650"/>
              <a:gd name="connsiteY8" fmla="*/ 181213 h 361950"/>
              <a:gd name="connsiteX9" fmla="*/ 232461 w 247650"/>
              <a:gd name="connsiteY9" fmla="*/ 180261 h 361950"/>
              <a:gd name="connsiteX10" fmla="*/ 232461 w 247650"/>
              <a:gd name="connsiteY10" fmla="*/ 180261 h 361950"/>
              <a:gd name="connsiteX11" fmla="*/ 210553 w 247650"/>
              <a:gd name="connsiteY11" fmla="*/ 42148 h 361950"/>
              <a:gd name="connsiteX12" fmla="*/ 125781 w 247650"/>
              <a:gd name="connsiteY12" fmla="*/ 183118 h 361950"/>
              <a:gd name="connsiteX13" fmla="*/ 69583 w 247650"/>
              <a:gd name="connsiteY13" fmla="*/ 126921 h 361950"/>
              <a:gd name="connsiteX14" fmla="*/ 125781 w 247650"/>
              <a:gd name="connsiteY14" fmla="*/ 70723 h 361950"/>
              <a:gd name="connsiteX15" fmla="*/ 181978 w 247650"/>
              <a:gd name="connsiteY15" fmla="*/ 126921 h 361950"/>
              <a:gd name="connsiteX16" fmla="*/ 125781 w 247650"/>
              <a:gd name="connsiteY16" fmla="*/ 183118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47650" h="361950">
                <a:moveTo>
                  <a:pt x="210553" y="42148"/>
                </a:moveTo>
                <a:cubicBezTo>
                  <a:pt x="163881" y="-4524"/>
                  <a:pt x="88633" y="-4524"/>
                  <a:pt x="41961" y="42148"/>
                </a:cubicBezTo>
                <a:cubicBezTo>
                  <a:pt x="4813" y="79296"/>
                  <a:pt x="-2807" y="135493"/>
                  <a:pt x="20053" y="180261"/>
                </a:cubicBezTo>
                <a:lnTo>
                  <a:pt x="20053" y="180261"/>
                </a:lnTo>
                <a:lnTo>
                  <a:pt x="20053" y="181213"/>
                </a:lnTo>
                <a:cubicBezTo>
                  <a:pt x="21958" y="185023"/>
                  <a:pt x="23863" y="188833"/>
                  <a:pt x="26721" y="191691"/>
                </a:cubicBezTo>
                <a:lnTo>
                  <a:pt x="126733" y="364093"/>
                </a:lnTo>
                <a:lnTo>
                  <a:pt x="225793" y="191691"/>
                </a:lnTo>
                <a:cubicBezTo>
                  <a:pt x="227698" y="187881"/>
                  <a:pt x="230556" y="184071"/>
                  <a:pt x="232461" y="181213"/>
                </a:cubicBezTo>
                <a:lnTo>
                  <a:pt x="232461" y="180261"/>
                </a:lnTo>
                <a:lnTo>
                  <a:pt x="232461" y="180261"/>
                </a:lnTo>
                <a:cubicBezTo>
                  <a:pt x="255321" y="135493"/>
                  <a:pt x="247701" y="79296"/>
                  <a:pt x="210553" y="42148"/>
                </a:cubicBezTo>
                <a:close/>
                <a:moveTo>
                  <a:pt x="125781" y="183118"/>
                </a:moveTo>
                <a:cubicBezTo>
                  <a:pt x="94348" y="183118"/>
                  <a:pt x="69583" y="158353"/>
                  <a:pt x="69583" y="126921"/>
                </a:cubicBezTo>
                <a:cubicBezTo>
                  <a:pt x="69583" y="95488"/>
                  <a:pt x="94348" y="70723"/>
                  <a:pt x="125781" y="70723"/>
                </a:cubicBezTo>
                <a:cubicBezTo>
                  <a:pt x="157213" y="70723"/>
                  <a:pt x="181978" y="95488"/>
                  <a:pt x="181978" y="126921"/>
                </a:cubicBezTo>
                <a:cubicBezTo>
                  <a:pt x="182931" y="157401"/>
                  <a:pt x="157213" y="183118"/>
                  <a:pt x="125781" y="183118"/>
                </a:cubicBezTo>
                <a:close/>
              </a:path>
            </a:pathLst>
          </a:custGeom>
          <a:solidFill>
            <a:schemeClr val="accent4">
              <a:lumMod val="10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40551007-FF08-4A44-AEC9-92D0D54C4206}"/>
              </a:ext>
            </a:extLst>
          </p:cNvPr>
          <p:cNvSpPr txBox="1"/>
          <p:nvPr/>
        </p:nvSpPr>
        <p:spPr>
          <a:xfrm>
            <a:off x="7393688" y="2195485"/>
            <a:ext cx="832937" cy="624703"/>
          </a:xfrm>
          <a:prstGeom prst="rect">
            <a:avLst/>
          </a:prstGeom>
          <a:noFill/>
          <a:ln>
            <a:noFill/>
          </a:ln>
        </p:spPr>
        <p:txBody>
          <a:bodyPr wrap="square" tIns="90000" bIns="90000" anchor="ctr" anchorCtr="0">
            <a:prstTxWarp prst="textPlain">
              <a:avLst/>
            </a:prstTxWarp>
            <a:noAutofit/>
          </a:bodyPr>
          <a:lstStyle/>
          <a:p>
            <a:r>
              <a:rPr lang="en-US" altLang="zh-CN" sz="700">
                <a:solidFill>
                  <a:schemeClr val="accent4">
                    <a:lumMod val="100000"/>
                  </a:schemeClr>
                </a:solidFill>
                <a:cs typeface="+mn-ea"/>
                <a:sym typeface="+mn-lt"/>
              </a:rPr>
              <a:t>49%</a:t>
            </a:r>
            <a:endParaRPr lang="en-US" sz="700" dirty="0">
              <a:solidFill>
                <a:schemeClr val="accent4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3" name="矩形 52">
            <a:extLst>
              <a:ext uri="{FF2B5EF4-FFF2-40B4-BE49-F238E27FC236}">
                <a16:creationId xmlns:a16="http://schemas.microsoft.com/office/drawing/2014/main" id="{54F355A3-43E9-4695-968A-60525A2C3D81}"/>
              </a:ext>
            </a:extLst>
          </p:cNvPr>
          <p:cNvSpPr/>
          <p:nvPr/>
        </p:nvSpPr>
        <p:spPr bwMode="auto">
          <a:xfrm>
            <a:off x="4677270" y="3661670"/>
            <a:ext cx="6203084" cy="168005"/>
          </a:xfrm>
          <a:prstGeom prst="rect">
            <a:avLst/>
          </a:prstGeom>
          <a:solidFill>
            <a:srgbClr val="3A414B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zh-CN" altLang="en-US">
              <a:cs typeface="+mn-ea"/>
              <a:sym typeface="+mn-lt"/>
            </a:endParaRP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9B8F159B-23FF-404F-AD5D-7831FA544EF9}"/>
              </a:ext>
            </a:extLst>
          </p:cNvPr>
          <p:cNvSpPr/>
          <p:nvPr/>
        </p:nvSpPr>
        <p:spPr bwMode="auto">
          <a:xfrm>
            <a:off x="4677270" y="3661670"/>
            <a:ext cx="3039511" cy="168005"/>
          </a:xfrm>
          <a:prstGeom prst="rect">
            <a:avLst/>
          </a:prstGeom>
          <a:solidFill>
            <a:schemeClr val="accent4">
              <a:lumMod val="100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l"/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37018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69925" y="4796781"/>
            <a:ext cx="1168139" cy="101565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91865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8623E80B-10AF-4A2E-9EAF-BF7CA20748DB}"/>
              </a:ext>
            </a:extLst>
          </p:cNvPr>
          <p:cNvSpPr/>
          <p:nvPr/>
        </p:nvSpPr>
        <p:spPr>
          <a:xfrm flipH="1">
            <a:off x="7889627" y="2023262"/>
            <a:ext cx="1568052" cy="17051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08" h="21493" extrusionOk="0">
                <a:moveTo>
                  <a:pt x="11568" y="6"/>
                </a:moveTo>
                <a:cubicBezTo>
                  <a:pt x="10467" y="43"/>
                  <a:pt x="9346" y="277"/>
                  <a:pt x="8301" y="788"/>
                </a:cubicBezTo>
                <a:cubicBezTo>
                  <a:pt x="4875" y="2463"/>
                  <a:pt x="3315" y="6243"/>
                  <a:pt x="3652" y="9979"/>
                </a:cubicBezTo>
                <a:cubicBezTo>
                  <a:pt x="3692" y="10421"/>
                  <a:pt x="3758" y="10863"/>
                  <a:pt x="3744" y="11307"/>
                </a:cubicBezTo>
                <a:cubicBezTo>
                  <a:pt x="3716" y="12255"/>
                  <a:pt x="3336" y="13151"/>
                  <a:pt x="2797" y="13941"/>
                </a:cubicBezTo>
                <a:cubicBezTo>
                  <a:pt x="2116" y="14939"/>
                  <a:pt x="1172" y="15789"/>
                  <a:pt x="0" y="16380"/>
                </a:cubicBezTo>
                <a:cubicBezTo>
                  <a:pt x="1733" y="16479"/>
                  <a:pt x="3416" y="16991"/>
                  <a:pt x="4893" y="17861"/>
                </a:cubicBezTo>
                <a:cubicBezTo>
                  <a:pt x="6369" y="18731"/>
                  <a:pt x="7640" y="19959"/>
                  <a:pt x="8551" y="21493"/>
                </a:cubicBezTo>
                <a:cubicBezTo>
                  <a:pt x="8701" y="20438"/>
                  <a:pt x="9092" y="19426"/>
                  <a:pt x="9696" y="18535"/>
                </a:cubicBezTo>
                <a:cubicBezTo>
                  <a:pt x="10107" y="17927"/>
                  <a:pt x="10617" y="17377"/>
                  <a:pt x="11235" y="16940"/>
                </a:cubicBezTo>
                <a:cubicBezTo>
                  <a:pt x="11534" y="16729"/>
                  <a:pt x="11856" y="16547"/>
                  <a:pt x="12210" y="16439"/>
                </a:cubicBezTo>
                <a:cubicBezTo>
                  <a:pt x="12438" y="16370"/>
                  <a:pt x="12674" y="16333"/>
                  <a:pt x="12913" y="16329"/>
                </a:cubicBezTo>
                <a:cubicBezTo>
                  <a:pt x="13803" y="16250"/>
                  <a:pt x="14690" y="16015"/>
                  <a:pt x="15546" y="15627"/>
                </a:cubicBezTo>
                <a:cubicBezTo>
                  <a:pt x="19790" y="13704"/>
                  <a:pt x="21600" y="8798"/>
                  <a:pt x="19584" y="4699"/>
                </a:cubicBezTo>
                <a:cubicBezTo>
                  <a:pt x="18078" y="1636"/>
                  <a:pt x="14866" y="-107"/>
                  <a:pt x="11568" y="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10EC1B51-7795-4909-87EB-03E0429BD30C}"/>
              </a:ext>
            </a:extLst>
          </p:cNvPr>
          <p:cNvSpPr/>
          <p:nvPr/>
        </p:nvSpPr>
        <p:spPr>
          <a:xfrm flipH="1">
            <a:off x="8073633" y="2206479"/>
            <a:ext cx="935721" cy="9357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8950" h="18950" extrusionOk="0">
                <a:moveTo>
                  <a:pt x="18038" y="5425"/>
                </a:moveTo>
                <a:cubicBezTo>
                  <a:pt x="15801" y="695"/>
                  <a:pt x="10154" y="-1325"/>
                  <a:pt x="5425" y="912"/>
                </a:cubicBezTo>
                <a:cubicBezTo>
                  <a:pt x="696" y="3149"/>
                  <a:pt x="-1325" y="8796"/>
                  <a:pt x="912" y="13525"/>
                </a:cubicBezTo>
                <a:cubicBezTo>
                  <a:pt x="3148" y="18254"/>
                  <a:pt x="8796" y="20275"/>
                  <a:pt x="13525" y="18038"/>
                </a:cubicBezTo>
                <a:cubicBezTo>
                  <a:pt x="18254" y="15801"/>
                  <a:pt x="20275" y="10154"/>
                  <a:pt x="18038" y="5425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9100D5E7-0A30-4408-9EFA-CC6F0CBF2A3E}"/>
              </a:ext>
            </a:extLst>
          </p:cNvPr>
          <p:cNvSpPr/>
          <p:nvPr/>
        </p:nvSpPr>
        <p:spPr>
          <a:xfrm rot="16200000" flipH="1">
            <a:off x="8421314" y="2362683"/>
            <a:ext cx="240359" cy="2842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19" h="21298" extrusionOk="0">
                <a:moveTo>
                  <a:pt x="3138" y="20840"/>
                </a:moveTo>
                <a:cubicBezTo>
                  <a:pt x="2425" y="21446"/>
                  <a:pt x="1263" y="21451"/>
                  <a:pt x="544" y="20851"/>
                </a:cubicBezTo>
                <a:cubicBezTo>
                  <a:pt x="-181" y="20248"/>
                  <a:pt x="-181" y="19263"/>
                  <a:pt x="544" y="18659"/>
                </a:cubicBezTo>
                <a:lnTo>
                  <a:pt x="16984" y="10193"/>
                </a:lnTo>
                <a:lnTo>
                  <a:pt x="8313" y="2628"/>
                </a:lnTo>
                <a:cubicBezTo>
                  <a:pt x="7601" y="2022"/>
                  <a:pt x="7607" y="1046"/>
                  <a:pt x="8326" y="446"/>
                </a:cubicBezTo>
                <a:cubicBezTo>
                  <a:pt x="9041" y="-149"/>
                  <a:pt x="10193" y="-149"/>
                  <a:pt x="10907" y="446"/>
                </a:cubicBezTo>
                <a:lnTo>
                  <a:pt x="20881" y="9558"/>
                </a:lnTo>
                <a:cubicBezTo>
                  <a:pt x="21240" y="9860"/>
                  <a:pt x="21419" y="10251"/>
                  <a:pt x="21419" y="10643"/>
                </a:cubicBezTo>
                <a:cubicBezTo>
                  <a:pt x="21419" y="11035"/>
                  <a:pt x="21240" y="11427"/>
                  <a:pt x="20881" y="11728"/>
                </a:cubicBezTo>
                <a:lnTo>
                  <a:pt x="3138" y="2084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8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04936BB2-FBC1-4493-9A4E-893B63291E69}"/>
              </a:ext>
            </a:extLst>
          </p:cNvPr>
          <p:cNvSpPr/>
          <p:nvPr/>
        </p:nvSpPr>
        <p:spPr>
          <a:xfrm>
            <a:off x="7930025" y="2692452"/>
            <a:ext cx="1222939" cy="362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a14="http://schemas.microsoft.com/office/drawing/2010/main"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i="1" dirty="0">
                <a:cs typeface="+mn-ea"/>
                <a:sym typeface="+mn-lt"/>
              </a:rPr>
              <a:t>Text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93F05488-7051-4C79-9EF0-BB9D043AE078}"/>
              </a:ext>
            </a:extLst>
          </p:cNvPr>
          <p:cNvSpPr/>
          <p:nvPr/>
        </p:nvSpPr>
        <p:spPr>
          <a:xfrm flipH="1">
            <a:off x="8328541" y="3310520"/>
            <a:ext cx="1729859" cy="1609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02" h="21587" extrusionOk="0">
                <a:moveTo>
                  <a:pt x="7907" y="0"/>
                </a:moveTo>
                <a:cubicBezTo>
                  <a:pt x="6906" y="-13"/>
                  <a:pt x="5883" y="190"/>
                  <a:pt x="4894" y="634"/>
                </a:cubicBezTo>
                <a:cubicBezTo>
                  <a:pt x="884" y="2433"/>
                  <a:pt x="-1098" y="7565"/>
                  <a:pt x="622" y="11990"/>
                </a:cubicBezTo>
                <a:cubicBezTo>
                  <a:pt x="2075" y="15732"/>
                  <a:pt x="5652" y="17579"/>
                  <a:pt x="9206" y="17297"/>
                </a:cubicBezTo>
                <a:cubicBezTo>
                  <a:pt x="9486" y="17275"/>
                  <a:pt x="9766" y="17240"/>
                  <a:pt x="10047" y="17244"/>
                </a:cubicBezTo>
                <a:cubicBezTo>
                  <a:pt x="11079" y="17256"/>
                  <a:pt x="12042" y="17765"/>
                  <a:pt x="12862" y="18471"/>
                </a:cubicBezTo>
                <a:cubicBezTo>
                  <a:pt x="13781" y="19263"/>
                  <a:pt x="14547" y="20314"/>
                  <a:pt x="15062" y="21587"/>
                </a:cubicBezTo>
                <a:cubicBezTo>
                  <a:pt x="15247" y="19757"/>
                  <a:pt x="15835" y="18008"/>
                  <a:pt x="16763" y="16504"/>
                </a:cubicBezTo>
                <a:cubicBezTo>
                  <a:pt x="17692" y="14999"/>
                  <a:pt x="18960" y="13742"/>
                  <a:pt x="20502" y="12898"/>
                </a:cubicBezTo>
                <a:cubicBezTo>
                  <a:pt x="18373" y="12545"/>
                  <a:pt x="16507" y="10921"/>
                  <a:pt x="15719" y="8526"/>
                </a:cubicBezTo>
                <a:cubicBezTo>
                  <a:pt x="15568" y="8069"/>
                  <a:pt x="15465" y="7599"/>
                  <a:pt x="15359" y="7125"/>
                </a:cubicBezTo>
                <a:cubicBezTo>
                  <a:pt x="15237" y="6576"/>
                  <a:pt x="15111" y="6019"/>
                  <a:pt x="14931" y="5471"/>
                </a:cubicBezTo>
                <a:cubicBezTo>
                  <a:pt x="13811" y="2075"/>
                  <a:pt x="10934" y="41"/>
                  <a:pt x="7907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F9C895C3-E071-4E1F-B99E-5994877DF29E}"/>
              </a:ext>
            </a:extLst>
          </p:cNvPr>
          <p:cNvSpPr/>
          <p:nvPr/>
        </p:nvSpPr>
        <p:spPr>
          <a:xfrm flipH="1">
            <a:off x="8934967" y="3494342"/>
            <a:ext cx="934442" cy="93444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054" h="19054" extrusionOk="0">
                <a:moveTo>
                  <a:pt x="5969" y="692"/>
                </a:moveTo>
                <a:cubicBezTo>
                  <a:pt x="1089" y="2657"/>
                  <a:pt x="-1273" y="8206"/>
                  <a:pt x="692" y="13085"/>
                </a:cubicBezTo>
                <a:cubicBezTo>
                  <a:pt x="2657" y="17965"/>
                  <a:pt x="8206" y="20327"/>
                  <a:pt x="13085" y="18362"/>
                </a:cubicBezTo>
                <a:cubicBezTo>
                  <a:pt x="17965" y="16397"/>
                  <a:pt x="20327" y="10848"/>
                  <a:pt x="18362" y="5969"/>
                </a:cubicBezTo>
                <a:cubicBezTo>
                  <a:pt x="16397" y="1089"/>
                  <a:pt x="10848" y="-1273"/>
                  <a:pt x="5969" y="692"/>
                </a:cubicBezTo>
                <a:close/>
              </a:path>
            </a:pathLst>
          </a:cu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6665C138-7611-4A51-8A9A-B4F080771F38}"/>
              </a:ext>
            </a:extLst>
          </p:cNvPr>
          <p:cNvSpPr/>
          <p:nvPr/>
        </p:nvSpPr>
        <p:spPr>
          <a:xfrm>
            <a:off x="9242182" y="3689377"/>
            <a:ext cx="320011" cy="2375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085" y="8532"/>
                </a:moveTo>
                <a:lnTo>
                  <a:pt x="17798" y="8532"/>
                </a:lnTo>
                <a:lnTo>
                  <a:pt x="17798" y="12676"/>
                </a:lnTo>
                <a:cubicBezTo>
                  <a:pt x="17798" y="14711"/>
                  <a:pt x="16603" y="16373"/>
                  <a:pt x="15079" y="16373"/>
                </a:cubicBezTo>
                <a:lnTo>
                  <a:pt x="9158" y="16373"/>
                </a:lnTo>
                <a:lnTo>
                  <a:pt x="9158" y="17810"/>
                </a:lnTo>
                <a:cubicBezTo>
                  <a:pt x="9158" y="18927"/>
                  <a:pt x="9837" y="19832"/>
                  <a:pt x="10673" y="19832"/>
                </a:cubicBezTo>
                <a:lnTo>
                  <a:pt x="16728" y="19832"/>
                </a:lnTo>
                <a:lnTo>
                  <a:pt x="19181" y="21600"/>
                </a:lnTo>
                <a:lnTo>
                  <a:pt x="19181" y="19832"/>
                </a:lnTo>
                <a:lnTo>
                  <a:pt x="20085" y="19832"/>
                </a:lnTo>
                <a:cubicBezTo>
                  <a:pt x="20922" y="19832"/>
                  <a:pt x="21600" y="18927"/>
                  <a:pt x="21600" y="17810"/>
                </a:cubicBezTo>
                <a:lnTo>
                  <a:pt x="21600" y="10554"/>
                </a:lnTo>
                <a:cubicBezTo>
                  <a:pt x="21600" y="9438"/>
                  <a:pt x="20922" y="8532"/>
                  <a:pt x="20085" y="8532"/>
                </a:cubicBezTo>
                <a:close/>
                <a:moveTo>
                  <a:pt x="6912" y="15450"/>
                </a:moveTo>
                <a:lnTo>
                  <a:pt x="6689" y="15450"/>
                </a:lnTo>
                <a:lnTo>
                  <a:pt x="2592" y="18372"/>
                </a:lnTo>
                <a:lnTo>
                  <a:pt x="2592" y="15450"/>
                </a:lnTo>
                <a:lnTo>
                  <a:pt x="2074" y="15450"/>
                </a:lnTo>
                <a:cubicBezTo>
                  <a:pt x="928" y="15450"/>
                  <a:pt x="0" y="14211"/>
                  <a:pt x="0" y="12683"/>
                </a:cubicBezTo>
                <a:lnTo>
                  <a:pt x="0" y="2767"/>
                </a:lnTo>
                <a:cubicBezTo>
                  <a:pt x="0" y="1239"/>
                  <a:pt x="928" y="0"/>
                  <a:pt x="2074" y="0"/>
                </a:cubicBezTo>
                <a:lnTo>
                  <a:pt x="15034" y="0"/>
                </a:lnTo>
                <a:cubicBezTo>
                  <a:pt x="16179" y="0"/>
                  <a:pt x="17107" y="1239"/>
                  <a:pt x="17107" y="2767"/>
                </a:cubicBezTo>
                <a:lnTo>
                  <a:pt x="17107" y="4381"/>
                </a:lnTo>
                <a:lnTo>
                  <a:pt x="17107" y="8532"/>
                </a:lnTo>
                <a:lnTo>
                  <a:pt x="17107" y="12676"/>
                </a:lnTo>
                <a:cubicBezTo>
                  <a:pt x="17107" y="14205"/>
                  <a:pt x="16224" y="15450"/>
                  <a:pt x="15079" y="15450"/>
                </a:cubicBezTo>
                <a:lnTo>
                  <a:pt x="9158" y="15450"/>
                </a:lnTo>
                <a:cubicBezTo>
                  <a:pt x="9158" y="15450"/>
                  <a:pt x="6912" y="15450"/>
                  <a:pt x="6912" y="1545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B1BE8731-2AD6-4BB9-AC57-444828C4A28A}"/>
              </a:ext>
            </a:extLst>
          </p:cNvPr>
          <p:cNvSpPr/>
          <p:nvPr/>
        </p:nvSpPr>
        <p:spPr>
          <a:xfrm>
            <a:off x="8790718" y="3997010"/>
            <a:ext cx="1222939" cy="362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a14="http://schemas.microsoft.com/office/drawing/2010/main"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i="1" dirty="0">
                <a:cs typeface="+mn-ea"/>
                <a:sym typeface="+mn-lt"/>
              </a:rPr>
              <a:t>Text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86FBA9DA-1DD8-4980-8770-9B8B243B6229}"/>
              </a:ext>
            </a:extLst>
          </p:cNvPr>
          <p:cNvSpPr/>
          <p:nvPr/>
        </p:nvSpPr>
        <p:spPr>
          <a:xfrm flipH="1">
            <a:off x="6823510" y="3970786"/>
            <a:ext cx="1974846" cy="173572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80" h="21564" extrusionOk="0">
                <a:moveTo>
                  <a:pt x="16395" y="0"/>
                </a:moveTo>
                <a:cubicBezTo>
                  <a:pt x="15338" y="2211"/>
                  <a:pt x="13230" y="3601"/>
                  <a:pt x="10921" y="3416"/>
                </a:cubicBezTo>
                <a:cubicBezTo>
                  <a:pt x="10449" y="3379"/>
                  <a:pt x="9990" y="3266"/>
                  <a:pt x="9526" y="3183"/>
                </a:cubicBezTo>
                <a:cubicBezTo>
                  <a:pt x="9089" y="3104"/>
                  <a:pt x="8648" y="3048"/>
                  <a:pt x="8202" y="3040"/>
                </a:cubicBezTo>
                <a:cubicBezTo>
                  <a:pt x="3697" y="2950"/>
                  <a:pt x="20" y="7100"/>
                  <a:pt x="0" y="12235"/>
                </a:cubicBezTo>
                <a:cubicBezTo>
                  <a:pt x="-20" y="17348"/>
                  <a:pt x="3594" y="21524"/>
                  <a:pt x="8088" y="21564"/>
                </a:cubicBezTo>
                <a:cubicBezTo>
                  <a:pt x="12191" y="21600"/>
                  <a:pt x="15602" y="18173"/>
                  <a:pt x="16197" y="13688"/>
                </a:cubicBezTo>
                <a:cubicBezTo>
                  <a:pt x="16208" y="13603"/>
                  <a:pt x="16218" y="13517"/>
                  <a:pt x="16227" y="13431"/>
                </a:cubicBezTo>
                <a:cubicBezTo>
                  <a:pt x="16236" y="13350"/>
                  <a:pt x="16244" y="13269"/>
                  <a:pt x="16251" y="13188"/>
                </a:cubicBezTo>
                <a:cubicBezTo>
                  <a:pt x="16271" y="12959"/>
                  <a:pt x="16287" y="12727"/>
                  <a:pt x="16341" y="12506"/>
                </a:cubicBezTo>
                <a:cubicBezTo>
                  <a:pt x="16382" y="12335"/>
                  <a:pt x="16444" y="12172"/>
                  <a:pt x="16533" y="12023"/>
                </a:cubicBezTo>
                <a:cubicBezTo>
                  <a:pt x="16572" y="11958"/>
                  <a:pt x="16616" y="11896"/>
                  <a:pt x="16664" y="11839"/>
                </a:cubicBezTo>
                <a:cubicBezTo>
                  <a:pt x="16708" y="11779"/>
                  <a:pt x="16753" y="11719"/>
                  <a:pt x="16800" y="11660"/>
                </a:cubicBezTo>
                <a:cubicBezTo>
                  <a:pt x="17294" y="11030"/>
                  <a:pt x="17884" y="10497"/>
                  <a:pt x="18542" y="10093"/>
                </a:cubicBezTo>
                <a:cubicBezTo>
                  <a:pt x="19446" y="9538"/>
                  <a:pt x="20481" y="9223"/>
                  <a:pt x="21580" y="9224"/>
                </a:cubicBezTo>
                <a:cubicBezTo>
                  <a:pt x="20127" y="8304"/>
                  <a:pt x="18894" y="6990"/>
                  <a:pt x="17993" y="5410"/>
                </a:cubicBezTo>
                <a:cubicBezTo>
                  <a:pt x="17092" y="3830"/>
                  <a:pt x="16523" y="1984"/>
                  <a:pt x="1639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57FDEB22-B1B1-4AD7-B040-BBB9518AF379}"/>
              </a:ext>
            </a:extLst>
          </p:cNvPr>
          <p:cNvSpPr/>
          <p:nvPr/>
        </p:nvSpPr>
        <p:spPr>
          <a:xfrm flipH="1">
            <a:off x="7493067" y="4401091"/>
            <a:ext cx="1119807" cy="1119802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3D2D19E0-0435-47C7-81AF-8B9F8D2D8778}"/>
              </a:ext>
            </a:extLst>
          </p:cNvPr>
          <p:cNvSpPr/>
          <p:nvPr/>
        </p:nvSpPr>
        <p:spPr>
          <a:xfrm>
            <a:off x="7915336" y="4647219"/>
            <a:ext cx="275270" cy="27527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3374" y="0"/>
                </a:moveTo>
                <a:lnTo>
                  <a:pt x="3374" y="5396"/>
                </a:lnTo>
                <a:lnTo>
                  <a:pt x="3374" y="10123"/>
                </a:lnTo>
                <a:lnTo>
                  <a:pt x="4483" y="10792"/>
                </a:lnTo>
                <a:lnTo>
                  <a:pt x="4728" y="10792"/>
                </a:lnTo>
                <a:lnTo>
                  <a:pt x="4728" y="1337"/>
                </a:lnTo>
                <a:lnTo>
                  <a:pt x="12830" y="1337"/>
                </a:lnTo>
                <a:lnTo>
                  <a:pt x="12830" y="5396"/>
                </a:lnTo>
                <a:lnTo>
                  <a:pt x="16872" y="5396"/>
                </a:lnTo>
                <a:lnTo>
                  <a:pt x="16872" y="10792"/>
                </a:lnTo>
                <a:lnTo>
                  <a:pt x="17117" y="10792"/>
                </a:lnTo>
                <a:cubicBezTo>
                  <a:pt x="17117" y="10792"/>
                  <a:pt x="18226" y="10123"/>
                  <a:pt x="18226" y="10123"/>
                </a:cubicBezTo>
                <a:cubicBezTo>
                  <a:pt x="18226" y="8972"/>
                  <a:pt x="18226" y="6632"/>
                  <a:pt x="18226" y="5396"/>
                </a:cubicBezTo>
                <a:cubicBezTo>
                  <a:pt x="18226" y="5385"/>
                  <a:pt x="18226" y="5374"/>
                  <a:pt x="18226" y="5363"/>
                </a:cubicBezTo>
                <a:cubicBezTo>
                  <a:pt x="18225" y="5377"/>
                  <a:pt x="12845" y="0"/>
                  <a:pt x="12830" y="0"/>
                </a:cubicBezTo>
                <a:cubicBezTo>
                  <a:pt x="8831" y="0"/>
                  <a:pt x="3374" y="0"/>
                  <a:pt x="3374" y="0"/>
                </a:cubicBezTo>
                <a:close/>
                <a:moveTo>
                  <a:pt x="2690" y="7075"/>
                </a:moveTo>
                <a:lnTo>
                  <a:pt x="0" y="9439"/>
                </a:lnTo>
                <a:lnTo>
                  <a:pt x="2021" y="9439"/>
                </a:lnTo>
                <a:lnTo>
                  <a:pt x="2690" y="9439"/>
                </a:lnTo>
                <a:cubicBezTo>
                  <a:pt x="2690" y="9439"/>
                  <a:pt x="2690" y="7075"/>
                  <a:pt x="2690" y="7075"/>
                </a:cubicBezTo>
                <a:close/>
                <a:moveTo>
                  <a:pt x="0" y="9439"/>
                </a:moveTo>
                <a:lnTo>
                  <a:pt x="0" y="21600"/>
                </a:lnTo>
                <a:cubicBezTo>
                  <a:pt x="0" y="21600"/>
                  <a:pt x="21600" y="21600"/>
                  <a:pt x="21600" y="21600"/>
                </a:cubicBezTo>
                <a:lnTo>
                  <a:pt x="21600" y="9439"/>
                </a:lnTo>
                <a:lnTo>
                  <a:pt x="14166" y="14166"/>
                </a:lnTo>
                <a:lnTo>
                  <a:pt x="14036" y="14166"/>
                </a:lnTo>
                <a:lnTo>
                  <a:pt x="10792" y="16188"/>
                </a:lnTo>
                <a:lnTo>
                  <a:pt x="7564" y="14166"/>
                </a:lnTo>
                <a:lnTo>
                  <a:pt x="7417" y="14166"/>
                </a:lnTo>
                <a:lnTo>
                  <a:pt x="0" y="9439"/>
                </a:lnTo>
                <a:close/>
                <a:moveTo>
                  <a:pt x="21600" y="9439"/>
                </a:moveTo>
                <a:lnTo>
                  <a:pt x="18894" y="7075"/>
                </a:lnTo>
                <a:lnTo>
                  <a:pt x="18894" y="9439"/>
                </a:lnTo>
                <a:cubicBezTo>
                  <a:pt x="18894" y="9439"/>
                  <a:pt x="19579" y="9439"/>
                  <a:pt x="19579" y="9439"/>
                </a:cubicBezTo>
                <a:lnTo>
                  <a:pt x="21600" y="9439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8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E3087942-E855-4243-AACE-2384D8F1FA08}"/>
              </a:ext>
            </a:extLst>
          </p:cNvPr>
          <p:cNvSpPr/>
          <p:nvPr/>
        </p:nvSpPr>
        <p:spPr>
          <a:xfrm>
            <a:off x="7441500" y="5015711"/>
            <a:ext cx="1222939" cy="362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a14="http://schemas.microsoft.com/office/drawing/2010/main"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i="1" dirty="0">
                <a:cs typeface="+mn-ea"/>
                <a:sym typeface="+mn-lt"/>
              </a:rPr>
              <a:t>Text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73" name="任意多边形: 形状 72">
            <a:extLst>
              <a:ext uri="{FF2B5EF4-FFF2-40B4-BE49-F238E27FC236}">
                <a16:creationId xmlns:a16="http://schemas.microsoft.com/office/drawing/2014/main" id="{1C1A99E4-CDC9-4713-BCE9-45F15A07E6CD}"/>
              </a:ext>
            </a:extLst>
          </p:cNvPr>
          <p:cNvSpPr/>
          <p:nvPr/>
        </p:nvSpPr>
        <p:spPr>
          <a:xfrm flipH="1">
            <a:off x="5323729" y="3281095"/>
            <a:ext cx="1978275" cy="174417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498" h="21590" extrusionOk="0">
                <a:moveTo>
                  <a:pt x="7777" y="0"/>
                </a:moveTo>
                <a:cubicBezTo>
                  <a:pt x="6532" y="-10"/>
                  <a:pt x="5267" y="340"/>
                  <a:pt x="4091" y="1090"/>
                </a:cubicBezTo>
                <a:cubicBezTo>
                  <a:pt x="323" y="3491"/>
                  <a:pt x="-1102" y="9086"/>
                  <a:pt x="918" y="13576"/>
                </a:cubicBezTo>
                <a:cubicBezTo>
                  <a:pt x="2580" y="17270"/>
                  <a:pt x="6049" y="19049"/>
                  <a:pt x="9330" y="18255"/>
                </a:cubicBezTo>
                <a:cubicBezTo>
                  <a:pt x="9527" y="18207"/>
                  <a:pt x="9724" y="18150"/>
                  <a:pt x="9918" y="18077"/>
                </a:cubicBezTo>
                <a:cubicBezTo>
                  <a:pt x="10028" y="18035"/>
                  <a:pt x="10138" y="17987"/>
                  <a:pt x="10249" y="17950"/>
                </a:cubicBezTo>
                <a:cubicBezTo>
                  <a:pt x="10660" y="17810"/>
                  <a:pt x="11090" y="17799"/>
                  <a:pt x="11514" y="17859"/>
                </a:cubicBezTo>
                <a:cubicBezTo>
                  <a:pt x="11682" y="17882"/>
                  <a:pt x="11849" y="17917"/>
                  <a:pt x="12014" y="17960"/>
                </a:cubicBezTo>
                <a:cubicBezTo>
                  <a:pt x="12618" y="18116"/>
                  <a:pt x="13203" y="18376"/>
                  <a:pt x="13742" y="18738"/>
                </a:cubicBezTo>
                <a:cubicBezTo>
                  <a:pt x="14703" y="19383"/>
                  <a:pt x="15527" y="20347"/>
                  <a:pt x="16089" y="21590"/>
                </a:cubicBezTo>
                <a:cubicBezTo>
                  <a:pt x="16106" y="19706"/>
                  <a:pt x="16510" y="17854"/>
                  <a:pt x="17259" y="16204"/>
                </a:cubicBezTo>
                <a:cubicBezTo>
                  <a:pt x="18008" y="14555"/>
                  <a:pt x="19102" y="13109"/>
                  <a:pt x="20498" y="12038"/>
                </a:cubicBezTo>
                <a:cubicBezTo>
                  <a:pt x="18595" y="11859"/>
                  <a:pt x="16800" y="10648"/>
                  <a:pt x="15712" y="8617"/>
                </a:cubicBezTo>
                <a:cubicBezTo>
                  <a:pt x="15642" y="8487"/>
                  <a:pt x="15575" y="8355"/>
                  <a:pt x="15518" y="8216"/>
                </a:cubicBezTo>
                <a:cubicBezTo>
                  <a:pt x="15374" y="7856"/>
                  <a:pt x="15316" y="7463"/>
                  <a:pt x="15238" y="7078"/>
                </a:cubicBezTo>
                <a:cubicBezTo>
                  <a:pt x="15085" y="6329"/>
                  <a:pt x="14858" y="5589"/>
                  <a:pt x="14542" y="4880"/>
                </a:cubicBezTo>
                <a:cubicBezTo>
                  <a:pt x="13166" y="1786"/>
                  <a:pt x="10518" y="21"/>
                  <a:pt x="7777" y="0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4" name="椭圆 73">
            <a:extLst>
              <a:ext uri="{FF2B5EF4-FFF2-40B4-BE49-F238E27FC236}">
                <a16:creationId xmlns:a16="http://schemas.microsoft.com/office/drawing/2014/main" id="{85800DD5-9778-4939-92CB-3EEE5DDFC838}"/>
              </a:ext>
            </a:extLst>
          </p:cNvPr>
          <p:cNvSpPr/>
          <p:nvPr/>
        </p:nvSpPr>
        <p:spPr>
          <a:xfrm flipH="1">
            <a:off x="5994978" y="3465687"/>
            <a:ext cx="1122029" cy="1122035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E9B1B809-D180-45A4-94FF-D1F9EE202AAC}"/>
              </a:ext>
            </a:extLst>
          </p:cNvPr>
          <p:cNvSpPr/>
          <p:nvPr/>
        </p:nvSpPr>
        <p:spPr>
          <a:xfrm>
            <a:off x="6393046" y="3703756"/>
            <a:ext cx="325891" cy="3253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21" h="19263" extrusionOk="0">
                <a:moveTo>
                  <a:pt x="4750" y="1647"/>
                </a:moveTo>
                <a:cubicBezTo>
                  <a:pt x="6498" y="610"/>
                  <a:pt x="8611" y="-1"/>
                  <a:pt x="10868" y="0"/>
                </a:cubicBezTo>
                <a:cubicBezTo>
                  <a:pt x="14035" y="2"/>
                  <a:pt x="16998" y="1272"/>
                  <a:pt x="18993" y="3460"/>
                </a:cubicBezTo>
                <a:cubicBezTo>
                  <a:pt x="20629" y="5190"/>
                  <a:pt x="21525" y="7373"/>
                  <a:pt x="21521" y="9655"/>
                </a:cubicBezTo>
                <a:cubicBezTo>
                  <a:pt x="21514" y="13106"/>
                  <a:pt x="19507" y="16257"/>
                  <a:pt x="16231" y="18022"/>
                </a:cubicBezTo>
                <a:cubicBezTo>
                  <a:pt x="9037" y="21599"/>
                  <a:pt x="173" y="17027"/>
                  <a:pt x="2" y="9653"/>
                </a:cubicBezTo>
                <a:cubicBezTo>
                  <a:pt x="-75" y="6307"/>
                  <a:pt x="1837" y="3377"/>
                  <a:pt x="4750" y="1647"/>
                </a:cubicBezTo>
                <a:close/>
                <a:moveTo>
                  <a:pt x="5848" y="2373"/>
                </a:moveTo>
                <a:cubicBezTo>
                  <a:pt x="5369" y="2637"/>
                  <a:pt x="4918" y="2940"/>
                  <a:pt x="4502" y="3280"/>
                </a:cubicBezTo>
                <a:cubicBezTo>
                  <a:pt x="4787" y="3447"/>
                  <a:pt x="5080" y="3603"/>
                  <a:pt x="5380" y="3747"/>
                </a:cubicBezTo>
                <a:cubicBezTo>
                  <a:pt x="5681" y="3891"/>
                  <a:pt x="5989" y="4023"/>
                  <a:pt x="6302" y="4143"/>
                </a:cubicBezTo>
                <a:cubicBezTo>
                  <a:pt x="6449" y="3726"/>
                  <a:pt x="6611" y="3313"/>
                  <a:pt x="6786" y="2906"/>
                </a:cubicBezTo>
                <a:cubicBezTo>
                  <a:pt x="6960" y="2501"/>
                  <a:pt x="7148" y="2102"/>
                  <a:pt x="7350" y="1708"/>
                </a:cubicBezTo>
                <a:cubicBezTo>
                  <a:pt x="6827" y="1887"/>
                  <a:pt x="6325" y="2110"/>
                  <a:pt x="5848" y="2373"/>
                </a:cubicBezTo>
                <a:close/>
                <a:moveTo>
                  <a:pt x="8944" y="1271"/>
                </a:moveTo>
                <a:cubicBezTo>
                  <a:pt x="8630" y="1787"/>
                  <a:pt x="8346" y="2318"/>
                  <a:pt x="8092" y="2860"/>
                </a:cubicBezTo>
                <a:cubicBezTo>
                  <a:pt x="7839" y="3402"/>
                  <a:pt x="7617" y="3954"/>
                  <a:pt x="7426" y="4515"/>
                </a:cubicBezTo>
                <a:cubicBezTo>
                  <a:pt x="7887" y="4644"/>
                  <a:pt x="8357" y="4746"/>
                  <a:pt x="8832" y="4822"/>
                </a:cubicBezTo>
                <a:cubicBezTo>
                  <a:pt x="9305" y="4898"/>
                  <a:pt x="9783" y="4948"/>
                  <a:pt x="10263" y="4971"/>
                </a:cubicBezTo>
                <a:lnTo>
                  <a:pt x="10271" y="1118"/>
                </a:lnTo>
                <a:cubicBezTo>
                  <a:pt x="10047" y="1129"/>
                  <a:pt x="9824" y="1147"/>
                  <a:pt x="9602" y="1173"/>
                </a:cubicBezTo>
                <a:cubicBezTo>
                  <a:pt x="9382" y="1198"/>
                  <a:pt x="9162" y="1231"/>
                  <a:pt x="8944" y="1271"/>
                </a:cubicBezTo>
                <a:close/>
                <a:moveTo>
                  <a:pt x="3547" y="4065"/>
                </a:moveTo>
                <a:cubicBezTo>
                  <a:pt x="2861" y="4776"/>
                  <a:pt x="2316" y="5572"/>
                  <a:pt x="1927" y="6424"/>
                </a:cubicBezTo>
                <a:cubicBezTo>
                  <a:pt x="1537" y="7280"/>
                  <a:pt x="1305" y="8175"/>
                  <a:pt x="1239" y="9109"/>
                </a:cubicBezTo>
                <a:lnTo>
                  <a:pt x="5376" y="9119"/>
                </a:lnTo>
                <a:cubicBezTo>
                  <a:pt x="5396" y="8460"/>
                  <a:pt x="5455" y="7804"/>
                  <a:pt x="5552" y="7151"/>
                </a:cubicBezTo>
                <a:cubicBezTo>
                  <a:pt x="5649" y="6504"/>
                  <a:pt x="5783" y="5862"/>
                  <a:pt x="5955" y="5228"/>
                </a:cubicBezTo>
                <a:cubicBezTo>
                  <a:pt x="5532" y="5074"/>
                  <a:pt x="5119" y="4899"/>
                  <a:pt x="4717" y="4705"/>
                </a:cubicBezTo>
                <a:cubicBezTo>
                  <a:pt x="4314" y="4511"/>
                  <a:pt x="3924" y="4297"/>
                  <a:pt x="3547" y="4065"/>
                </a:cubicBezTo>
                <a:close/>
                <a:moveTo>
                  <a:pt x="11474" y="1110"/>
                </a:moveTo>
                <a:lnTo>
                  <a:pt x="11466" y="4963"/>
                </a:lnTo>
                <a:cubicBezTo>
                  <a:pt x="11913" y="4940"/>
                  <a:pt x="12359" y="4893"/>
                  <a:pt x="12800" y="4822"/>
                </a:cubicBezTo>
                <a:cubicBezTo>
                  <a:pt x="13238" y="4751"/>
                  <a:pt x="13671" y="4657"/>
                  <a:pt x="14096" y="4539"/>
                </a:cubicBezTo>
                <a:cubicBezTo>
                  <a:pt x="13904" y="3966"/>
                  <a:pt x="13680" y="3402"/>
                  <a:pt x="13424" y="2850"/>
                </a:cubicBezTo>
                <a:cubicBezTo>
                  <a:pt x="13167" y="2296"/>
                  <a:pt x="12878" y="1754"/>
                  <a:pt x="12559" y="1227"/>
                </a:cubicBezTo>
                <a:cubicBezTo>
                  <a:pt x="12376" y="1200"/>
                  <a:pt x="12193" y="1176"/>
                  <a:pt x="12009" y="1156"/>
                </a:cubicBezTo>
                <a:cubicBezTo>
                  <a:pt x="11831" y="1137"/>
                  <a:pt x="11652" y="1122"/>
                  <a:pt x="11474" y="1110"/>
                </a:cubicBezTo>
                <a:close/>
                <a:moveTo>
                  <a:pt x="14125" y="1613"/>
                </a:moveTo>
                <a:cubicBezTo>
                  <a:pt x="14346" y="2024"/>
                  <a:pt x="14549" y="2442"/>
                  <a:pt x="14733" y="2867"/>
                </a:cubicBezTo>
                <a:cubicBezTo>
                  <a:pt x="14920" y="3297"/>
                  <a:pt x="15087" y="3734"/>
                  <a:pt x="15234" y="4177"/>
                </a:cubicBezTo>
                <a:cubicBezTo>
                  <a:pt x="15574" y="4044"/>
                  <a:pt x="15907" y="3898"/>
                  <a:pt x="16233" y="3740"/>
                </a:cubicBezTo>
                <a:cubicBezTo>
                  <a:pt x="16554" y="3584"/>
                  <a:pt x="16867" y="3417"/>
                  <a:pt x="17172" y="3238"/>
                </a:cubicBezTo>
                <a:cubicBezTo>
                  <a:pt x="16728" y="2879"/>
                  <a:pt x="16245" y="2560"/>
                  <a:pt x="15730" y="2286"/>
                </a:cubicBezTo>
                <a:cubicBezTo>
                  <a:pt x="15221" y="2015"/>
                  <a:pt x="14683" y="1790"/>
                  <a:pt x="14125" y="1613"/>
                </a:cubicBezTo>
                <a:close/>
                <a:moveTo>
                  <a:pt x="7106" y="5587"/>
                </a:moveTo>
                <a:cubicBezTo>
                  <a:pt x="6959" y="6165"/>
                  <a:pt x="6842" y="6750"/>
                  <a:pt x="6754" y="7338"/>
                </a:cubicBezTo>
                <a:cubicBezTo>
                  <a:pt x="6666" y="7926"/>
                  <a:pt x="6608" y="8517"/>
                  <a:pt x="6579" y="9110"/>
                </a:cubicBezTo>
                <a:lnTo>
                  <a:pt x="10260" y="9113"/>
                </a:lnTo>
                <a:lnTo>
                  <a:pt x="10258" y="6057"/>
                </a:lnTo>
                <a:cubicBezTo>
                  <a:pt x="9725" y="6038"/>
                  <a:pt x="9194" y="5989"/>
                  <a:pt x="8667" y="5911"/>
                </a:cubicBezTo>
                <a:cubicBezTo>
                  <a:pt x="8140" y="5832"/>
                  <a:pt x="7618" y="5724"/>
                  <a:pt x="7106" y="5587"/>
                </a:cubicBezTo>
                <a:close/>
                <a:moveTo>
                  <a:pt x="1235" y="10195"/>
                </a:moveTo>
                <a:cubicBezTo>
                  <a:pt x="1302" y="11122"/>
                  <a:pt x="1539" y="12041"/>
                  <a:pt x="1927" y="12894"/>
                </a:cubicBezTo>
                <a:cubicBezTo>
                  <a:pt x="2314" y="13746"/>
                  <a:pt x="2854" y="14549"/>
                  <a:pt x="3541" y="15260"/>
                </a:cubicBezTo>
                <a:cubicBezTo>
                  <a:pt x="3814" y="15088"/>
                  <a:pt x="4095" y="14926"/>
                  <a:pt x="4383" y="14776"/>
                </a:cubicBezTo>
                <a:cubicBezTo>
                  <a:pt x="4889" y="14511"/>
                  <a:pt x="5416" y="14282"/>
                  <a:pt x="5960" y="14088"/>
                </a:cubicBezTo>
                <a:cubicBezTo>
                  <a:pt x="5784" y="13455"/>
                  <a:pt x="5648" y="12813"/>
                  <a:pt x="5552" y="12165"/>
                </a:cubicBezTo>
                <a:cubicBezTo>
                  <a:pt x="5455" y="11513"/>
                  <a:pt x="5399" y="10856"/>
                  <a:pt x="5385" y="10197"/>
                </a:cubicBezTo>
                <a:lnTo>
                  <a:pt x="1235" y="10195"/>
                </a:lnTo>
                <a:close/>
                <a:moveTo>
                  <a:pt x="11461" y="6049"/>
                </a:moveTo>
                <a:lnTo>
                  <a:pt x="11471" y="9117"/>
                </a:lnTo>
                <a:lnTo>
                  <a:pt x="14948" y="9112"/>
                </a:lnTo>
                <a:cubicBezTo>
                  <a:pt x="14929" y="8523"/>
                  <a:pt x="14875" y="7935"/>
                  <a:pt x="14788" y="7351"/>
                </a:cubicBezTo>
                <a:cubicBezTo>
                  <a:pt x="14701" y="6766"/>
                  <a:pt x="14581" y="6186"/>
                  <a:pt x="14427" y="5613"/>
                </a:cubicBezTo>
                <a:cubicBezTo>
                  <a:pt x="13943" y="5735"/>
                  <a:pt x="13452" y="5833"/>
                  <a:pt x="12956" y="5906"/>
                </a:cubicBezTo>
                <a:cubicBezTo>
                  <a:pt x="12461" y="5978"/>
                  <a:pt x="11962" y="6026"/>
                  <a:pt x="11461" y="6049"/>
                </a:cubicBezTo>
                <a:close/>
                <a:moveTo>
                  <a:pt x="15572" y="5263"/>
                </a:moveTo>
                <a:cubicBezTo>
                  <a:pt x="15742" y="5893"/>
                  <a:pt x="15875" y="6531"/>
                  <a:pt x="15973" y="7174"/>
                </a:cubicBezTo>
                <a:cubicBezTo>
                  <a:pt x="16071" y="7818"/>
                  <a:pt x="16134" y="8466"/>
                  <a:pt x="16159" y="9115"/>
                </a:cubicBezTo>
                <a:lnTo>
                  <a:pt x="20288" y="9113"/>
                </a:lnTo>
                <a:cubicBezTo>
                  <a:pt x="20222" y="8187"/>
                  <a:pt x="19998" y="7291"/>
                  <a:pt x="19612" y="6438"/>
                </a:cubicBezTo>
                <a:cubicBezTo>
                  <a:pt x="19229" y="5593"/>
                  <a:pt x="18689" y="4803"/>
                  <a:pt x="18014" y="4096"/>
                </a:cubicBezTo>
                <a:cubicBezTo>
                  <a:pt x="17761" y="4249"/>
                  <a:pt x="17515" y="4404"/>
                  <a:pt x="17252" y="4539"/>
                </a:cubicBezTo>
                <a:cubicBezTo>
                  <a:pt x="16981" y="4678"/>
                  <a:pt x="16700" y="4803"/>
                  <a:pt x="16417" y="4922"/>
                </a:cubicBezTo>
                <a:cubicBezTo>
                  <a:pt x="16138" y="5041"/>
                  <a:pt x="15856" y="5154"/>
                  <a:pt x="15572" y="5263"/>
                </a:cubicBezTo>
                <a:close/>
                <a:moveTo>
                  <a:pt x="6575" y="10196"/>
                </a:moveTo>
                <a:cubicBezTo>
                  <a:pt x="6603" y="10793"/>
                  <a:pt x="6661" y="11389"/>
                  <a:pt x="6750" y="11981"/>
                </a:cubicBezTo>
                <a:cubicBezTo>
                  <a:pt x="6839" y="12572"/>
                  <a:pt x="6957" y="13158"/>
                  <a:pt x="7106" y="13738"/>
                </a:cubicBezTo>
                <a:cubicBezTo>
                  <a:pt x="7614" y="13596"/>
                  <a:pt x="8133" y="13484"/>
                  <a:pt x="8658" y="13404"/>
                </a:cubicBezTo>
                <a:cubicBezTo>
                  <a:pt x="9187" y="13322"/>
                  <a:pt x="9721" y="13272"/>
                  <a:pt x="10257" y="13255"/>
                </a:cubicBezTo>
                <a:lnTo>
                  <a:pt x="10256" y="10199"/>
                </a:lnTo>
                <a:lnTo>
                  <a:pt x="6575" y="10196"/>
                </a:lnTo>
                <a:close/>
                <a:moveTo>
                  <a:pt x="11466" y="10203"/>
                </a:moveTo>
                <a:lnTo>
                  <a:pt x="11468" y="13259"/>
                </a:lnTo>
                <a:cubicBezTo>
                  <a:pt x="11971" y="13280"/>
                  <a:pt x="12472" y="13329"/>
                  <a:pt x="12968" y="13404"/>
                </a:cubicBezTo>
                <a:cubicBezTo>
                  <a:pt x="13459" y="13478"/>
                  <a:pt x="13945" y="13577"/>
                  <a:pt x="14423" y="13702"/>
                </a:cubicBezTo>
                <a:cubicBezTo>
                  <a:pt x="14575" y="13128"/>
                  <a:pt x="14695" y="12548"/>
                  <a:pt x="14782" y="11963"/>
                </a:cubicBezTo>
                <a:cubicBezTo>
                  <a:pt x="14870" y="11377"/>
                  <a:pt x="14923" y="10788"/>
                  <a:pt x="14944" y="10197"/>
                </a:cubicBezTo>
                <a:lnTo>
                  <a:pt x="11466" y="10203"/>
                </a:lnTo>
                <a:close/>
                <a:moveTo>
                  <a:pt x="5381" y="15569"/>
                </a:moveTo>
                <a:cubicBezTo>
                  <a:pt x="5082" y="15713"/>
                  <a:pt x="4792" y="15869"/>
                  <a:pt x="4509" y="16036"/>
                </a:cubicBezTo>
                <a:cubicBezTo>
                  <a:pt x="4926" y="16380"/>
                  <a:pt x="5377" y="16688"/>
                  <a:pt x="5858" y="16955"/>
                </a:cubicBezTo>
                <a:cubicBezTo>
                  <a:pt x="6332" y="17219"/>
                  <a:pt x="6832" y="17442"/>
                  <a:pt x="7352" y="17622"/>
                </a:cubicBezTo>
                <a:cubicBezTo>
                  <a:pt x="7142" y="17227"/>
                  <a:pt x="6950" y="16825"/>
                  <a:pt x="6774" y="16417"/>
                </a:cubicBezTo>
                <a:cubicBezTo>
                  <a:pt x="6598" y="16008"/>
                  <a:pt x="6440" y="15594"/>
                  <a:pt x="6299" y="15175"/>
                </a:cubicBezTo>
                <a:cubicBezTo>
                  <a:pt x="5986" y="15293"/>
                  <a:pt x="5680" y="15425"/>
                  <a:pt x="5381" y="15569"/>
                </a:cubicBezTo>
                <a:close/>
                <a:moveTo>
                  <a:pt x="16155" y="10201"/>
                </a:moveTo>
                <a:cubicBezTo>
                  <a:pt x="16133" y="10849"/>
                  <a:pt x="16073" y="11495"/>
                  <a:pt x="15977" y="12137"/>
                </a:cubicBezTo>
                <a:cubicBezTo>
                  <a:pt x="15879" y="12784"/>
                  <a:pt x="15745" y="13426"/>
                  <a:pt x="15574" y="14060"/>
                </a:cubicBezTo>
                <a:cubicBezTo>
                  <a:pt x="16001" y="14211"/>
                  <a:pt x="16419" y="14384"/>
                  <a:pt x="16826" y="14577"/>
                </a:cubicBezTo>
                <a:cubicBezTo>
                  <a:pt x="17236" y="14771"/>
                  <a:pt x="17633" y="14987"/>
                  <a:pt x="18016" y="15222"/>
                </a:cubicBezTo>
                <a:cubicBezTo>
                  <a:pt x="18694" y="14513"/>
                  <a:pt x="19224" y="13731"/>
                  <a:pt x="19609" y="12877"/>
                </a:cubicBezTo>
                <a:cubicBezTo>
                  <a:pt x="19994" y="12023"/>
                  <a:pt x="20222" y="11118"/>
                  <a:pt x="20283" y="10199"/>
                </a:cubicBezTo>
                <a:lnTo>
                  <a:pt x="16155" y="10201"/>
                </a:lnTo>
                <a:close/>
                <a:moveTo>
                  <a:pt x="7429" y="14800"/>
                </a:moveTo>
                <a:cubicBezTo>
                  <a:pt x="7620" y="15363"/>
                  <a:pt x="7844" y="15916"/>
                  <a:pt x="8099" y="16458"/>
                </a:cubicBezTo>
                <a:cubicBezTo>
                  <a:pt x="8356" y="17002"/>
                  <a:pt x="8644" y="17533"/>
                  <a:pt x="8962" y="18050"/>
                </a:cubicBezTo>
                <a:cubicBezTo>
                  <a:pt x="9173" y="18086"/>
                  <a:pt x="9385" y="18116"/>
                  <a:pt x="9598" y="18141"/>
                </a:cubicBezTo>
                <a:cubicBezTo>
                  <a:pt x="9820" y="18167"/>
                  <a:pt x="10043" y="18186"/>
                  <a:pt x="10266" y="18199"/>
                </a:cubicBezTo>
                <a:lnTo>
                  <a:pt x="10261" y="14353"/>
                </a:lnTo>
                <a:cubicBezTo>
                  <a:pt x="9783" y="14371"/>
                  <a:pt x="9307" y="14418"/>
                  <a:pt x="8836" y="14492"/>
                </a:cubicBezTo>
                <a:cubicBezTo>
                  <a:pt x="8360" y="14567"/>
                  <a:pt x="7890" y="14670"/>
                  <a:pt x="7429" y="14800"/>
                </a:cubicBezTo>
                <a:close/>
                <a:moveTo>
                  <a:pt x="11472" y="14357"/>
                </a:moveTo>
                <a:lnTo>
                  <a:pt x="11464" y="18210"/>
                </a:lnTo>
                <a:cubicBezTo>
                  <a:pt x="11645" y="18195"/>
                  <a:pt x="11825" y="18177"/>
                  <a:pt x="12006" y="18156"/>
                </a:cubicBezTo>
                <a:cubicBezTo>
                  <a:pt x="12189" y="18134"/>
                  <a:pt x="12372" y="18110"/>
                  <a:pt x="12554" y="18082"/>
                </a:cubicBezTo>
                <a:cubicBezTo>
                  <a:pt x="12876" y="17558"/>
                  <a:pt x="13167" y="17018"/>
                  <a:pt x="13425" y="16466"/>
                </a:cubicBezTo>
                <a:cubicBezTo>
                  <a:pt x="13684" y="15913"/>
                  <a:pt x="13910" y="15348"/>
                  <a:pt x="14103" y="14773"/>
                </a:cubicBezTo>
                <a:cubicBezTo>
                  <a:pt x="13676" y="14656"/>
                  <a:pt x="13242" y="14562"/>
                  <a:pt x="12803" y="14492"/>
                </a:cubicBezTo>
                <a:cubicBezTo>
                  <a:pt x="12363" y="14422"/>
                  <a:pt x="11918" y="14377"/>
                  <a:pt x="11472" y="14357"/>
                </a:cubicBezTo>
                <a:close/>
                <a:moveTo>
                  <a:pt x="15240" y="15139"/>
                </a:moveTo>
                <a:cubicBezTo>
                  <a:pt x="15090" y="15576"/>
                  <a:pt x="14923" y="16007"/>
                  <a:pt x="14739" y="16433"/>
                </a:cubicBezTo>
                <a:cubicBezTo>
                  <a:pt x="14553" y="16863"/>
                  <a:pt x="14350" y="17286"/>
                  <a:pt x="14131" y="17702"/>
                </a:cubicBezTo>
                <a:cubicBezTo>
                  <a:pt x="14647" y="17532"/>
                  <a:pt x="15145" y="17322"/>
                  <a:pt x="15621" y="17076"/>
                </a:cubicBezTo>
                <a:cubicBezTo>
                  <a:pt x="16176" y="16790"/>
                  <a:pt x="16697" y="16455"/>
                  <a:pt x="17178" y="16076"/>
                </a:cubicBezTo>
                <a:cubicBezTo>
                  <a:pt x="16873" y="15891"/>
                  <a:pt x="16558" y="15719"/>
                  <a:pt x="16234" y="15562"/>
                </a:cubicBezTo>
                <a:cubicBezTo>
                  <a:pt x="15911" y="15406"/>
                  <a:pt x="15579" y="15265"/>
                  <a:pt x="15240" y="15139"/>
                </a:cubicBezTo>
                <a:close/>
              </a:path>
            </a:pathLst>
          </a:cu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92500" lnSpcReduction="1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79614F6E-C94E-4B7C-9C13-3FEE3E79C41D}"/>
              </a:ext>
            </a:extLst>
          </p:cNvPr>
          <p:cNvSpPr/>
          <p:nvPr/>
        </p:nvSpPr>
        <p:spPr>
          <a:xfrm>
            <a:off x="5944522" y="4080263"/>
            <a:ext cx="1222939" cy="362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a14="http://schemas.microsoft.com/office/drawing/2010/main"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i="1" dirty="0">
                <a:cs typeface="+mn-ea"/>
                <a:sym typeface="+mn-lt"/>
              </a:rPr>
              <a:t>Text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F1BF3542-5C0D-4FC4-BA12-41CABF933D7A}"/>
              </a:ext>
            </a:extLst>
          </p:cNvPr>
          <p:cNvSpPr/>
          <p:nvPr/>
        </p:nvSpPr>
        <p:spPr>
          <a:xfrm flipH="1">
            <a:off x="3741128" y="3911588"/>
            <a:ext cx="2013611" cy="175173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91" h="21591" extrusionOk="0">
                <a:moveTo>
                  <a:pt x="16325" y="0"/>
                </a:moveTo>
                <a:cubicBezTo>
                  <a:pt x="15247" y="1970"/>
                  <a:pt x="13395" y="3323"/>
                  <a:pt x="11258" y="3497"/>
                </a:cubicBezTo>
                <a:cubicBezTo>
                  <a:pt x="11121" y="3508"/>
                  <a:pt x="10984" y="3514"/>
                  <a:pt x="10847" y="3512"/>
                </a:cubicBezTo>
                <a:cubicBezTo>
                  <a:pt x="10356" y="3501"/>
                  <a:pt x="9884" y="3374"/>
                  <a:pt x="9402" y="3283"/>
                </a:cubicBezTo>
                <a:cubicBezTo>
                  <a:pt x="8952" y="3198"/>
                  <a:pt x="8493" y="3145"/>
                  <a:pt x="8027" y="3141"/>
                </a:cubicBezTo>
                <a:cubicBezTo>
                  <a:pt x="3589" y="3111"/>
                  <a:pt x="-9" y="7260"/>
                  <a:pt x="0" y="12368"/>
                </a:cubicBezTo>
                <a:cubicBezTo>
                  <a:pt x="9" y="17459"/>
                  <a:pt x="3597" y="21580"/>
                  <a:pt x="8027" y="21591"/>
                </a:cubicBezTo>
                <a:cubicBezTo>
                  <a:pt x="11723" y="21600"/>
                  <a:pt x="14839" y="18740"/>
                  <a:pt x="15757" y="14831"/>
                </a:cubicBezTo>
                <a:cubicBezTo>
                  <a:pt x="15810" y="14608"/>
                  <a:pt x="15855" y="14384"/>
                  <a:pt x="15896" y="14157"/>
                </a:cubicBezTo>
                <a:cubicBezTo>
                  <a:pt x="15991" y="13631"/>
                  <a:pt x="16067" y="13091"/>
                  <a:pt x="16293" y="12618"/>
                </a:cubicBezTo>
                <a:cubicBezTo>
                  <a:pt x="16428" y="12335"/>
                  <a:pt x="16611" y="12089"/>
                  <a:pt x="16802" y="11853"/>
                </a:cubicBezTo>
                <a:cubicBezTo>
                  <a:pt x="17252" y="11297"/>
                  <a:pt x="17752" y="10792"/>
                  <a:pt x="18314" y="10387"/>
                </a:cubicBezTo>
                <a:cubicBezTo>
                  <a:pt x="19265" y="9703"/>
                  <a:pt x="20388" y="9311"/>
                  <a:pt x="21591" y="9320"/>
                </a:cubicBezTo>
                <a:cubicBezTo>
                  <a:pt x="20126" y="8398"/>
                  <a:pt x="18880" y="7075"/>
                  <a:pt x="17965" y="5479"/>
                </a:cubicBezTo>
                <a:cubicBezTo>
                  <a:pt x="17050" y="3883"/>
                  <a:pt x="16466" y="2014"/>
                  <a:pt x="163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8" name="椭圆 77">
            <a:extLst>
              <a:ext uri="{FF2B5EF4-FFF2-40B4-BE49-F238E27FC236}">
                <a16:creationId xmlns:a16="http://schemas.microsoft.com/office/drawing/2014/main" id="{2B2C4A36-5FA0-44FE-8CD8-DBDFC6FDDAD0}"/>
              </a:ext>
            </a:extLst>
          </p:cNvPr>
          <p:cNvSpPr/>
          <p:nvPr/>
        </p:nvSpPr>
        <p:spPr>
          <a:xfrm flipH="1">
            <a:off x="4447309" y="4354320"/>
            <a:ext cx="1118751" cy="1119157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9" name="任意多边形: 形状 78">
            <a:extLst>
              <a:ext uri="{FF2B5EF4-FFF2-40B4-BE49-F238E27FC236}">
                <a16:creationId xmlns:a16="http://schemas.microsoft.com/office/drawing/2014/main" id="{20C471AD-54C6-43D8-8EBE-84711FCE0EC1}"/>
              </a:ext>
            </a:extLst>
          </p:cNvPr>
          <p:cNvSpPr/>
          <p:nvPr/>
        </p:nvSpPr>
        <p:spPr>
          <a:xfrm>
            <a:off x="4891796" y="4645444"/>
            <a:ext cx="229777" cy="28280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831" y="0"/>
                </a:moveTo>
                <a:cubicBezTo>
                  <a:pt x="372" y="0"/>
                  <a:pt x="0" y="302"/>
                  <a:pt x="0" y="675"/>
                </a:cubicBezTo>
                <a:cubicBezTo>
                  <a:pt x="0" y="1048"/>
                  <a:pt x="372" y="1350"/>
                  <a:pt x="831" y="1350"/>
                </a:cubicBezTo>
                <a:lnTo>
                  <a:pt x="20769" y="1350"/>
                </a:lnTo>
                <a:cubicBezTo>
                  <a:pt x="21228" y="1350"/>
                  <a:pt x="21600" y="1048"/>
                  <a:pt x="21600" y="675"/>
                </a:cubicBezTo>
                <a:cubicBezTo>
                  <a:pt x="21600" y="302"/>
                  <a:pt x="21228" y="0"/>
                  <a:pt x="20769" y="0"/>
                </a:cubicBezTo>
                <a:lnTo>
                  <a:pt x="831" y="0"/>
                </a:lnTo>
                <a:close/>
                <a:moveTo>
                  <a:pt x="831" y="2025"/>
                </a:moveTo>
                <a:lnTo>
                  <a:pt x="831" y="15525"/>
                </a:lnTo>
                <a:cubicBezTo>
                  <a:pt x="831" y="15525"/>
                  <a:pt x="20769" y="15525"/>
                  <a:pt x="20769" y="15525"/>
                </a:cubicBezTo>
                <a:lnTo>
                  <a:pt x="20769" y="2025"/>
                </a:lnTo>
                <a:lnTo>
                  <a:pt x="831" y="2025"/>
                </a:lnTo>
                <a:close/>
                <a:moveTo>
                  <a:pt x="15785" y="4050"/>
                </a:moveTo>
                <a:lnTo>
                  <a:pt x="18277" y="4050"/>
                </a:lnTo>
                <a:cubicBezTo>
                  <a:pt x="18277" y="4050"/>
                  <a:pt x="18277" y="13500"/>
                  <a:pt x="18277" y="13500"/>
                </a:cubicBezTo>
                <a:lnTo>
                  <a:pt x="15785" y="13500"/>
                </a:lnTo>
                <a:lnTo>
                  <a:pt x="15785" y="4050"/>
                </a:lnTo>
                <a:close/>
                <a:moveTo>
                  <a:pt x="7477" y="6750"/>
                </a:moveTo>
                <a:lnTo>
                  <a:pt x="9969" y="6750"/>
                </a:lnTo>
                <a:cubicBezTo>
                  <a:pt x="9969" y="6750"/>
                  <a:pt x="9969" y="13500"/>
                  <a:pt x="9969" y="13500"/>
                </a:cubicBezTo>
                <a:lnTo>
                  <a:pt x="7477" y="13500"/>
                </a:lnTo>
                <a:lnTo>
                  <a:pt x="7477" y="6750"/>
                </a:lnTo>
                <a:close/>
                <a:moveTo>
                  <a:pt x="11631" y="8775"/>
                </a:moveTo>
                <a:lnTo>
                  <a:pt x="14123" y="8775"/>
                </a:lnTo>
                <a:cubicBezTo>
                  <a:pt x="14123" y="8775"/>
                  <a:pt x="14123" y="13500"/>
                  <a:pt x="14123" y="13500"/>
                </a:cubicBezTo>
                <a:lnTo>
                  <a:pt x="11631" y="13500"/>
                </a:lnTo>
                <a:lnTo>
                  <a:pt x="11631" y="8775"/>
                </a:lnTo>
                <a:close/>
                <a:moveTo>
                  <a:pt x="3323" y="10800"/>
                </a:moveTo>
                <a:lnTo>
                  <a:pt x="5815" y="10800"/>
                </a:lnTo>
                <a:cubicBezTo>
                  <a:pt x="5815" y="10800"/>
                  <a:pt x="5815" y="13500"/>
                  <a:pt x="5815" y="13500"/>
                </a:cubicBezTo>
                <a:lnTo>
                  <a:pt x="3323" y="13500"/>
                </a:lnTo>
                <a:lnTo>
                  <a:pt x="3323" y="10800"/>
                </a:lnTo>
                <a:close/>
                <a:moveTo>
                  <a:pt x="3323" y="16200"/>
                </a:moveTo>
                <a:lnTo>
                  <a:pt x="1662" y="21600"/>
                </a:lnTo>
                <a:lnTo>
                  <a:pt x="3323" y="21600"/>
                </a:lnTo>
                <a:lnTo>
                  <a:pt x="4985" y="16200"/>
                </a:lnTo>
                <a:cubicBezTo>
                  <a:pt x="4985" y="16200"/>
                  <a:pt x="3323" y="16200"/>
                  <a:pt x="3323" y="16200"/>
                </a:cubicBezTo>
                <a:close/>
                <a:moveTo>
                  <a:pt x="9969" y="16200"/>
                </a:moveTo>
                <a:lnTo>
                  <a:pt x="9969" y="21600"/>
                </a:lnTo>
                <a:lnTo>
                  <a:pt x="11615" y="21600"/>
                </a:lnTo>
                <a:cubicBezTo>
                  <a:pt x="11615" y="21600"/>
                  <a:pt x="11631" y="16200"/>
                  <a:pt x="11631" y="16200"/>
                </a:cubicBezTo>
                <a:lnTo>
                  <a:pt x="9969" y="16200"/>
                </a:lnTo>
                <a:close/>
                <a:moveTo>
                  <a:pt x="16615" y="16200"/>
                </a:moveTo>
                <a:lnTo>
                  <a:pt x="18277" y="21600"/>
                </a:lnTo>
                <a:lnTo>
                  <a:pt x="19938" y="21600"/>
                </a:lnTo>
                <a:cubicBezTo>
                  <a:pt x="19938" y="21600"/>
                  <a:pt x="18277" y="16200"/>
                  <a:pt x="18277" y="16200"/>
                </a:cubicBezTo>
                <a:lnTo>
                  <a:pt x="16615" y="1620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 fontScale="8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0" name="矩形 79">
            <a:extLst>
              <a:ext uri="{FF2B5EF4-FFF2-40B4-BE49-F238E27FC236}">
                <a16:creationId xmlns:a16="http://schemas.microsoft.com/office/drawing/2014/main" id="{DD0CE8CF-4F83-474E-BD3D-6843BED9D5DA}"/>
              </a:ext>
            </a:extLst>
          </p:cNvPr>
          <p:cNvSpPr/>
          <p:nvPr/>
        </p:nvSpPr>
        <p:spPr>
          <a:xfrm>
            <a:off x="4395216" y="4984360"/>
            <a:ext cx="1222939" cy="362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a14="http://schemas.microsoft.com/office/drawing/2010/main"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i="1" dirty="0">
                <a:cs typeface="+mn-ea"/>
                <a:sym typeface="+mn-lt"/>
              </a:rPr>
              <a:t>Text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81" name="任意多边形: 形状 80">
            <a:extLst>
              <a:ext uri="{FF2B5EF4-FFF2-40B4-BE49-F238E27FC236}">
                <a16:creationId xmlns:a16="http://schemas.microsoft.com/office/drawing/2014/main" id="{D07FC628-613C-4F21-99C0-A9C78D1A5DD0}"/>
              </a:ext>
            </a:extLst>
          </p:cNvPr>
          <p:cNvSpPr/>
          <p:nvPr/>
        </p:nvSpPr>
        <p:spPr>
          <a:xfrm flipH="1">
            <a:off x="2373159" y="2920886"/>
            <a:ext cx="1870981" cy="187097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0"/>
                </a:moveTo>
                <a:cubicBezTo>
                  <a:pt x="4836" y="0"/>
                  <a:pt x="0" y="4835"/>
                  <a:pt x="0" y="10800"/>
                </a:cubicBezTo>
                <a:cubicBezTo>
                  <a:pt x="0" y="11095"/>
                  <a:pt x="12" y="11387"/>
                  <a:pt x="36" y="11676"/>
                </a:cubicBezTo>
                <a:cubicBezTo>
                  <a:pt x="334" y="15393"/>
                  <a:pt x="2514" y="18579"/>
                  <a:pt x="5623" y="20280"/>
                </a:cubicBezTo>
                <a:cubicBezTo>
                  <a:pt x="7160" y="21121"/>
                  <a:pt x="8924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2" name="椭圆 81">
            <a:extLst>
              <a:ext uri="{FF2B5EF4-FFF2-40B4-BE49-F238E27FC236}">
                <a16:creationId xmlns:a16="http://schemas.microsoft.com/office/drawing/2014/main" id="{8B54A3B8-5791-4AB2-B299-0AE19129D9F5}"/>
              </a:ext>
            </a:extLst>
          </p:cNvPr>
          <p:cNvSpPr/>
          <p:nvPr/>
        </p:nvSpPr>
        <p:spPr>
          <a:xfrm flipH="1">
            <a:off x="2608770" y="3156487"/>
            <a:ext cx="1399758" cy="1399771"/>
          </a:xfrm>
          <a:prstGeom prst="ellipse">
            <a:avLst/>
          </a:prstGeom>
          <a:solidFill>
            <a:srgbClr val="FFFFFF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C0B9E322-8F8F-4AEF-9084-E6F25D104ACB}"/>
              </a:ext>
            </a:extLst>
          </p:cNvPr>
          <p:cNvSpPr/>
          <p:nvPr/>
        </p:nvSpPr>
        <p:spPr>
          <a:xfrm>
            <a:off x="3136060" y="3326089"/>
            <a:ext cx="345180" cy="4557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350" h="21600" extrusionOk="0">
                <a:moveTo>
                  <a:pt x="16784" y="1264"/>
                </a:moveTo>
                <a:cubicBezTo>
                  <a:pt x="16363" y="1078"/>
                  <a:pt x="15824" y="1189"/>
                  <a:pt x="15581" y="1511"/>
                </a:cubicBezTo>
                <a:lnTo>
                  <a:pt x="14280" y="3236"/>
                </a:lnTo>
                <a:cubicBezTo>
                  <a:pt x="14867" y="3417"/>
                  <a:pt x="15381" y="3636"/>
                  <a:pt x="15831" y="3874"/>
                </a:cubicBezTo>
                <a:lnTo>
                  <a:pt x="17106" y="2185"/>
                </a:lnTo>
                <a:cubicBezTo>
                  <a:pt x="17349" y="1863"/>
                  <a:pt x="17205" y="1451"/>
                  <a:pt x="16784" y="1264"/>
                </a:cubicBezTo>
                <a:close/>
                <a:moveTo>
                  <a:pt x="21233" y="4689"/>
                </a:moveTo>
                <a:cubicBezTo>
                  <a:pt x="20988" y="4366"/>
                  <a:pt x="20450" y="4256"/>
                  <a:pt x="20028" y="4442"/>
                </a:cubicBezTo>
                <a:lnTo>
                  <a:pt x="17841" y="5408"/>
                </a:lnTo>
                <a:cubicBezTo>
                  <a:pt x="18203" y="5799"/>
                  <a:pt x="18487" y="6197"/>
                  <a:pt x="18711" y="6581"/>
                </a:cubicBezTo>
                <a:lnTo>
                  <a:pt x="20909" y="5610"/>
                </a:lnTo>
                <a:cubicBezTo>
                  <a:pt x="21331" y="5423"/>
                  <a:pt x="21475" y="5012"/>
                  <a:pt x="21233" y="4689"/>
                </a:cubicBezTo>
                <a:close/>
                <a:moveTo>
                  <a:pt x="1322" y="4393"/>
                </a:moveTo>
                <a:cubicBezTo>
                  <a:pt x="900" y="4207"/>
                  <a:pt x="362" y="4317"/>
                  <a:pt x="118" y="4640"/>
                </a:cubicBezTo>
                <a:cubicBezTo>
                  <a:pt x="-125" y="4963"/>
                  <a:pt x="19" y="5375"/>
                  <a:pt x="441" y="5561"/>
                </a:cubicBezTo>
                <a:lnTo>
                  <a:pt x="2633" y="6530"/>
                </a:lnTo>
                <a:cubicBezTo>
                  <a:pt x="2861" y="6146"/>
                  <a:pt x="3149" y="5751"/>
                  <a:pt x="3514" y="5362"/>
                </a:cubicBezTo>
                <a:cubicBezTo>
                  <a:pt x="3514" y="5362"/>
                  <a:pt x="1322" y="4393"/>
                  <a:pt x="1322" y="4393"/>
                </a:cubicBezTo>
                <a:close/>
                <a:moveTo>
                  <a:pt x="5797" y="1483"/>
                </a:moveTo>
                <a:cubicBezTo>
                  <a:pt x="5553" y="1160"/>
                  <a:pt x="5015" y="1050"/>
                  <a:pt x="4593" y="1236"/>
                </a:cubicBezTo>
                <a:cubicBezTo>
                  <a:pt x="4173" y="1422"/>
                  <a:pt x="4029" y="1834"/>
                  <a:pt x="4272" y="2157"/>
                </a:cubicBezTo>
                <a:lnTo>
                  <a:pt x="5544" y="3843"/>
                </a:lnTo>
                <a:cubicBezTo>
                  <a:pt x="5997" y="3607"/>
                  <a:pt x="6514" y="3392"/>
                  <a:pt x="7103" y="3215"/>
                </a:cubicBezTo>
                <a:cubicBezTo>
                  <a:pt x="7103" y="3215"/>
                  <a:pt x="5797" y="1483"/>
                  <a:pt x="5797" y="1483"/>
                </a:cubicBezTo>
                <a:close/>
                <a:moveTo>
                  <a:pt x="10693" y="0"/>
                </a:moveTo>
                <a:cubicBezTo>
                  <a:pt x="10208" y="0"/>
                  <a:pt x="9813" y="302"/>
                  <a:pt x="9813" y="674"/>
                </a:cubicBezTo>
                <a:lnTo>
                  <a:pt x="9813" y="2753"/>
                </a:lnTo>
                <a:cubicBezTo>
                  <a:pt x="10026" y="2740"/>
                  <a:pt x="11348" y="2744"/>
                  <a:pt x="11574" y="2758"/>
                </a:cubicBezTo>
                <a:lnTo>
                  <a:pt x="11574" y="674"/>
                </a:lnTo>
                <a:cubicBezTo>
                  <a:pt x="11574" y="302"/>
                  <a:pt x="11180" y="0"/>
                  <a:pt x="10693" y="0"/>
                </a:cubicBezTo>
                <a:close/>
                <a:moveTo>
                  <a:pt x="18428" y="9068"/>
                </a:moveTo>
                <a:cubicBezTo>
                  <a:pt x="18228" y="7091"/>
                  <a:pt x="16423" y="3572"/>
                  <a:pt x="10662" y="3572"/>
                </a:cubicBezTo>
                <a:cubicBezTo>
                  <a:pt x="10661" y="3572"/>
                  <a:pt x="10660" y="3572"/>
                  <a:pt x="10659" y="3572"/>
                </a:cubicBezTo>
                <a:cubicBezTo>
                  <a:pt x="10658" y="3572"/>
                  <a:pt x="10658" y="3572"/>
                  <a:pt x="10657" y="3572"/>
                </a:cubicBezTo>
                <a:cubicBezTo>
                  <a:pt x="10656" y="3572"/>
                  <a:pt x="10655" y="3572"/>
                  <a:pt x="10655" y="3572"/>
                </a:cubicBezTo>
                <a:cubicBezTo>
                  <a:pt x="10654" y="3572"/>
                  <a:pt x="10653" y="3572"/>
                  <a:pt x="10652" y="3572"/>
                </a:cubicBezTo>
                <a:cubicBezTo>
                  <a:pt x="4890" y="3572"/>
                  <a:pt x="3086" y="7091"/>
                  <a:pt x="2886" y="9068"/>
                </a:cubicBezTo>
                <a:cubicBezTo>
                  <a:pt x="2715" y="10852"/>
                  <a:pt x="4327" y="12514"/>
                  <a:pt x="4510" y="12775"/>
                </a:cubicBezTo>
                <a:cubicBezTo>
                  <a:pt x="4810" y="13201"/>
                  <a:pt x="6695" y="14825"/>
                  <a:pt x="6762" y="15807"/>
                </a:cubicBezTo>
                <a:cubicBezTo>
                  <a:pt x="6855" y="17159"/>
                  <a:pt x="7070" y="17195"/>
                  <a:pt x="7930" y="17355"/>
                </a:cubicBezTo>
                <a:cubicBezTo>
                  <a:pt x="8807" y="17519"/>
                  <a:pt x="12507" y="17519"/>
                  <a:pt x="13383" y="17355"/>
                </a:cubicBezTo>
                <a:cubicBezTo>
                  <a:pt x="14243" y="17195"/>
                  <a:pt x="14459" y="17159"/>
                  <a:pt x="14552" y="15807"/>
                </a:cubicBezTo>
                <a:cubicBezTo>
                  <a:pt x="14619" y="14825"/>
                  <a:pt x="16504" y="13201"/>
                  <a:pt x="16803" y="12775"/>
                </a:cubicBezTo>
                <a:cubicBezTo>
                  <a:pt x="16987" y="12514"/>
                  <a:pt x="18599" y="10852"/>
                  <a:pt x="18428" y="9068"/>
                </a:cubicBezTo>
                <a:close/>
                <a:moveTo>
                  <a:pt x="13756" y="19204"/>
                </a:moveTo>
                <a:cubicBezTo>
                  <a:pt x="13756" y="18991"/>
                  <a:pt x="13530" y="18817"/>
                  <a:pt x="13251" y="18817"/>
                </a:cubicBezTo>
                <a:lnTo>
                  <a:pt x="8063" y="18817"/>
                </a:lnTo>
                <a:cubicBezTo>
                  <a:pt x="7783" y="18817"/>
                  <a:pt x="7557" y="18991"/>
                  <a:pt x="7557" y="19204"/>
                </a:cubicBezTo>
                <a:lnTo>
                  <a:pt x="7557" y="19204"/>
                </a:lnTo>
                <a:cubicBezTo>
                  <a:pt x="7557" y="19418"/>
                  <a:pt x="7783" y="19591"/>
                  <a:pt x="8063" y="19591"/>
                </a:cubicBezTo>
                <a:lnTo>
                  <a:pt x="13251" y="19591"/>
                </a:lnTo>
                <a:cubicBezTo>
                  <a:pt x="13530" y="19591"/>
                  <a:pt x="13756" y="19418"/>
                  <a:pt x="13756" y="19204"/>
                </a:cubicBezTo>
                <a:cubicBezTo>
                  <a:pt x="13756" y="19204"/>
                  <a:pt x="13756" y="19204"/>
                  <a:pt x="13756" y="19204"/>
                </a:cubicBezTo>
                <a:close/>
                <a:moveTo>
                  <a:pt x="13756" y="18147"/>
                </a:moveTo>
                <a:cubicBezTo>
                  <a:pt x="13756" y="17934"/>
                  <a:pt x="13530" y="17761"/>
                  <a:pt x="13251" y="17761"/>
                </a:cubicBezTo>
                <a:lnTo>
                  <a:pt x="8063" y="17761"/>
                </a:lnTo>
                <a:cubicBezTo>
                  <a:pt x="7783" y="17761"/>
                  <a:pt x="7557" y="17934"/>
                  <a:pt x="7557" y="18147"/>
                </a:cubicBezTo>
                <a:lnTo>
                  <a:pt x="7557" y="18147"/>
                </a:lnTo>
                <a:cubicBezTo>
                  <a:pt x="7557" y="18361"/>
                  <a:pt x="7783" y="18535"/>
                  <a:pt x="8063" y="18535"/>
                </a:cubicBezTo>
                <a:lnTo>
                  <a:pt x="13251" y="18535"/>
                </a:lnTo>
                <a:cubicBezTo>
                  <a:pt x="13530" y="18535"/>
                  <a:pt x="13756" y="18361"/>
                  <a:pt x="13756" y="18147"/>
                </a:cubicBezTo>
                <a:cubicBezTo>
                  <a:pt x="13756" y="18147"/>
                  <a:pt x="13756" y="18147"/>
                  <a:pt x="13756" y="18147"/>
                </a:cubicBezTo>
                <a:close/>
                <a:moveTo>
                  <a:pt x="8400" y="19874"/>
                </a:moveTo>
                <a:lnTo>
                  <a:pt x="12913" y="19874"/>
                </a:lnTo>
                <a:cubicBezTo>
                  <a:pt x="12913" y="20827"/>
                  <a:pt x="11903" y="21600"/>
                  <a:pt x="10657" y="21600"/>
                </a:cubicBezTo>
                <a:cubicBezTo>
                  <a:pt x="9411" y="21600"/>
                  <a:pt x="8400" y="20827"/>
                  <a:pt x="8400" y="19874"/>
                </a:cubicBezTo>
                <a:close/>
              </a:path>
            </a:pathLst>
          </a:custGeom>
          <a:solidFill>
            <a:schemeClr val="accent1">
              <a:lumMod val="10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4" name="矩形 83">
            <a:extLst>
              <a:ext uri="{FF2B5EF4-FFF2-40B4-BE49-F238E27FC236}">
                <a16:creationId xmlns:a16="http://schemas.microsoft.com/office/drawing/2014/main" id="{4CE9739C-7263-4460-9AD5-B892EC103956}"/>
              </a:ext>
            </a:extLst>
          </p:cNvPr>
          <p:cNvSpPr/>
          <p:nvPr/>
        </p:nvSpPr>
        <p:spPr>
          <a:xfrm>
            <a:off x="2697180" y="3889158"/>
            <a:ext cx="1222939" cy="36244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a14="http://schemas.microsoft.com/office/drawing/2010/main" xmlns:ma14="http://schemas.microsoft.com/office/mac/drawingml/2011/main" xmlns:p14="http://schemas.microsoft.com/office/powerpoint/2010/main" xmlns:a16="http://schemas.microsoft.com/office/drawing/2014/main" xmlns:lc="http://schemas.openxmlformats.org/drawingml/2006/lockedCanvas" xmlns="" val="1"/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600" b="1" i="1" dirty="0">
                <a:cs typeface="+mn-ea"/>
                <a:sym typeface="+mn-lt"/>
              </a:rPr>
              <a:t>Text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85" name="任意多边形: 形状 84">
            <a:extLst>
              <a:ext uri="{FF2B5EF4-FFF2-40B4-BE49-F238E27FC236}">
                <a16:creationId xmlns:a16="http://schemas.microsoft.com/office/drawing/2014/main" id="{19DBC178-5F6A-4069-AEB6-112C209D64E5}"/>
              </a:ext>
            </a:extLst>
          </p:cNvPr>
          <p:cNvSpPr/>
          <p:nvPr/>
        </p:nvSpPr>
        <p:spPr>
          <a:xfrm rot="7434745">
            <a:off x="2992929" y="2478153"/>
            <a:ext cx="717746" cy="110014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206" h="21600" extrusionOk="0">
                <a:moveTo>
                  <a:pt x="248" y="0"/>
                </a:moveTo>
                <a:cubicBezTo>
                  <a:pt x="-394" y="3423"/>
                  <a:pt x="224" y="6830"/>
                  <a:pt x="1940" y="9968"/>
                </a:cubicBezTo>
                <a:cubicBezTo>
                  <a:pt x="3705" y="13196"/>
                  <a:pt x="6652" y="16173"/>
                  <a:pt x="10864" y="18394"/>
                </a:cubicBezTo>
                <a:cubicBezTo>
                  <a:pt x="13880" y="19984"/>
                  <a:pt x="17424" y="21083"/>
                  <a:pt x="21206" y="21600"/>
                </a:cubicBezTo>
              </a:path>
            </a:pathLst>
          </a:custGeom>
          <a:noFill/>
          <a:ln w="63500" cap="flat">
            <a:solidFill>
              <a:schemeClr val="bg2">
                <a:lumMod val="90000"/>
              </a:schemeClr>
            </a:solidFill>
            <a:prstDash val="solid"/>
            <a:miter lim="400000"/>
            <a:tailEnd type="triangl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6" name="任意多边形: 形状 85">
            <a:extLst>
              <a:ext uri="{FF2B5EF4-FFF2-40B4-BE49-F238E27FC236}">
                <a16:creationId xmlns:a16="http://schemas.microsoft.com/office/drawing/2014/main" id="{B5E0E3CA-059B-47B8-B1B6-A0901A7E1E66}"/>
              </a:ext>
            </a:extLst>
          </p:cNvPr>
          <p:cNvSpPr/>
          <p:nvPr/>
        </p:nvSpPr>
        <p:spPr>
          <a:xfrm rot="10800000">
            <a:off x="8780155" y="1837297"/>
            <a:ext cx="598700" cy="92648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974" h="21600" extrusionOk="0">
                <a:moveTo>
                  <a:pt x="737" y="0"/>
                </a:moveTo>
                <a:cubicBezTo>
                  <a:pt x="-1626" y="6731"/>
                  <a:pt x="1797" y="13810"/>
                  <a:pt x="9518" y="18160"/>
                </a:cubicBezTo>
                <a:cubicBezTo>
                  <a:pt x="12560" y="19874"/>
                  <a:pt x="16145" y="21054"/>
                  <a:pt x="19974" y="21600"/>
                </a:cubicBezTo>
              </a:path>
            </a:pathLst>
          </a:custGeom>
          <a:noFill/>
          <a:ln w="63500" cap="flat">
            <a:solidFill>
              <a:schemeClr val="bg2">
                <a:lumMod val="90000"/>
              </a:schemeClr>
            </a:solidFill>
            <a:prstDash val="solid"/>
            <a:miter lim="400000"/>
            <a:tailEnd type="triangle" w="med" len="med"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9" name="矩形 58">
            <a:extLst>
              <a:ext uri="{FF2B5EF4-FFF2-40B4-BE49-F238E27FC236}">
                <a16:creationId xmlns:a16="http://schemas.microsoft.com/office/drawing/2014/main" id="{AC487A75-6480-4C53-ADBF-DA01442D3CBA}"/>
              </a:ext>
            </a:extLst>
          </p:cNvPr>
          <p:cNvSpPr/>
          <p:nvPr/>
        </p:nvSpPr>
        <p:spPr bwMode="auto">
          <a:xfrm>
            <a:off x="719138" y="2265810"/>
            <a:ext cx="2758360" cy="762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60CE3C1C-D231-4FFD-B555-0EEF1A88BE28}"/>
              </a:ext>
            </a:extLst>
          </p:cNvPr>
          <p:cNvSpPr txBox="1"/>
          <p:nvPr/>
        </p:nvSpPr>
        <p:spPr bwMode="auto">
          <a:xfrm>
            <a:off x="719138" y="1824004"/>
            <a:ext cx="275836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7" name="矩形 56">
            <a:extLst>
              <a:ext uri="{FF2B5EF4-FFF2-40B4-BE49-F238E27FC236}">
                <a16:creationId xmlns:a16="http://schemas.microsoft.com/office/drawing/2014/main" id="{74128834-33EE-4719-B0F2-3D51C689062D}"/>
              </a:ext>
            </a:extLst>
          </p:cNvPr>
          <p:cNvSpPr/>
          <p:nvPr/>
        </p:nvSpPr>
        <p:spPr bwMode="auto">
          <a:xfrm>
            <a:off x="8762127" y="1572106"/>
            <a:ext cx="2758360" cy="762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58" name="文本框 57">
            <a:extLst>
              <a:ext uri="{FF2B5EF4-FFF2-40B4-BE49-F238E27FC236}">
                <a16:creationId xmlns:a16="http://schemas.microsoft.com/office/drawing/2014/main" id="{06D481C8-F267-48F9-83CC-7ECA5F488ED4}"/>
              </a:ext>
            </a:extLst>
          </p:cNvPr>
          <p:cNvSpPr txBox="1"/>
          <p:nvPr/>
        </p:nvSpPr>
        <p:spPr bwMode="auto">
          <a:xfrm>
            <a:off x="8762127" y="1130300"/>
            <a:ext cx="275836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318610562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30B74205-6E39-482A-BE7C-39823449F82C}"/>
              </a:ext>
            </a:extLst>
          </p:cNvPr>
          <p:cNvGrpSpPr/>
          <p:nvPr/>
        </p:nvGrpSpPr>
        <p:grpSpPr>
          <a:xfrm>
            <a:off x="669925" y="1232594"/>
            <a:ext cx="1938420" cy="1435700"/>
            <a:chOff x="669925" y="1579889"/>
            <a:chExt cx="1938420" cy="1435700"/>
          </a:xfrm>
        </p:grpSpPr>
        <p:sp>
          <p:nvSpPr>
            <p:cNvPr id="22" name="椭圆 21">
              <a:extLst>
                <a:ext uri="{FF2B5EF4-FFF2-40B4-BE49-F238E27FC236}">
                  <a16:creationId xmlns:a16="http://schemas.microsoft.com/office/drawing/2014/main" id="{E97D2EC3-948F-4A8E-B77A-2CC21149E669}"/>
                </a:ext>
              </a:extLst>
            </p:cNvPr>
            <p:cNvSpPr/>
            <p:nvPr/>
          </p:nvSpPr>
          <p:spPr bwMode="auto">
            <a:xfrm rot="10800000" flipV="1">
              <a:off x="669925" y="2831301"/>
              <a:ext cx="1938420" cy="1842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round/>
            </a:ln>
            <a:effectLst/>
          </p:spPr>
          <p:txBody>
            <a:bodyPr wrap="none" lIns="134289" tIns="67145" rIns="134289" bIns="67145" anchor="ctr"/>
            <a:lstStyle/>
            <a:p>
              <a:pPr defTabSz="913628">
                <a:defRPr/>
              </a:pPr>
              <a:endParaRPr lang="zh-CN" altLang="en-US" sz="1707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sp>
          <p:nvSpPr>
            <p:cNvPr id="23" name="菱形 22">
              <a:extLst>
                <a:ext uri="{FF2B5EF4-FFF2-40B4-BE49-F238E27FC236}">
                  <a16:creationId xmlns:a16="http://schemas.microsoft.com/office/drawing/2014/main" id="{A20E3FAF-30B2-4FE6-9EA2-DFE0EBFCFD38}"/>
                </a:ext>
              </a:extLst>
            </p:cNvPr>
            <p:cNvSpPr/>
            <p:nvPr/>
          </p:nvSpPr>
          <p:spPr>
            <a:xfrm>
              <a:off x="1024293" y="1579889"/>
              <a:ext cx="1252998" cy="1251412"/>
            </a:xfrm>
            <a:prstGeom prst="diamond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3628">
                <a:defRPr/>
              </a:pPr>
              <a:r>
                <a:rPr lang="en-US" altLang="zh-CN" sz="2800" b="1" dirty="0">
                  <a:cs typeface="+mn-ea"/>
                  <a:sym typeface="+mn-lt"/>
                </a:rPr>
                <a:t>01</a:t>
              </a:r>
              <a:endParaRPr lang="zh-CN" altLang="en-US" sz="2800" b="1" dirty="0">
                <a:cs typeface="+mn-ea"/>
                <a:sym typeface="+mn-lt"/>
              </a:endParaRPr>
            </a:p>
          </p:txBody>
        </p:sp>
      </p:grpSp>
      <p:sp>
        <p:nvSpPr>
          <p:cNvPr id="20" name="文本框 19">
            <a:extLst>
              <a:ext uri="{FF2B5EF4-FFF2-40B4-BE49-F238E27FC236}">
                <a16:creationId xmlns:a16="http://schemas.microsoft.com/office/drawing/2014/main" id="{600B0FD5-C33C-423E-8458-F1A093A368BD}"/>
              </a:ext>
            </a:extLst>
          </p:cNvPr>
          <p:cNvSpPr txBox="1"/>
          <p:nvPr/>
        </p:nvSpPr>
        <p:spPr bwMode="auto">
          <a:xfrm>
            <a:off x="2766000" y="1384813"/>
            <a:ext cx="680826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05E8BF6-9296-4AAF-83C1-EBFC52400347}"/>
              </a:ext>
            </a:extLst>
          </p:cNvPr>
          <p:cNvSpPr/>
          <p:nvPr/>
        </p:nvSpPr>
        <p:spPr bwMode="auto">
          <a:xfrm>
            <a:off x="2766000" y="1826619"/>
            <a:ext cx="6808268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1A0E617C-3674-4323-8D9C-5BED5C83EBEF}"/>
              </a:ext>
            </a:extLst>
          </p:cNvPr>
          <p:cNvGrpSpPr/>
          <p:nvPr/>
        </p:nvGrpSpPr>
        <p:grpSpPr>
          <a:xfrm>
            <a:off x="9574268" y="2935554"/>
            <a:ext cx="1938420" cy="1435700"/>
            <a:chOff x="669925" y="1579889"/>
            <a:chExt cx="1938420" cy="1435700"/>
          </a:xfrm>
        </p:grpSpPr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F2330859-AA54-465B-8081-FE7264D78B20}"/>
                </a:ext>
              </a:extLst>
            </p:cNvPr>
            <p:cNvSpPr/>
            <p:nvPr/>
          </p:nvSpPr>
          <p:spPr bwMode="auto">
            <a:xfrm rot="10800000" flipV="1">
              <a:off x="669925" y="2831301"/>
              <a:ext cx="1938420" cy="1842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round/>
            </a:ln>
            <a:effectLst/>
          </p:spPr>
          <p:txBody>
            <a:bodyPr wrap="none" lIns="134289" tIns="67145" rIns="134289" bIns="67145" anchor="ctr"/>
            <a:lstStyle/>
            <a:p>
              <a:pPr defTabSz="913628">
                <a:defRPr/>
              </a:pPr>
              <a:endParaRPr lang="zh-CN" altLang="en-US" sz="1707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sp>
          <p:nvSpPr>
            <p:cNvPr id="18" name="菱形 17">
              <a:extLst>
                <a:ext uri="{FF2B5EF4-FFF2-40B4-BE49-F238E27FC236}">
                  <a16:creationId xmlns:a16="http://schemas.microsoft.com/office/drawing/2014/main" id="{09EFAA80-18A8-49BB-8576-BA8249AEFB25}"/>
                </a:ext>
              </a:extLst>
            </p:cNvPr>
            <p:cNvSpPr/>
            <p:nvPr/>
          </p:nvSpPr>
          <p:spPr>
            <a:xfrm>
              <a:off x="1024293" y="1579889"/>
              <a:ext cx="1252998" cy="1251412"/>
            </a:xfrm>
            <a:prstGeom prst="diamond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3628">
                <a:defRPr/>
              </a:pPr>
              <a:r>
                <a:rPr lang="en-US" altLang="zh-CN" sz="2800" b="1" dirty="0">
                  <a:cs typeface="+mn-ea"/>
                  <a:sym typeface="+mn-lt"/>
                </a:rPr>
                <a:t>02</a:t>
              </a:r>
              <a:endParaRPr lang="zh-CN" altLang="en-US" sz="2800" b="1" dirty="0">
                <a:cs typeface="+mn-ea"/>
                <a:sym typeface="+mn-lt"/>
              </a:endParaRPr>
            </a:p>
          </p:txBody>
        </p: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141E5E3E-89E3-4C9E-BB1C-FDF08A11D1E0}"/>
              </a:ext>
            </a:extLst>
          </p:cNvPr>
          <p:cNvSpPr txBox="1"/>
          <p:nvPr/>
        </p:nvSpPr>
        <p:spPr bwMode="auto">
          <a:xfrm>
            <a:off x="2766000" y="3211599"/>
            <a:ext cx="6570000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8235828A-2D0A-4D0D-9361-577437AAFA07}"/>
              </a:ext>
            </a:extLst>
          </p:cNvPr>
          <p:cNvSpPr/>
          <p:nvPr/>
        </p:nvSpPr>
        <p:spPr bwMode="auto">
          <a:xfrm>
            <a:off x="2766000" y="3653405"/>
            <a:ext cx="6570000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 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DBFD74CF-F062-4A5C-B3CD-ABC561F72807}"/>
              </a:ext>
            </a:extLst>
          </p:cNvPr>
          <p:cNvGrpSpPr/>
          <p:nvPr/>
        </p:nvGrpSpPr>
        <p:grpSpPr>
          <a:xfrm>
            <a:off x="669925" y="4733766"/>
            <a:ext cx="1938420" cy="1435700"/>
            <a:chOff x="669925" y="1579889"/>
            <a:chExt cx="1938420" cy="1435700"/>
          </a:xfrm>
        </p:grpSpPr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E7056808-72E2-4690-8057-E42C999E6135}"/>
                </a:ext>
              </a:extLst>
            </p:cNvPr>
            <p:cNvSpPr/>
            <p:nvPr/>
          </p:nvSpPr>
          <p:spPr bwMode="auto">
            <a:xfrm rot="10800000" flipV="1">
              <a:off x="669925" y="2831301"/>
              <a:ext cx="1938420" cy="184288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round/>
            </a:ln>
            <a:effectLst/>
          </p:spPr>
          <p:txBody>
            <a:bodyPr wrap="none" lIns="134289" tIns="67145" rIns="134289" bIns="67145" anchor="ctr"/>
            <a:lstStyle/>
            <a:p>
              <a:pPr defTabSz="913628">
                <a:defRPr/>
              </a:pPr>
              <a:endParaRPr lang="zh-CN" altLang="en-US" sz="1707" kern="0">
                <a:solidFill>
                  <a:sysClr val="windowText" lastClr="000000"/>
                </a:solidFill>
                <a:cs typeface="+mn-ea"/>
                <a:sym typeface="+mn-lt"/>
              </a:endParaRPr>
            </a:p>
          </p:txBody>
        </p:sp>
        <p:sp>
          <p:nvSpPr>
            <p:cNvPr id="13" name="菱形 12">
              <a:extLst>
                <a:ext uri="{FF2B5EF4-FFF2-40B4-BE49-F238E27FC236}">
                  <a16:creationId xmlns:a16="http://schemas.microsoft.com/office/drawing/2014/main" id="{B925754C-40E0-413E-9752-CA51B6D0BCF2}"/>
                </a:ext>
              </a:extLst>
            </p:cNvPr>
            <p:cNvSpPr/>
            <p:nvPr/>
          </p:nvSpPr>
          <p:spPr>
            <a:xfrm>
              <a:off x="1024293" y="1579889"/>
              <a:ext cx="1252998" cy="1251412"/>
            </a:xfrm>
            <a:prstGeom prst="diamond">
              <a:avLst/>
            </a:prstGeom>
            <a:solidFill>
              <a:schemeClr val="accent1"/>
            </a:solidFill>
            <a:ln w="12700" cmpd="sng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 defTabSz="913628">
                <a:defRPr/>
              </a:pPr>
              <a:r>
                <a:rPr lang="en-US" altLang="zh-CN" sz="2800" b="1" dirty="0">
                  <a:cs typeface="+mn-ea"/>
                  <a:sym typeface="+mn-lt"/>
                </a:rPr>
                <a:t>01</a:t>
              </a:r>
              <a:endParaRPr lang="zh-CN" altLang="en-US" sz="2800" b="1" dirty="0">
                <a:cs typeface="+mn-ea"/>
                <a:sym typeface="+mn-lt"/>
              </a:endParaRPr>
            </a:p>
          </p:txBody>
        </p:sp>
      </p:grpSp>
      <p:sp>
        <p:nvSpPr>
          <p:cNvPr id="10" name="文本框 9">
            <a:extLst>
              <a:ext uri="{FF2B5EF4-FFF2-40B4-BE49-F238E27FC236}">
                <a16:creationId xmlns:a16="http://schemas.microsoft.com/office/drawing/2014/main" id="{9E36AAD8-3732-4F02-BAE2-D9965582C336}"/>
              </a:ext>
            </a:extLst>
          </p:cNvPr>
          <p:cNvSpPr txBox="1"/>
          <p:nvPr/>
        </p:nvSpPr>
        <p:spPr bwMode="auto">
          <a:xfrm>
            <a:off x="2766000" y="4885985"/>
            <a:ext cx="6808268" cy="441805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EC9D149E-48F5-4CE3-8D91-98D0D0DF5FDA}"/>
              </a:ext>
            </a:extLst>
          </p:cNvPr>
          <p:cNvSpPr/>
          <p:nvPr/>
        </p:nvSpPr>
        <p:spPr bwMode="auto">
          <a:xfrm>
            <a:off x="2766000" y="5327791"/>
            <a:ext cx="6808268" cy="813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25787246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69925" y="4796781"/>
            <a:ext cx="1168139" cy="101565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32F834C2-6E86-416A-9662-342BEF7E88D5}"/>
              </a:ext>
            </a:extLst>
          </p:cNvPr>
          <p:cNvGrpSpPr/>
          <p:nvPr/>
        </p:nvGrpSpPr>
        <p:grpSpPr bwMode="auto">
          <a:xfrm>
            <a:off x="5671456" y="3344896"/>
            <a:ext cx="5588506" cy="3311806"/>
            <a:chOff x="2555776" y="2204864"/>
            <a:chExt cx="3456384" cy="3456384"/>
          </a:xfrm>
          <a:scene3d>
            <a:camera prst="isometricOffAxis1Top">
              <a:rot lat="17411170" lon="18596411" rev="2947935"/>
            </a:camera>
            <a:lightRig rig="threePt" dir="t"/>
          </a:scene3d>
        </p:grpSpPr>
        <p:sp>
          <p:nvSpPr>
            <p:cNvPr id="34" name="椭圆 33">
              <a:extLst>
                <a:ext uri="{FF2B5EF4-FFF2-40B4-BE49-F238E27FC236}">
                  <a16:creationId xmlns:a16="http://schemas.microsoft.com/office/drawing/2014/main" id="{7E83572E-E051-4DF9-AA02-D2CFA365F914}"/>
                </a:ext>
              </a:extLst>
            </p:cNvPr>
            <p:cNvSpPr/>
            <p:nvPr/>
          </p:nvSpPr>
          <p:spPr>
            <a:xfrm>
              <a:off x="2555776" y="2204864"/>
              <a:ext cx="3456384" cy="3456384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AC3435D1-B873-4F7C-9A09-A94399A62EDE}"/>
                </a:ext>
              </a:extLst>
            </p:cNvPr>
            <p:cNvSpPr/>
            <p:nvPr/>
          </p:nvSpPr>
          <p:spPr>
            <a:xfrm>
              <a:off x="2652028" y="2302296"/>
              <a:ext cx="3263879" cy="3263879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椭圆 35">
              <a:extLst>
                <a:ext uri="{FF2B5EF4-FFF2-40B4-BE49-F238E27FC236}">
                  <a16:creationId xmlns:a16="http://schemas.microsoft.com/office/drawing/2014/main" id="{5E4B2B4B-8A84-4468-9760-C5B834AF1A0D}"/>
                </a:ext>
              </a:extLst>
            </p:cNvPr>
            <p:cNvSpPr/>
            <p:nvPr/>
          </p:nvSpPr>
          <p:spPr>
            <a:xfrm>
              <a:off x="2927938" y="2577026"/>
              <a:ext cx="2712060" cy="2712060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7ACDFF13-682E-4FBB-8DD0-E780B012E8E7}"/>
                </a:ext>
              </a:extLst>
            </p:cNvPr>
            <p:cNvSpPr/>
            <p:nvPr/>
          </p:nvSpPr>
          <p:spPr>
            <a:xfrm>
              <a:off x="3298562" y="2948830"/>
              <a:ext cx="1970812" cy="1970812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3176898A-445A-4612-943A-4C95B9941260}"/>
                </a:ext>
              </a:extLst>
            </p:cNvPr>
            <p:cNvSpPr/>
            <p:nvPr/>
          </p:nvSpPr>
          <p:spPr>
            <a:xfrm>
              <a:off x="3743908" y="3392996"/>
              <a:ext cx="1080120" cy="1080120"/>
            </a:xfrm>
            <a:prstGeom prst="ellipse">
              <a:avLst/>
            </a:prstGeom>
            <a:solidFill>
              <a:sysClr val="window" lastClr="FFFFFF"/>
            </a:solidFill>
            <a:ln w="25400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A9E991A8-F264-4EC1-8301-77388CE81244}"/>
                </a:ext>
              </a:extLst>
            </p:cNvPr>
            <p:cNvSpPr/>
            <p:nvPr/>
          </p:nvSpPr>
          <p:spPr>
            <a:xfrm>
              <a:off x="3851672" y="3500760"/>
              <a:ext cx="864592" cy="864592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7" name="等腰三角形 6">
            <a:extLst>
              <a:ext uri="{FF2B5EF4-FFF2-40B4-BE49-F238E27FC236}">
                <a16:creationId xmlns:a16="http://schemas.microsoft.com/office/drawing/2014/main" id="{4B9CBA88-AD5F-44A2-BB65-F1147FB31E24}"/>
              </a:ext>
            </a:extLst>
          </p:cNvPr>
          <p:cNvSpPr/>
          <p:nvPr/>
        </p:nvSpPr>
        <p:spPr bwMode="auto">
          <a:xfrm flipV="1">
            <a:off x="7680268" y="3965082"/>
            <a:ext cx="1570880" cy="1034765"/>
          </a:xfrm>
          <a:prstGeom prst="triangle">
            <a:avLst/>
          </a:pr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551F53D6-BEAD-41D4-85FD-57D756DF1461}"/>
              </a:ext>
            </a:extLst>
          </p:cNvPr>
          <p:cNvSpPr/>
          <p:nvPr/>
        </p:nvSpPr>
        <p:spPr bwMode="auto">
          <a:xfrm>
            <a:off x="7691897" y="3832022"/>
            <a:ext cx="1572172" cy="133059"/>
          </a:xfrm>
          <a:custGeom>
            <a:avLst/>
            <a:gdLst>
              <a:gd name="connsiteX0" fmla="*/ 0 w 1640851"/>
              <a:gd name="connsiteY0" fmla="*/ 0 h 149806"/>
              <a:gd name="connsiteX1" fmla="*/ 1640851 w 1640851"/>
              <a:gd name="connsiteY1" fmla="*/ 0 h 149806"/>
              <a:gd name="connsiteX2" fmla="*/ 1640851 w 1640851"/>
              <a:gd name="connsiteY2" fmla="*/ 149806 h 149806"/>
              <a:gd name="connsiteX3" fmla="*/ 0 w 1640851"/>
              <a:gd name="connsiteY3" fmla="*/ 149806 h 149806"/>
              <a:gd name="connsiteX4" fmla="*/ 0 w 1640851"/>
              <a:gd name="connsiteY4" fmla="*/ 0 h 149806"/>
              <a:gd name="connsiteX0" fmla="*/ 144379 w 1640851"/>
              <a:gd name="connsiteY0" fmla="*/ 12032 h 149806"/>
              <a:gd name="connsiteX1" fmla="*/ 1640851 w 1640851"/>
              <a:gd name="connsiteY1" fmla="*/ 0 h 149806"/>
              <a:gd name="connsiteX2" fmla="*/ 1640851 w 1640851"/>
              <a:gd name="connsiteY2" fmla="*/ 149806 h 149806"/>
              <a:gd name="connsiteX3" fmla="*/ 0 w 1640851"/>
              <a:gd name="connsiteY3" fmla="*/ 149806 h 149806"/>
              <a:gd name="connsiteX4" fmla="*/ 144379 w 1640851"/>
              <a:gd name="connsiteY4" fmla="*/ 12032 h 149806"/>
              <a:gd name="connsiteX0" fmla="*/ 144379 w 1640851"/>
              <a:gd name="connsiteY0" fmla="*/ 24064 h 161838"/>
              <a:gd name="connsiteX1" fmla="*/ 1508504 w 1640851"/>
              <a:gd name="connsiteY1" fmla="*/ 0 h 161838"/>
              <a:gd name="connsiteX2" fmla="*/ 1640851 w 1640851"/>
              <a:gd name="connsiteY2" fmla="*/ 161838 h 161838"/>
              <a:gd name="connsiteX3" fmla="*/ 0 w 1640851"/>
              <a:gd name="connsiteY3" fmla="*/ 161838 h 161838"/>
              <a:gd name="connsiteX4" fmla="*/ 144379 w 1640851"/>
              <a:gd name="connsiteY4" fmla="*/ 24064 h 161838"/>
              <a:gd name="connsiteX0" fmla="*/ 144379 w 1640851"/>
              <a:gd name="connsiteY0" fmla="*/ 0 h 137774"/>
              <a:gd name="connsiteX1" fmla="*/ 1544599 w 1640851"/>
              <a:gd name="connsiteY1" fmla="*/ 0 h 137774"/>
              <a:gd name="connsiteX2" fmla="*/ 1640851 w 1640851"/>
              <a:gd name="connsiteY2" fmla="*/ 137774 h 137774"/>
              <a:gd name="connsiteX3" fmla="*/ 0 w 1640851"/>
              <a:gd name="connsiteY3" fmla="*/ 137774 h 137774"/>
              <a:gd name="connsiteX4" fmla="*/ 144379 w 1640851"/>
              <a:gd name="connsiteY4" fmla="*/ 0 h 137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0851" h="137774">
                <a:moveTo>
                  <a:pt x="144379" y="0"/>
                </a:moveTo>
                <a:lnTo>
                  <a:pt x="1544599" y="0"/>
                </a:lnTo>
                <a:lnTo>
                  <a:pt x="1640851" y="137774"/>
                </a:lnTo>
                <a:lnTo>
                  <a:pt x="0" y="137774"/>
                </a:lnTo>
                <a:lnTo>
                  <a:pt x="144379" y="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8F11562C-4ECC-49F4-82D6-80F00B75F48B}"/>
              </a:ext>
            </a:extLst>
          </p:cNvPr>
          <p:cNvSpPr/>
          <p:nvPr/>
        </p:nvSpPr>
        <p:spPr bwMode="auto">
          <a:xfrm>
            <a:off x="6991717" y="2975532"/>
            <a:ext cx="2933772" cy="899121"/>
          </a:xfrm>
          <a:custGeom>
            <a:avLst/>
            <a:gdLst/>
            <a:ahLst/>
            <a:cxnLst/>
            <a:rect l="l" t="t" r="r" b="b"/>
            <a:pathLst>
              <a:path w="3061735" h="937284">
                <a:moveTo>
                  <a:pt x="0" y="0"/>
                </a:moveTo>
                <a:lnTo>
                  <a:pt x="3061735" y="0"/>
                </a:lnTo>
                <a:lnTo>
                  <a:pt x="2493758" y="937284"/>
                </a:lnTo>
                <a:lnTo>
                  <a:pt x="567977" y="937284"/>
                </a:lnTo>
                <a:close/>
              </a:path>
            </a:pathLst>
          </a:cu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D4FA9770-AD81-4602-A2EF-877434C0D987}"/>
              </a:ext>
            </a:extLst>
          </p:cNvPr>
          <p:cNvSpPr/>
          <p:nvPr/>
        </p:nvSpPr>
        <p:spPr bwMode="auto">
          <a:xfrm>
            <a:off x="6361300" y="1950292"/>
            <a:ext cx="4186857" cy="897830"/>
          </a:xfrm>
          <a:custGeom>
            <a:avLst/>
            <a:gdLst/>
            <a:ahLst/>
            <a:cxnLst/>
            <a:rect l="l" t="t" r="r" b="b"/>
            <a:pathLst>
              <a:path w="4370803" h="937284">
                <a:moveTo>
                  <a:pt x="0" y="0"/>
                </a:moveTo>
                <a:lnTo>
                  <a:pt x="4370803" y="0"/>
                </a:lnTo>
                <a:lnTo>
                  <a:pt x="3802825" y="937284"/>
                </a:lnTo>
                <a:lnTo>
                  <a:pt x="567978" y="937284"/>
                </a:ln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6CD242B5-BC7F-4A0F-BD98-8EF4491DF930}"/>
              </a:ext>
            </a:extLst>
          </p:cNvPr>
          <p:cNvSpPr/>
          <p:nvPr/>
        </p:nvSpPr>
        <p:spPr bwMode="auto">
          <a:xfrm>
            <a:off x="6994301" y="2843765"/>
            <a:ext cx="2933772" cy="131768"/>
          </a:xfrm>
          <a:custGeom>
            <a:avLst/>
            <a:gdLst>
              <a:gd name="connsiteX0" fmla="*/ 0 w 1640851"/>
              <a:gd name="connsiteY0" fmla="*/ 0 h 149806"/>
              <a:gd name="connsiteX1" fmla="*/ 1640851 w 1640851"/>
              <a:gd name="connsiteY1" fmla="*/ 0 h 149806"/>
              <a:gd name="connsiteX2" fmla="*/ 1640851 w 1640851"/>
              <a:gd name="connsiteY2" fmla="*/ 149806 h 149806"/>
              <a:gd name="connsiteX3" fmla="*/ 0 w 1640851"/>
              <a:gd name="connsiteY3" fmla="*/ 149806 h 149806"/>
              <a:gd name="connsiteX4" fmla="*/ 0 w 1640851"/>
              <a:gd name="connsiteY4" fmla="*/ 0 h 149806"/>
              <a:gd name="connsiteX0" fmla="*/ 144379 w 1640851"/>
              <a:gd name="connsiteY0" fmla="*/ 12032 h 149806"/>
              <a:gd name="connsiteX1" fmla="*/ 1640851 w 1640851"/>
              <a:gd name="connsiteY1" fmla="*/ 0 h 149806"/>
              <a:gd name="connsiteX2" fmla="*/ 1640851 w 1640851"/>
              <a:gd name="connsiteY2" fmla="*/ 149806 h 149806"/>
              <a:gd name="connsiteX3" fmla="*/ 0 w 1640851"/>
              <a:gd name="connsiteY3" fmla="*/ 149806 h 149806"/>
              <a:gd name="connsiteX4" fmla="*/ 144379 w 1640851"/>
              <a:gd name="connsiteY4" fmla="*/ 12032 h 149806"/>
              <a:gd name="connsiteX0" fmla="*/ 144379 w 1640851"/>
              <a:gd name="connsiteY0" fmla="*/ 24064 h 161838"/>
              <a:gd name="connsiteX1" fmla="*/ 1508504 w 1640851"/>
              <a:gd name="connsiteY1" fmla="*/ 0 h 161838"/>
              <a:gd name="connsiteX2" fmla="*/ 1640851 w 1640851"/>
              <a:gd name="connsiteY2" fmla="*/ 161838 h 161838"/>
              <a:gd name="connsiteX3" fmla="*/ 0 w 1640851"/>
              <a:gd name="connsiteY3" fmla="*/ 161838 h 161838"/>
              <a:gd name="connsiteX4" fmla="*/ 144379 w 1640851"/>
              <a:gd name="connsiteY4" fmla="*/ 24064 h 161838"/>
              <a:gd name="connsiteX0" fmla="*/ 144379 w 1640851"/>
              <a:gd name="connsiteY0" fmla="*/ 0 h 137774"/>
              <a:gd name="connsiteX1" fmla="*/ 1544599 w 1640851"/>
              <a:gd name="connsiteY1" fmla="*/ 0 h 137774"/>
              <a:gd name="connsiteX2" fmla="*/ 1640851 w 1640851"/>
              <a:gd name="connsiteY2" fmla="*/ 137774 h 137774"/>
              <a:gd name="connsiteX3" fmla="*/ 0 w 1640851"/>
              <a:gd name="connsiteY3" fmla="*/ 137774 h 137774"/>
              <a:gd name="connsiteX4" fmla="*/ 144379 w 1640851"/>
              <a:gd name="connsiteY4" fmla="*/ 0 h 137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0851" h="137774">
                <a:moveTo>
                  <a:pt x="144379" y="0"/>
                </a:moveTo>
                <a:lnTo>
                  <a:pt x="1544599" y="0"/>
                </a:lnTo>
                <a:lnTo>
                  <a:pt x="1640851" y="137774"/>
                </a:lnTo>
                <a:lnTo>
                  <a:pt x="0" y="137774"/>
                </a:lnTo>
                <a:lnTo>
                  <a:pt x="144379" y="0"/>
                </a:lnTo>
                <a:close/>
              </a:path>
            </a:pathLst>
          </a:custGeom>
          <a:solidFill>
            <a:schemeClr val="accent2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3A09D4B0-BB73-476C-9001-9A240E5C19DB}"/>
              </a:ext>
            </a:extLst>
          </p:cNvPr>
          <p:cNvSpPr/>
          <p:nvPr/>
        </p:nvSpPr>
        <p:spPr bwMode="auto">
          <a:xfrm>
            <a:off x="6361300" y="1818524"/>
            <a:ext cx="4186857" cy="131768"/>
          </a:xfrm>
          <a:custGeom>
            <a:avLst/>
            <a:gdLst>
              <a:gd name="connsiteX0" fmla="*/ 0 w 1640851"/>
              <a:gd name="connsiteY0" fmla="*/ 0 h 149806"/>
              <a:gd name="connsiteX1" fmla="*/ 1640851 w 1640851"/>
              <a:gd name="connsiteY1" fmla="*/ 0 h 149806"/>
              <a:gd name="connsiteX2" fmla="*/ 1640851 w 1640851"/>
              <a:gd name="connsiteY2" fmla="*/ 149806 h 149806"/>
              <a:gd name="connsiteX3" fmla="*/ 0 w 1640851"/>
              <a:gd name="connsiteY3" fmla="*/ 149806 h 149806"/>
              <a:gd name="connsiteX4" fmla="*/ 0 w 1640851"/>
              <a:gd name="connsiteY4" fmla="*/ 0 h 149806"/>
              <a:gd name="connsiteX0" fmla="*/ 144379 w 1640851"/>
              <a:gd name="connsiteY0" fmla="*/ 12032 h 149806"/>
              <a:gd name="connsiteX1" fmla="*/ 1640851 w 1640851"/>
              <a:gd name="connsiteY1" fmla="*/ 0 h 149806"/>
              <a:gd name="connsiteX2" fmla="*/ 1640851 w 1640851"/>
              <a:gd name="connsiteY2" fmla="*/ 149806 h 149806"/>
              <a:gd name="connsiteX3" fmla="*/ 0 w 1640851"/>
              <a:gd name="connsiteY3" fmla="*/ 149806 h 149806"/>
              <a:gd name="connsiteX4" fmla="*/ 144379 w 1640851"/>
              <a:gd name="connsiteY4" fmla="*/ 12032 h 149806"/>
              <a:gd name="connsiteX0" fmla="*/ 144379 w 1640851"/>
              <a:gd name="connsiteY0" fmla="*/ 24064 h 161838"/>
              <a:gd name="connsiteX1" fmla="*/ 1508504 w 1640851"/>
              <a:gd name="connsiteY1" fmla="*/ 0 h 161838"/>
              <a:gd name="connsiteX2" fmla="*/ 1640851 w 1640851"/>
              <a:gd name="connsiteY2" fmla="*/ 161838 h 161838"/>
              <a:gd name="connsiteX3" fmla="*/ 0 w 1640851"/>
              <a:gd name="connsiteY3" fmla="*/ 161838 h 161838"/>
              <a:gd name="connsiteX4" fmla="*/ 144379 w 1640851"/>
              <a:gd name="connsiteY4" fmla="*/ 24064 h 161838"/>
              <a:gd name="connsiteX0" fmla="*/ 144379 w 1640851"/>
              <a:gd name="connsiteY0" fmla="*/ 0 h 137774"/>
              <a:gd name="connsiteX1" fmla="*/ 1544599 w 1640851"/>
              <a:gd name="connsiteY1" fmla="*/ 0 h 137774"/>
              <a:gd name="connsiteX2" fmla="*/ 1640851 w 1640851"/>
              <a:gd name="connsiteY2" fmla="*/ 137774 h 137774"/>
              <a:gd name="connsiteX3" fmla="*/ 0 w 1640851"/>
              <a:gd name="connsiteY3" fmla="*/ 137774 h 137774"/>
              <a:gd name="connsiteX4" fmla="*/ 144379 w 1640851"/>
              <a:gd name="connsiteY4" fmla="*/ 0 h 137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0851" h="137774">
                <a:moveTo>
                  <a:pt x="144379" y="0"/>
                </a:moveTo>
                <a:lnTo>
                  <a:pt x="1544599" y="0"/>
                </a:lnTo>
                <a:lnTo>
                  <a:pt x="1640851" y="137774"/>
                </a:lnTo>
                <a:lnTo>
                  <a:pt x="0" y="137774"/>
                </a:lnTo>
                <a:lnTo>
                  <a:pt x="144379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307ABE5B-DE7E-46A2-9FFF-BC75036AB335}"/>
              </a:ext>
            </a:extLst>
          </p:cNvPr>
          <p:cNvSpPr txBox="1"/>
          <p:nvPr/>
        </p:nvSpPr>
        <p:spPr>
          <a:xfrm>
            <a:off x="7864027" y="2122007"/>
            <a:ext cx="1227912" cy="55440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670E9EEF-0108-4F0E-AAFB-3E7456BB03D3}"/>
              </a:ext>
            </a:extLst>
          </p:cNvPr>
          <p:cNvSpPr txBox="1"/>
          <p:nvPr/>
        </p:nvSpPr>
        <p:spPr>
          <a:xfrm>
            <a:off x="7864027" y="3149212"/>
            <a:ext cx="1227912" cy="55440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600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sz="1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A6037247-633A-46E3-BC98-F79F98162913}"/>
              </a:ext>
            </a:extLst>
          </p:cNvPr>
          <p:cNvSpPr txBox="1"/>
          <p:nvPr/>
        </p:nvSpPr>
        <p:spPr>
          <a:xfrm>
            <a:off x="7864027" y="4033275"/>
            <a:ext cx="1227912" cy="554400"/>
          </a:xfrm>
          <a:prstGeom prst="rect">
            <a:avLst/>
          </a:prstGeom>
          <a:noFill/>
        </p:spPr>
        <p:txBody>
          <a:bodyPr wrap="none" lIns="90000" tIns="46800" rIns="90000" bIns="46800" rtlCol="0" anchor="ctr" anchorCtr="0">
            <a:normAutofit/>
          </a:bodyPr>
          <a:lstStyle/>
          <a:p>
            <a:pPr algn="ctr"/>
            <a:r>
              <a:rPr lang="en-US" altLang="zh-CN" sz="1200" b="1" dirty="0">
                <a:solidFill>
                  <a:schemeClr val="bg1"/>
                </a:solidFill>
                <a:cs typeface="+mn-ea"/>
                <a:sym typeface="+mn-lt"/>
              </a:rPr>
              <a:t>Keyword</a:t>
            </a:r>
            <a:endParaRPr lang="zh-CN" altLang="en-US" sz="12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860DDAA2-73C4-45FC-93B0-ADFD647D601C}"/>
              </a:ext>
            </a:extLst>
          </p:cNvPr>
          <p:cNvGrpSpPr/>
          <p:nvPr/>
        </p:nvGrpSpPr>
        <p:grpSpPr>
          <a:xfrm>
            <a:off x="6361300" y="2139714"/>
            <a:ext cx="518988" cy="518986"/>
            <a:chOff x="5839622" y="2191652"/>
            <a:chExt cx="522378" cy="522378"/>
          </a:xfrm>
        </p:grpSpPr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AB7935F-4D11-4C0A-8A99-5B7C1AEDC5A4}"/>
                </a:ext>
              </a:extLst>
            </p:cNvPr>
            <p:cNvSpPr/>
            <p:nvPr/>
          </p:nvSpPr>
          <p:spPr>
            <a:xfrm>
              <a:off x="5839622" y="2191652"/>
              <a:ext cx="522378" cy="522378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41D1EEDD-0B1D-4B6D-AC1A-DE6CA05835D4}"/>
                </a:ext>
              </a:extLst>
            </p:cNvPr>
            <p:cNvSpPr/>
            <p:nvPr/>
          </p:nvSpPr>
          <p:spPr bwMode="auto">
            <a:xfrm>
              <a:off x="5954522" y="2350040"/>
              <a:ext cx="292579" cy="205596"/>
            </a:xfrm>
            <a:custGeom>
              <a:avLst/>
              <a:gdLst>
                <a:gd name="connsiteX0" fmla="*/ 450100 w 607639"/>
                <a:gd name="connsiteY0" fmla="*/ 313203 h 426991"/>
                <a:gd name="connsiteX1" fmla="*/ 450100 w 607639"/>
                <a:gd name="connsiteY1" fmla="*/ 403167 h 426991"/>
                <a:gd name="connsiteX2" fmla="*/ 585744 w 607639"/>
                <a:gd name="connsiteY2" fmla="*/ 403167 h 426991"/>
                <a:gd name="connsiteX3" fmla="*/ 586100 w 607639"/>
                <a:gd name="connsiteY3" fmla="*/ 313203 h 426991"/>
                <a:gd name="connsiteX4" fmla="*/ 530294 w 607639"/>
                <a:gd name="connsiteY4" fmla="*/ 313203 h 426991"/>
                <a:gd name="connsiteX5" fmla="*/ 530116 w 607639"/>
                <a:gd name="connsiteY5" fmla="*/ 313203 h 426991"/>
                <a:gd name="connsiteX6" fmla="*/ 529760 w 607639"/>
                <a:gd name="connsiteY6" fmla="*/ 313203 h 426991"/>
                <a:gd name="connsiteX7" fmla="*/ 450901 w 607639"/>
                <a:gd name="connsiteY7" fmla="*/ 313203 h 426991"/>
                <a:gd name="connsiteX8" fmla="*/ 236309 w 607639"/>
                <a:gd name="connsiteY8" fmla="*/ 313203 h 426991"/>
                <a:gd name="connsiteX9" fmla="*/ 236309 w 607639"/>
                <a:gd name="connsiteY9" fmla="*/ 403167 h 426991"/>
                <a:gd name="connsiteX10" fmla="*/ 371953 w 607639"/>
                <a:gd name="connsiteY10" fmla="*/ 403167 h 426991"/>
                <a:gd name="connsiteX11" fmla="*/ 372754 w 607639"/>
                <a:gd name="connsiteY11" fmla="*/ 313203 h 426991"/>
                <a:gd name="connsiteX12" fmla="*/ 237110 w 607639"/>
                <a:gd name="connsiteY12" fmla="*/ 313203 h 426991"/>
                <a:gd name="connsiteX13" fmla="*/ 22519 w 607639"/>
                <a:gd name="connsiteY13" fmla="*/ 313203 h 426991"/>
                <a:gd name="connsiteX14" fmla="*/ 22519 w 607639"/>
                <a:gd name="connsiteY14" fmla="*/ 403167 h 426991"/>
                <a:gd name="connsiteX15" fmla="*/ 158163 w 607639"/>
                <a:gd name="connsiteY15" fmla="*/ 403167 h 426991"/>
                <a:gd name="connsiteX16" fmla="*/ 158964 w 607639"/>
                <a:gd name="connsiteY16" fmla="*/ 313203 h 426991"/>
                <a:gd name="connsiteX17" fmla="*/ 91498 w 607639"/>
                <a:gd name="connsiteY17" fmla="*/ 313203 h 426991"/>
                <a:gd name="connsiteX18" fmla="*/ 91231 w 607639"/>
                <a:gd name="connsiteY18" fmla="*/ 313203 h 426991"/>
                <a:gd name="connsiteX19" fmla="*/ 90964 w 607639"/>
                <a:gd name="connsiteY19" fmla="*/ 313203 h 426991"/>
                <a:gd name="connsiteX20" fmla="*/ 23320 w 607639"/>
                <a:gd name="connsiteY20" fmla="*/ 313203 h 426991"/>
                <a:gd name="connsiteX21" fmla="*/ 91409 w 607639"/>
                <a:gd name="connsiteY21" fmla="*/ 224751 h 426991"/>
                <a:gd name="connsiteX22" fmla="*/ 530294 w 607639"/>
                <a:gd name="connsiteY22" fmla="*/ 224751 h 426991"/>
                <a:gd name="connsiteX23" fmla="*/ 540084 w 607639"/>
                <a:gd name="connsiteY23" fmla="*/ 234530 h 426991"/>
                <a:gd name="connsiteX24" fmla="*/ 540084 w 607639"/>
                <a:gd name="connsiteY24" fmla="*/ 292135 h 426991"/>
                <a:gd name="connsiteX25" fmla="*/ 586456 w 607639"/>
                <a:gd name="connsiteY25" fmla="*/ 292135 h 426991"/>
                <a:gd name="connsiteX26" fmla="*/ 607639 w 607639"/>
                <a:gd name="connsiteY26" fmla="*/ 313203 h 426991"/>
                <a:gd name="connsiteX27" fmla="*/ 607639 w 607639"/>
                <a:gd name="connsiteY27" fmla="*/ 403167 h 426991"/>
                <a:gd name="connsiteX28" fmla="*/ 586456 w 607639"/>
                <a:gd name="connsiteY28" fmla="*/ 426991 h 426991"/>
                <a:gd name="connsiteX29" fmla="*/ 451524 w 607639"/>
                <a:gd name="connsiteY29" fmla="*/ 426991 h 426991"/>
                <a:gd name="connsiteX30" fmla="*/ 427582 w 607639"/>
                <a:gd name="connsiteY30" fmla="*/ 403167 h 426991"/>
                <a:gd name="connsiteX31" fmla="*/ 427582 w 607639"/>
                <a:gd name="connsiteY31" fmla="*/ 313203 h 426991"/>
                <a:gd name="connsiteX32" fmla="*/ 451524 w 607639"/>
                <a:gd name="connsiteY32" fmla="*/ 292135 h 426991"/>
                <a:gd name="connsiteX33" fmla="*/ 517566 w 607639"/>
                <a:gd name="connsiteY33" fmla="*/ 292135 h 426991"/>
                <a:gd name="connsiteX34" fmla="*/ 517566 w 607639"/>
                <a:gd name="connsiteY34" fmla="*/ 247242 h 426991"/>
                <a:gd name="connsiteX35" fmla="*/ 315079 w 607639"/>
                <a:gd name="connsiteY35" fmla="*/ 247242 h 426991"/>
                <a:gd name="connsiteX36" fmla="*/ 315079 w 607639"/>
                <a:gd name="connsiteY36" fmla="*/ 292135 h 426991"/>
                <a:gd name="connsiteX37" fmla="*/ 372665 w 607639"/>
                <a:gd name="connsiteY37" fmla="*/ 292135 h 426991"/>
                <a:gd name="connsiteX38" fmla="*/ 393849 w 607639"/>
                <a:gd name="connsiteY38" fmla="*/ 313203 h 426991"/>
                <a:gd name="connsiteX39" fmla="*/ 393849 w 607639"/>
                <a:gd name="connsiteY39" fmla="*/ 403167 h 426991"/>
                <a:gd name="connsiteX40" fmla="*/ 372665 w 607639"/>
                <a:gd name="connsiteY40" fmla="*/ 426991 h 426991"/>
                <a:gd name="connsiteX41" fmla="*/ 237733 w 607639"/>
                <a:gd name="connsiteY41" fmla="*/ 426991 h 426991"/>
                <a:gd name="connsiteX42" fmla="*/ 213791 w 607639"/>
                <a:gd name="connsiteY42" fmla="*/ 403167 h 426991"/>
                <a:gd name="connsiteX43" fmla="*/ 213791 w 607639"/>
                <a:gd name="connsiteY43" fmla="*/ 313203 h 426991"/>
                <a:gd name="connsiteX44" fmla="*/ 237733 w 607639"/>
                <a:gd name="connsiteY44" fmla="*/ 292135 h 426991"/>
                <a:gd name="connsiteX45" fmla="*/ 292561 w 607639"/>
                <a:gd name="connsiteY45" fmla="*/ 292135 h 426991"/>
                <a:gd name="connsiteX46" fmla="*/ 292561 w 607639"/>
                <a:gd name="connsiteY46" fmla="*/ 247242 h 426991"/>
                <a:gd name="connsiteX47" fmla="*/ 101288 w 607639"/>
                <a:gd name="connsiteY47" fmla="*/ 247242 h 426991"/>
                <a:gd name="connsiteX48" fmla="*/ 101288 w 607639"/>
                <a:gd name="connsiteY48" fmla="*/ 292135 h 426991"/>
                <a:gd name="connsiteX49" fmla="*/ 158875 w 607639"/>
                <a:gd name="connsiteY49" fmla="*/ 292135 h 426991"/>
                <a:gd name="connsiteX50" fmla="*/ 180058 w 607639"/>
                <a:gd name="connsiteY50" fmla="*/ 313203 h 426991"/>
                <a:gd name="connsiteX51" fmla="*/ 180058 w 607639"/>
                <a:gd name="connsiteY51" fmla="*/ 403167 h 426991"/>
                <a:gd name="connsiteX52" fmla="*/ 158875 w 607639"/>
                <a:gd name="connsiteY52" fmla="*/ 426991 h 426991"/>
                <a:gd name="connsiteX53" fmla="*/ 24032 w 607639"/>
                <a:gd name="connsiteY53" fmla="*/ 426991 h 426991"/>
                <a:gd name="connsiteX54" fmla="*/ 0 w 607639"/>
                <a:gd name="connsiteY54" fmla="*/ 403167 h 426991"/>
                <a:gd name="connsiteX55" fmla="*/ 0 w 607639"/>
                <a:gd name="connsiteY55" fmla="*/ 313203 h 426991"/>
                <a:gd name="connsiteX56" fmla="*/ 24032 w 607639"/>
                <a:gd name="connsiteY56" fmla="*/ 292135 h 426991"/>
                <a:gd name="connsiteX57" fmla="*/ 78770 w 607639"/>
                <a:gd name="connsiteY57" fmla="*/ 292135 h 426991"/>
                <a:gd name="connsiteX58" fmla="*/ 78770 w 607639"/>
                <a:gd name="connsiteY58" fmla="*/ 234530 h 426991"/>
                <a:gd name="connsiteX59" fmla="*/ 91409 w 607639"/>
                <a:gd name="connsiteY59" fmla="*/ 224751 h 426991"/>
                <a:gd name="connsiteX60" fmla="*/ 236326 w 607639"/>
                <a:gd name="connsiteY60" fmla="*/ 21066 h 426991"/>
                <a:gd name="connsiteX61" fmla="*/ 236326 w 607639"/>
                <a:gd name="connsiteY61" fmla="*/ 111021 h 426991"/>
                <a:gd name="connsiteX62" fmla="*/ 371758 w 607639"/>
                <a:gd name="connsiteY62" fmla="*/ 111021 h 426991"/>
                <a:gd name="connsiteX63" fmla="*/ 372380 w 607639"/>
                <a:gd name="connsiteY63" fmla="*/ 21066 h 426991"/>
                <a:gd name="connsiteX64" fmla="*/ 237127 w 607639"/>
                <a:gd name="connsiteY64" fmla="*/ 21066 h 426991"/>
                <a:gd name="connsiteX65" fmla="*/ 237750 w 607639"/>
                <a:gd name="connsiteY65" fmla="*/ 0 h 426991"/>
                <a:gd name="connsiteX66" fmla="*/ 372647 w 607639"/>
                <a:gd name="connsiteY66" fmla="*/ 0 h 426991"/>
                <a:gd name="connsiteX67" fmla="*/ 393825 w 607639"/>
                <a:gd name="connsiteY67" fmla="*/ 21066 h 426991"/>
                <a:gd name="connsiteX68" fmla="*/ 393825 w 607639"/>
                <a:gd name="connsiteY68" fmla="*/ 111021 h 426991"/>
                <a:gd name="connsiteX69" fmla="*/ 372647 w 607639"/>
                <a:gd name="connsiteY69" fmla="*/ 134843 h 426991"/>
                <a:gd name="connsiteX70" fmla="*/ 315076 w 607639"/>
                <a:gd name="connsiteY70" fmla="*/ 134843 h 426991"/>
                <a:gd name="connsiteX71" fmla="*/ 315076 w 607639"/>
                <a:gd name="connsiteY71" fmla="*/ 191020 h 426991"/>
                <a:gd name="connsiteX72" fmla="*/ 292563 w 607639"/>
                <a:gd name="connsiteY72" fmla="*/ 191020 h 426991"/>
                <a:gd name="connsiteX73" fmla="*/ 292563 w 607639"/>
                <a:gd name="connsiteY73" fmla="*/ 134843 h 426991"/>
                <a:gd name="connsiteX74" fmla="*/ 237750 w 607639"/>
                <a:gd name="connsiteY74" fmla="*/ 134843 h 426991"/>
                <a:gd name="connsiteX75" fmla="*/ 213813 w 607639"/>
                <a:gd name="connsiteY75" fmla="*/ 111021 h 426991"/>
                <a:gd name="connsiteX76" fmla="*/ 213813 w 607639"/>
                <a:gd name="connsiteY76" fmla="*/ 21066 h 426991"/>
                <a:gd name="connsiteX77" fmla="*/ 237750 w 607639"/>
                <a:gd name="connsiteY77" fmla="*/ 0 h 4269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607639" h="426991">
                  <a:moveTo>
                    <a:pt x="450100" y="313203"/>
                  </a:moveTo>
                  <a:lnTo>
                    <a:pt x="450100" y="403167"/>
                  </a:lnTo>
                  <a:lnTo>
                    <a:pt x="585744" y="403167"/>
                  </a:lnTo>
                  <a:lnTo>
                    <a:pt x="586100" y="313203"/>
                  </a:lnTo>
                  <a:lnTo>
                    <a:pt x="530294" y="313203"/>
                  </a:lnTo>
                  <a:cubicBezTo>
                    <a:pt x="530294" y="313203"/>
                    <a:pt x="530116" y="313203"/>
                    <a:pt x="530116" y="313203"/>
                  </a:cubicBezTo>
                  <a:cubicBezTo>
                    <a:pt x="530027" y="313203"/>
                    <a:pt x="529849" y="313203"/>
                    <a:pt x="529760" y="313203"/>
                  </a:cubicBezTo>
                  <a:lnTo>
                    <a:pt x="450901" y="313203"/>
                  </a:lnTo>
                  <a:close/>
                  <a:moveTo>
                    <a:pt x="236309" y="313203"/>
                  </a:moveTo>
                  <a:lnTo>
                    <a:pt x="236309" y="403167"/>
                  </a:lnTo>
                  <a:lnTo>
                    <a:pt x="371953" y="403167"/>
                  </a:lnTo>
                  <a:lnTo>
                    <a:pt x="372754" y="313203"/>
                  </a:lnTo>
                  <a:lnTo>
                    <a:pt x="237110" y="313203"/>
                  </a:lnTo>
                  <a:close/>
                  <a:moveTo>
                    <a:pt x="22519" y="313203"/>
                  </a:moveTo>
                  <a:lnTo>
                    <a:pt x="22519" y="403167"/>
                  </a:lnTo>
                  <a:lnTo>
                    <a:pt x="158163" y="403167"/>
                  </a:lnTo>
                  <a:lnTo>
                    <a:pt x="158964" y="313203"/>
                  </a:lnTo>
                  <a:lnTo>
                    <a:pt x="91498" y="313203"/>
                  </a:lnTo>
                  <a:cubicBezTo>
                    <a:pt x="91409" y="313203"/>
                    <a:pt x="91320" y="313203"/>
                    <a:pt x="91231" y="313203"/>
                  </a:cubicBezTo>
                  <a:cubicBezTo>
                    <a:pt x="91231" y="313203"/>
                    <a:pt x="90964" y="313203"/>
                    <a:pt x="90964" y="313203"/>
                  </a:cubicBezTo>
                  <a:lnTo>
                    <a:pt x="23320" y="313203"/>
                  </a:lnTo>
                  <a:close/>
                  <a:moveTo>
                    <a:pt x="91409" y="224751"/>
                  </a:moveTo>
                  <a:lnTo>
                    <a:pt x="530294" y="224751"/>
                  </a:lnTo>
                  <a:cubicBezTo>
                    <a:pt x="536435" y="224751"/>
                    <a:pt x="540084" y="228396"/>
                    <a:pt x="540084" y="234530"/>
                  </a:cubicBezTo>
                  <a:lnTo>
                    <a:pt x="540084" y="292135"/>
                  </a:lnTo>
                  <a:lnTo>
                    <a:pt x="586456" y="292135"/>
                  </a:lnTo>
                  <a:cubicBezTo>
                    <a:pt x="598917" y="292135"/>
                    <a:pt x="607639" y="300847"/>
                    <a:pt x="607639" y="313203"/>
                  </a:cubicBezTo>
                  <a:lnTo>
                    <a:pt x="607639" y="403167"/>
                  </a:lnTo>
                  <a:cubicBezTo>
                    <a:pt x="607639" y="415524"/>
                    <a:pt x="598917" y="426991"/>
                    <a:pt x="586456" y="426991"/>
                  </a:cubicBezTo>
                  <a:lnTo>
                    <a:pt x="451524" y="426991"/>
                  </a:lnTo>
                  <a:cubicBezTo>
                    <a:pt x="439152" y="426991"/>
                    <a:pt x="427582" y="415524"/>
                    <a:pt x="427582" y="403167"/>
                  </a:cubicBezTo>
                  <a:lnTo>
                    <a:pt x="427582" y="313203"/>
                  </a:lnTo>
                  <a:cubicBezTo>
                    <a:pt x="427582" y="300847"/>
                    <a:pt x="439152" y="292135"/>
                    <a:pt x="451524" y="292135"/>
                  </a:cubicBezTo>
                  <a:lnTo>
                    <a:pt x="517566" y="292135"/>
                  </a:lnTo>
                  <a:lnTo>
                    <a:pt x="517566" y="247242"/>
                  </a:lnTo>
                  <a:lnTo>
                    <a:pt x="315079" y="247242"/>
                  </a:lnTo>
                  <a:lnTo>
                    <a:pt x="315079" y="292135"/>
                  </a:lnTo>
                  <a:lnTo>
                    <a:pt x="372665" y="292135"/>
                  </a:lnTo>
                  <a:cubicBezTo>
                    <a:pt x="385126" y="292135"/>
                    <a:pt x="393849" y="300847"/>
                    <a:pt x="393849" y="313203"/>
                  </a:cubicBezTo>
                  <a:lnTo>
                    <a:pt x="393849" y="403167"/>
                  </a:lnTo>
                  <a:cubicBezTo>
                    <a:pt x="393849" y="415524"/>
                    <a:pt x="385126" y="426991"/>
                    <a:pt x="372665" y="426991"/>
                  </a:cubicBezTo>
                  <a:lnTo>
                    <a:pt x="237733" y="426991"/>
                  </a:lnTo>
                  <a:cubicBezTo>
                    <a:pt x="225362" y="426991"/>
                    <a:pt x="213791" y="415524"/>
                    <a:pt x="213791" y="403167"/>
                  </a:cubicBezTo>
                  <a:lnTo>
                    <a:pt x="213791" y="313203"/>
                  </a:lnTo>
                  <a:cubicBezTo>
                    <a:pt x="213791" y="300847"/>
                    <a:pt x="225362" y="292135"/>
                    <a:pt x="237733" y="292135"/>
                  </a:cubicBezTo>
                  <a:lnTo>
                    <a:pt x="292561" y="292135"/>
                  </a:lnTo>
                  <a:lnTo>
                    <a:pt x="292561" y="247242"/>
                  </a:lnTo>
                  <a:lnTo>
                    <a:pt x="101288" y="247242"/>
                  </a:lnTo>
                  <a:lnTo>
                    <a:pt x="101288" y="292135"/>
                  </a:lnTo>
                  <a:lnTo>
                    <a:pt x="158875" y="292135"/>
                  </a:lnTo>
                  <a:cubicBezTo>
                    <a:pt x="171335" y="292135"/>
                    <a:pt x="180058" y="300847"/>
                    <a:pt x="180058" y="313203"/>
                  </a:cubicBezTo>
                  <a:lnTo>
                    <a:pt x="180058" y="403167"/>
                  </a:lnTo>
                  <a:cubicBezTo>
                    <a:pt x="180058" y="415524"/>
                    <a:pt x="171335" y="426991"/>
                    <a:pt x="158875" y="426991"/>
                  </a:cubicBezTo>
                  <a:lnTo>
                    <a:pt x="24032" y="426991"/>
                  </a:lnTo>
                  <a:cubicBezTo>
                    <a:pt x="11571" y="426991"/>
                    <a:pt x="0" y="415524"/>
                    <a:pt x="0" y="403167"/>
                  </a:cubicBezTo>
                  <a:lnTo>
                    <a:pt x="0" y="313203"/>
                  </a:lnTo>
                  <a:cubicBezTo>
                    <a:pt x="0" y="300847"/>
                    <a:pt x="11571" y="292135"/>
                    <a:pt x="24032" y="292135"/>
                  </a:cubicBezTo>
                  <a:lnTo>
                    <a:pt x="78770" y="292135"/>
                  </a:lnTo>
                  <a:lnTo>
                    <a:pt x="78770" y="234530"/>
                  </a:lnTo>
                  <a:cubicBezTo>
                    <a:pt x="78770" y="228396"/>
                    <a:pt x="85178" y="224751"/>
                    <a:pt x="91409" y="224751"/>
                  </a:cubicBezTo>
                  <a:close/>
                  <a:moveTo>
                    <a:pt x="236326" y="21066"/>
                  </a:moveTo>
                  <a:lnTo>
                    <a:pt x="236326" y="111021"/>
                  </a:lnTo>
                  <a:lnTo>
                    <a:pt x="371758" y="111021"/>
                  </a:lnTo>
                  <a:lnTo>
                    <a:pt x="372380" y="21066"/>
                  </a:lnTo>
                  <a:lnTo>
                    <a:pt x="237127" y="21066"/>
                  </a:lnTo>
                  <a:close/>
                  <a:moveTo>
                    <a:pt x="237750" y="0"/>
                  </a:moveTo>
                  <a:lnTo>
                    <a:pt x="372647" y="0"/>
                  </a:lnTo>
                  <a:cubicBezTo>
                    <a:pt x="385105" y="0"/>
                    <a:pt x="393825" y="8711"/>
                    <a:pt x="393825" y="21066"/>
                  </a:cubicBezTo>
                  <a:lnTo>
                    <a:pt x="393825" y="111021"/>
                  </a:lnTo>
                  <a:cubicBezTo>
                    <a:pt x="393825" y="123376"/>
                    <a:pt x="385105" y="134843"/>
                    <a:pt x="372647" y="134843"/>
                  </a:cubicBezTo>
                  <a:lnTo>
                    <a:pt x="315076" y="134843"/>
                  </a:lnTo>
                  <a:lnTo>
                    <a:pt x="315076" y="191020"/>
                  </a:lnTo>
                  <a:lnTo>
                    <a:pt x="292563" y="191020"/>
                  </a:lnTo>
                  <a:lnTo>
                    <a:pt x="292563" y="134843"/>
                  </a:lnTo>
                  <a:lnTo>
                    <a:pt x="237750" y="134843"/>
                  </a:lnTo>
                  <a:cubicBezTo>
                    <a:pt x="225381" y="134843"/>
                    <a:pt x="213813" y="123376"/>
                    <a:pt x="213813" y="111021"/>
                  </a:cubicBezTo>
                  <a:lnTo>
                    <a:pt x="213813" y="21066"/>
                  </a:lnTo>
                  <a:cubicBezTo>
                    <a:pt x="213813" y="8711"/>
                    <a:pt x="225381" y="0"/>
                    <a:pt x="23775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864A74BB-6140-4011-8363-3BB0B2521A1C}"/>
              </a:ext>
            </a:extLst>
          </p:cNvPr>
          <p:cNvGrpSpPr/>
          <p:nvPr/>
        </p:nvGrpSpPr>
        <p:grpSpPr>
          <a:xfrm>
            <a:off x="6957826" y="3165599"/>
            <a:ext cx="518988" cy="518986"/>
            <a:chOff x="5839622" y="2191652"/>
            <a:chExt cx="522378" cy="522378"/>
          </a:xfrm>
        </p:grpSpPr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223BC97-40C1-4F32-8783-4034EB5C39A1}"/>
                </a:ext>
              </a:extLst>
            </p:cNvPr>
            <p:cNvSpPr/>
            <p:nvPr/>
          </p:nvSpPr>
          <p:spPr>
            <a:xfrm>
              <a:off x="5839622" y="2191652"/>
              <a:ext cx="522378" cy="522378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BB9CE9FF-664E-4C06-8FE5-829E86DA480D}"/>
                </a:ext>
              </a:extLst>
            </p:cNvPr>
            <p:cNvSpPr/>
            <p:nvPr/>
          </p:nvSpPr>
          <p:spPr bwMode="auto">
            <a:xfrm>
              <a:off x="5954522" y="2309400"/>
              <a:ext cx="292579" cy="2868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F5982F32-69B2-4423-8611-173BCC599354}"/>
              </a:ext>
            </a:extLst>
          </p:cNvPr>
          <p:cNvGrpSpPr/>
          <p:nvPr/>
        </p:nvGrpSpPr>
        <p:grpSpPr>
          <a:xfrm>
            <a:off x="7611116" y="4222971"/>
            <a:ext cx="518988" cy="518986"/>
            <a:chOff x="5839622" y="2191652"/>
            <a:chExt cx="522378" cy="522378"/>
          </a:xfrm>
        </p:grpSpPr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B89F39B-38CA-4F3A-BCAD-94A5B4B06F30}"/>
                </a:ext>
              </a:extLst>
            </p:cNvPr>
            <p:cNvSpPr/>
            <p:nvPr/>
          </p:nvSpPr>
          <p:spPr>
            <a:xfrm>
              <a:off x="5839622" y="2191652"/>
              <a:ext cx="522378" cy="522378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accent4"/>
            </a:solidFill>
            <a:ln w="28575">
              <a:solidFill>
                <a:schemeClr val="bg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dirty="0"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86CE6CF8-AA22-47A3-9392-B2BBE4A1307A}"/>
                </a:ext>
              </a:extLst>
            </p:cNvPr>
            <p:cNvSpPr/>
            <p:nvPr/>
          </p:nvSpPr>
          <p:spPr bwMode="auto">
            <a:xfrm>
              <a:off x="5954522" y="2309399"/>
              <a:ext cx="292579" cy="286874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EC2C43C8-BA54-4C42-83B6-F73D40809A72}"/>
              </a:ext>
            </a:extLst>
          </p:cNvPr>
          <p:cNvCxnSpPr>
            <a:cxnSpLocks/>
          </p:cNvCxnSpPr>
          <p:nvPr/>
        </p:nvCxnSpPr>
        <p:spPr>
          <a:xfrm>
            <a:off x="4656134" y="2399207"/>
            <a:ext cx="1617058" cy="0"/>
          </a:xfrm>
          <a:prstGeom prst="line">
            <a:avLst/>
          </a:prstGeom>
          <a:ln w="3175" cap="rnd">
            <a:solidFill>
              <a:schemeClr val="tx2"/>
            </a:soli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53DF5670-C03A-4374-B42D-75DC7EDAA5F1}"/>
              </a:ext>
            </a:extLst>
          </p:cNvPr>
          <p:cNvCxnSpPr>
            <a:cxnSpLocks/>
          </p:cNvCxnSpPr>
          <p:nvPr/>
        </p:nvCxnSpPr>
        <p:spPr>
          <a:xfrm>
            <a:off x="4656134" y="3425092"/>
            <a:ext cx="2216307" cy="0"/>
          </a:xfrm>
          <a:prstGeom prst="line">
            <a:avLst/>
          </a:prstGeom>
          <a:ln w="3175" cap="rnd">
            <a:solidFill>
              <a:schemeClr val="tx2"/>
            </a:soli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23D95B21-44AA-4465-AB73-E4EE7826AA48}"/>
              </a:ext>
            </a:extLst>
          </p:cNvPr>
          <p:cNvCxnSpPr>
            <a:cxnSpLocks/>
          </p:cNvCxnSpPr>
          <p:nvPr/>
        </p:nvCxnSpPr>
        <p:spPr>
          <a:xfrm>
            <a:off x="4656134" y="4482464"/>
            <a:ext cx="2820680" cy="0"/>
          </a:xfrm>
          <a:prstGeom prst="line">
            <a:avLst/>
          </a:prstGeom>
          <a:ln w="3175" cap="rnd">
            <a:solidFill>
              <a:schemeClr val="tx2"/>
            </a:solidFill>
            <a:round/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: 剪去左右顶角 21">
            <a:extLst>
              <a:ext uri="{FF2B5EF4-FFF2-40B4-BE49-F238E27FC236}">
                <a16:creationId xmlns:a16="http://schemas.microsoft.com/office/drawing/2014/main" id="{11E912DF-54C3-4FB2-8917-644BA04DCE38}"/>
              </a:ext>
            </a:extLst>
          </p:cNvPr>
          <p:cNvSpPr/>
          <p:nvPr/>
        </p:nvSpPr>
        <p:spPr>
          <a:xfrm>
            <a:off x="965999" y="2469426"/>
            <a:ext cx="3580457" cy="32937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C3BBE828-2A51-405C-BC5E-FF6522B83B49}"/>
              </a:ext>
            </a:extLst>
          </p:cNvPr>
          <p:cNvSpPr txBox="1"/>
          <p:nvPr/>
        </p:nvSpPr>
        <p:spPr bwMode="auto">
          <a:xfrm>
            <a:off x="965999" y="2016967"/>
            <a:ext cx="3580457" cy="43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4" name="矩形: 剪去左右顶角 23">
            <a:extLst>
              <a:ext uri="{FF2B5EF4-FFF2-40B4-BE49-F238E27FC236}">
                <a16:creationId xmlns:a16="http://schemas.microsoft.com/office/drawing/2014/main" id="{8BF67F2E-68D1-4163-A840-C98C691657E8}"/>
              </a:ext>
            </a:extLst>
          </p:cNvPr>
          <p:cNvSpPr/>
          <p:nvPr/>
        </p:nvSpPr>
        <p:spPr>
          <a:xfrm>
            <a:off x="965999" y="3512831"/>
            <a:ext cx="3580457" cy="32937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732308ED-5FCA-4CC8-BF1F-00FD5F63191C}"/>
              </a:ext>
            </a:extLst>
          </p:cNvPr>
          <p:cNvSpPr txBox="1"/>
          <p:nvPr/>
        </p:nvSpPr>
        <p:spPr bwMode="auto">
          <a:xfrm>
            <a:off x="965999" y="3060372"/>
            <a:ext cx="3580457" cy="43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6" name="矩形: 剪去左右顶角 25">
            <a:extLst>
              <a:ext uri="{FF2B5EF4-FFF2-40B4-BE49-F238E27FC236}">
                <a16:creationId xmlns:a16="http://schemas.microsoft.com/office/drawing/2014/main" id="{572BF4A3-9F42-4C80-AECD-31C688E396E4}"/>
              </a:ext>
            </a:extLst>
          </p:cNvPr>
          <p:cNvSpPr/>
          <p:nvPr/>
        </p:nvSpPr>
        <p:spPr>
          <a:xfrm>
            <a:off x="965999" y="4556236"/>
            <a:ext cx="3580457" cy="329379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anchor="t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0BABF042-A429-4AC1-854E-A0AF7B620030}"/>
              </a:ext>
            </a:extLst>
          </p:cNvPr>
          <p:cNvSpPr txBox="1"/>
          <p:nvPr/>
        </p:nvSpPr>
        <p:spPr bwMode="auto">
          <a:xfrm>
            <a:off x="965999" y="4103777"/>
            <a:ext cx="3580457" cy="436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000" tIns="46800" rIns="90000" bIns="46800" anchor="b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419015970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60CDA873-D3CB-432C-BBFC-D2532E76364F}"/>
              </a:ext>
            </a:extLst>
          </p:cNvPr>
          <p:cNvSpPr/>
          <p:nvPr/>
        </p:nvSpPr>
        <p:spPr>
          <a:xfrm>
            <a:off x="4989919" y="2531269"/>
            <a:ext cx="1476375" cy="1476375"/>
          </a:xfrm>
          <a:prstGeom prst="ellipse">
            <a:avLst/>
          </a:prstGeom>
          <a:ln w="3175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r>
              <a:rPr lang="en-US" altLang="zh-CN" sz="2800" b="1" i="1" dirty="0">
                <a:cs typeface="+mn-ea"/>
                <a:sym typeface="+mn-lt"/>
              </a:rPr>
              <a:t>55%</a:t>
            </a:r>
            <a:endParaRPr lang="zh-CN" altLang="en-US" sz="2800" b="1" i="1" dirty="0">
              <a:cs typeface="+mn-ea"/>
              <a:sym typeface="+mn-lt"/>
            </a:endParaRPr>
          </a:p>
        </p:txBody>
      </p:sp>
      <p:cxnSp>
        <p:nvCxnSpPr>
          <p:cNvPr id="34" name="直接连接符 33">
            <a:extLst>
              <a:ext uri="{FF2B5EF4-FFF2-40B4-BE49-F238E27FC236}">
                <a16:creationId xmlns:a16="http://schemas.microsoft.com/office/drawing/2014/main" id="{8E3862B9-57ED-40D9-AD8E-A4CAA0EC4AD4}"/>
              </a:ext>
            </a:extLst>
          </p:cNvPr>
          <p:cNvCxnSpPr/>
          <p:nvPr/>
        </p:nvCxnSpPr>
        <p:spPr>
          <a:xfrm flipV="1">
            <a:off x="7204480" y="4007643"/>
            <a:ext cx="4317207" cy="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9735C40F-B2FC-4104-A692-B81788AF81ED}"/>
              </a:ext>
            </a:extLst>
          </p:cNvPr>
          <p:cNvCxnSpPr/>
          <p:nvPr/>
        </p:nvCxnSpPr>
        <p:spPr>
          <a:xfrm flipH="1" flipV="1">
            <a:off x="670313" y="3269456"/>
            <a:ext cx="4318794" cy="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文本框 67">
            <a:extLst>
              <a:ext uri="{FF2B5EF4-FFF2-40B4-BE49-F238E27FC236}">
                <a16:creationId xmlns:a16="http://schemas.microsoft.com/office/drawing/2014/main" id="{B51B93D3-778B-48FA-ADD1-3D28C84E92A2}"/>
              </a:ext>
            </a:extLst>
          </p:cNvPr>
          <p:cNvSpPr txBox="1"/>
          <p:nvPr/>
        </p:nvSpPr>
        <p:spPr bwMode="auto">
          <a:xfrm>
            <a:off x="1223538" y="2769962"/>
            <a:ext cx="1302449" cy="391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grpSp>
        <p:nvGrpSpPr>
          <p:cNvPr id="69" name="组合 68">
            <a:extLst>
              <a:ext uri="{FF2B5EF4-FFF2-40B4-BE49-F238E27FC236}">
                <a16:creationId xmlns:a16="http://schemas.microsoft.com/office/drawing/2014/main" id="{EFFED9A3-979D-4740-B485-4A832A29A044}"/>
              </a:ext>
            </a:extLst>
          </p:cNvPr>
          <p:cNvGrpSpPr/>
          <p:nvPr/>
        </p:nvGrpSpPr>
        <p:grpSpPr>
          <a:xfrm>
            <a:off x="674300" y="2691035"/>
            <a:ext cx="549238" cy="549238"/>
            <a:chOff x="673100" y="2684513"/>
            <a:chExt cx="549238" cy="549238"/>
          </a:xfrm>
        </p:grpSpPr>
        <p:sp>
          <p:nvSpPr>
            <p:cNvPr id="70" name="椭圆 69">
              <a:extLst>
                <a:ext uri="{FF2B5EF4-FFF2-40B4-BE49-F238E27FC236}">
                  <a16:creationId xmlns:a16="http://schemas.microsoft.com/office/drawing/2014/main" id="{E221B80E-2D9D-4EA7-9FC5-E269413B931F}"/>
                </a:ext>
              </a:extLst>
            </p:cNvPr>
            <p:cNvSpPr/>
            <p:nvPr/>
          </p:nvSpPr>
          <p:spPr>
            <a:xfrm>
              <a:off x="673100" y="2684513"/>
              <a:ext cx="549238" cy="549238"/>
            </a:xfrm>
            <a:prstGeom prst="ellipse">
              <a:avLst/>
            </a:prstGeom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1976FED3-D9CF-4310-9466-6F7B9E571493}"/>
                </a:ext>
              </a:extLst>
            </p:cNvPr>
            <p:cNvSpPr/>
            <p:nvPr/>
          </p:nvSpPr>
          <p:spPr bwMode="auto">
            <a:xfrm>
              <a:off x="786485" y="2782304"/>
              <a:ext cx="322468" cy="353656"/>
            </a:xfrm>
            <a:custGeom>
              <a:avLst/>
              <a:gdLst>
                <a:gd name="connsiteX0" fmla="*/ 314616 w 554856"/>
                <a:gd name="connsiteY0" fmla="*/ 256070 h 608519"/>
                <a:gd name="connsiteX1" fmla="*/ 262711 w 554856"/>
                <a:gd name="connsiteY1" fmla="*/ 307611 h 608519"/>
                <a:gd name="connsiteX2" fmla="*/ 241014 w 554856"/>
                <a:gd name="connsiteY2" fmla="*/ 285856 h 608519"/>
                <a:gd name="connsiteX3" fmla="*/ 218289 w 554856"/>
                <a:gd name="connsiteY3" fmla="*/ 308265 h 608519"/>
                <a:gd name="connsiteX4" fmla="*/ 239986 w 554856"/>
                <a:gd name="connsiteY4" fmla="*/ 330020 h 608519"/>
                <a:gd name="connsiteX5" fmla="*/ 262618 w 554856"/>
                <a:gd name="connsiteY5" fmla="*/ 352803 h 608519"/>
                <a:gd name="connsiteX6" fmla="*/ 285250 w 554856"/>
                <a:gd name="connsiteY6" fmla="*/ 330300 h 608519"/>
                <a:gd name="connsiteX7" fmla="*/ 337155 w 554856"/>
                <a:gd name="connsiteY7" fmla="*/ 278760 h 608519"/>
                <a:gd name="connsiteX8" fmla="*/ 261963 w 554856"/>
                <a:gd name="connsiteY8" fmla="*/ 129646 h 608519"/>
                <a:gd name="connsiteX9" fmla="*/ 293387 w 554856"/>
                <a:gd name="connsiteY9" fmla="*/ 129646 h 608519"/>
                <a:gd name="connsiteX10" fmla="*/ 304983 w 554856"/>
                <a:gd name="connsiteY10" fmla="*/ 141224 h 608519"/>
                <a:gd name="connsiteX11" fmla="*/ 304983 w 554856"/>
                <a:gd name="connsiteY11" fmla="*/ 167368 h 608519"/>
                <a:gd name="connsiteX12" fmla="*/ 355485 w 554856"/>
                <a:gd name="connsiteY12" fmla="*/ 188283 h 608519"/>
                <a:gd name="connsiteX13" fmla="*/ 373909 w 554856"/>
                <a:gd name="connsiteY13" fmla="*/ 169796 h 608519"/>
                <a:gd name="connsiteX14" fmla="*/ 390275 w 554856"/>
                <a:gd name="connsiteY14" fmla="*/ 169796 h 608519"/>
                <a:gd name="connsiteX15" fmla="*/ 412440 w 554856"/>
                <a:gd name="connsiteY15" fmla="*/ 192018 h 608519"/>
                <a:gd name="connsiteX16" fmla="*/ 412440 w 554856"/>
                <a:gd name="connsiteY16" fmla="*/ 208264 h 608519"/>
                <a:gd name="connsiteX17" fmla="*/ 394016 w 554856"/>
                <a:gd name="connsiteY17" fmla="*/ 226752 h 608519"/>
                <a:gd name="connsiteX18" fmla="*/ 414965 w 554856"/>
                <a:gd name="connsiteY18" fmla="*/ 277172 h 608519"/>
                <a:gd name="connsiteX19" fmla="*/ 441151 w 554856"/>
                <a:gd name="connsiteY19" fmla="*/ 277172 h 608519"/>
                <a:gd name="connsiteX20" fmla="*/ 452748 w 554856"/>
                <a:gd name="connsiteY20" fmla="*/ 288750 h 608519"/>
                <a:gd name="connsiteX21" fmla="*/ 452748 w 554856"/>
                <a:gd name="connsiteY21" fmla="*/ 320123 h 608519"/>
                <a:gd name="connsiteX22" fmla="*/ 441151 w 554856"/>
                <a:gd name="connsiteY22" fmla="*/ 331701 h 608519"/>
                <a:gd name="connsiteX23" fmla="*/ 414965 w 554856"/>
                <a:gd name="connsiteY23" fmla="*/ 331701 h 608519"/>
                <a:gd name="connsiteX24" fmla="*/ 394016 w 554856"/>
                <a:gd name="connsiteY24" fmla="*/ 382121 h 608519"/>
                <a:gd name="connsiteX25" fmla="*/ 412440 w 554856"/>
                <a:gd name="connsiteY25" fmla="*/ 400515 h 608519"/>
                <a:gd name="connsiteX26" fmla="*/ 412440 w 554856"/>
                <a:gd name="connsiteY26" fmla="*/ 416855 h 608519"/>
                <a:gd name="connsiteX27" fmla="*/ 390275 w 554856"/>
                <a:gd name="connsiteY27" fmla="*/ 438984 h 608519"/>
                <a:gd name="connsiteX28" fmla="*/ 373909 w 554856"/>
                <a:gd name="connsiteY28" fmla="*/ 438984 h 608519"/>
                <a:gd name="connsiteX29" fmla="*/ 355485 w 554856"/>
                <a:gd name="connsiteY29" fmla="*/ 420590 h 608519"/>
                <a:gd name="connsiteX30" fmla="*/ 304983 w 554856"/>
                <a:gd name="connsiteY30" fmla="*/ 441505 h 608519"/>
                <a:gd name="connsiteX31" fmla="*/ 304983 w 554856"/>
                <a:gd name="connsiteY31" fmla="*/ 467649 h 608519"/>
                <a:gd name="connsiteX32" fmla="*/ 293387 w 554856"/>
                <a:gd name="connsiteY32" fmla="*/ 479227 h 608519"/>
                <a:gd name="connsiteX33" fmla="*/ 261963 w 554856"/>
                <a:gd name="connsiteY33" fmla="*/ 479227 h 608519"/>
                <a:gd name="connsiteX34" fmla="*/ 250367 w 554856"/>
                <a:gd name="connsiteY34" fmla="*/ 467649 h 608519"/>
                <a:gd name="connsiteX35" fmla="*/ 250367 w 554856"/>
                <a:gd name="connsiteY35" fmla="*/ 441505 h 608519"/>
                <a:gd name="connsiteX36" fmla="*/ 199865 w 554856"/>
                <a:gd name="connsiteY36" fmla="*/ 420590 h 608519"/>
                <a:gd name="connsiteX37" fmla="*/ 181441 w 554856"/>
                <a:gd name="connsiteY37" fmla="*/ 438984 h 608519"/>
                <a:gd name="connsiteX38" fmla="*/ 165075 w 554856"/>
                <a:gd name="connsiteY38" fmla="*/ 438984 h 608519"/>
                <a:gd name="connsiteX39" fmla="*/ 142910 w 554856"/>
                <a:gd name="connsiteY39" fmla="*/ 416855 h 608519"/>
                <a:gd name="connsiteX40" fmla="*/ 142910 w 554856"/>
                <a:gd name="connsiteY40" fmla="*/ 400515 h 608519"/>
                <a:gd name="connsiteX41" fmla="*/ 161334 w 554856"/>
                <a:gd name="connsiteY41" fmla="*/ 382121 h 608519"/>
                <a:gd name="connsiteX42" fmla="*/ 140385 w 554856"/>
                <a:gd name="connsiteY42" fmla="*/ 331701 h 608519"/>
                <a:gd name="connsiteX43" fmla="*/ 114199 w 554856"/>
                <a:gd name="connsiteY43" fmla="*/ 331701 h 608519"/>
                <a:gd name="connsiteX44" fmla="*/ 102602 w 554856"/>
                <a:gd name="connsiteY44" fmla="*/ 320123 h 608519"/>
                <a:gd name="connsiteX45" fmla="*/ 102602 w 554856"/>
                <a:gd name="connsiteY45" fmla="*/ 288750 h 608519"/>
                <a:gd name="connsiteX46" fmla="*/ 114199 w 554856"/>
                <a:gd name="connsiteY46" fmla="*/ 277172 h 608519"/>
                <a:gd name="connsiteX47" fmla="*/ 140385 w 554856"/>
                <a:gd name="connsiteY47" fmla="*/ 277172 h 608519"/>
                <a:gd name="connsiteX48" fmla="*/ 161334 w 554856"/>
                <a:gd name="connsiteY48" fmla="*/ 226752 h 608519"/>
                <a:gd name="connsiteX49" fmla="*/ 142910 w 554856"/>
                <a:gd name="connsiteY49" fmla="*/ 208264 h 608519"/>
                <a:gd name="connsiteX50" fmla="*/ 142910 w 554856"/>
                <a:gd name="connsiteY50" fmla="*/ 192018 h 608519"/>
                <a:gd name="connsiteX51" fmla="*/ 165075 w 554856"/>
                <a:gd name="connsiteY51" fmla="*/ 169796 h 608519"/>
                <a:gd name="connsiteX52" fmla="*/ 181441 w 554856"/>
                <a:gd name="connsiteY52" fmla="*/ 169796 h 608519"/>
                <a:gd name="connsiteX53" fmla="*/ 199865 w 554856"/>
                <a:gd name="connsiteY53" fmla="*/ 188283 h 608519"/>
                <a:gd name="connsiteX54" fmla="*/ 250367 w 554856"/>
                <a:gd name="connsiteY54" fmla="*/ 167368 h 608519"/>
                <a:gd name="connsiteX55" fmla="*/ 250367 w 554856"/>
                <a:gd name="connsiteY55" fmla="*/ 141224 h 608519"/>
                <a:gd name="connsiteX56" fmla="*/ 261963 w 554856"/>
                <a:gd name="connsiteY56" fmla="*/ 129646 h 608519"/>
                <a:gd name="connsiteX57" fmla="*/ 440285 w 554856"/>
                <a:gd name="connsiteY57" fmla="*/ 80038 h 608519"/>
                <a:gd name="connsiteX58" fmla="*/ 554856 w 554856"/>
                <a:gd name="connsiteY58" fmla="*/ 304248 h 608519"/>
                <a:gd name="connsiteX59" fmla="*/ 277361 w 554856"/>
                <a:gd name="connsiteY59" fmla="*/ 581312 h 608519"/>
                <a:gd name="connsiteX60" fmla="*/ 277361 w 554856"/>
                <a:gd name="connsiteY60" fmla="*/ 605311 h 608519"/>
                <a:gd name="connsiteX61" fmla="*/ 272404 w 554856"/>
                <a:gd name="connsiteY61" fmla="*/ 607926 h 608519"/>
                <a:gd name="connsiteX62" fmla="*/ 207216 w 554856"/>
                <a:gd name="connsiteY62" fmla="*/ 563289 h 608519"/>
                <a:gd name="connsiteX63" fmla="*/ 207216 w 554856"/>
                <a:gd name="connsiteY63" fmla="*/ 558060 h 608519"/>
                <a:gd name="connsiteX64" fmla="*/ 272404 w 554856"/>
                <a:gd name="connsiteY64" fmla="*/ 513330 h 608519"/>
                <a:gd name="connsiteX65" fmla="*/ 277361 w 554856"/>
                <a:gd name="connsiteY65" fmla="*/ 515945 h 608519"/>
                <a:gd name="connsiteX66" fmla="*/ 277361 w 554856"/>
                <a:gd name="connsiteY66" fmla="*/ 539944 h 608519"/>
                <a:gd name="connsiteX67" fmla="*/ 513423 w 554856"/>
                <a:gd name="connsiteY67" fmla="*/ 304248 h 608519"/>
                <a:gd name="connsiteX68" fmla="*/ 415968 w 554856"/>
                <a:gd name="connsiteY68" fmla="*/ 113375 h 608519"/>
                <a:gd name="connsiteX69" fmla="*/ 282452 w 554856"/>
                <a:gd name="connsiteY69" fmla="*/ 594 h 608519"/>
                <a:gd name="connsiteX70" fmla="*/ 347640 w 554856"/>
                <a:gd name="connsiteY70" fmla="*/ 45229 h 608519"/>
                <a:gd name="connsiteX71" fmla="*/ 347640 w 554856"/>
                <a:gd name="connsiteY71" fmla="*/ 50551 h 608519"/>
                <a:gd name="connsiteX72" fmla="*/ 282452 w 554856"/>
                <a:gd name="connsiteY72" fmla="*/ 95279 h 608519"/>
                <a:gd name="connsiteX73" fmla="*/ 277402 w 554856"/>
                <a:gd name="connsiteY73" fmla="*/ 92665 h 608519"/>
                <a:gd name="connsiteX74" fmla="*/ 277402 w 554856"/>
                <a:gd name="connsiteY74" fmla="*/ 68573 h 608519"/>
                <a:gd name="connsiteX75" fmla="*/ 41339 w 554856"/>
                <a:gd name="connsiteY75" fmla="*/ 304259 h 608519"/>
                <a:gd name="connsiteX76" fmla="*/ 138888 w 554856"/>
                <a:gd name="connsiteY76" fmla="*/ 495123 h 608519"/>
                <a:gd name="connsiteX77" fmla="*/ 114571 w 554856"/>
                <a:gd name="connsiteY77" fmla="*/ 528552 h 608519"/>
                <a:gd name="connsiteX78" fmla="*/ 0 w 554856"/>
                <a:gd name="connsiteY78" fmla="*/ 304259 h 608519"/>
                <a:gd name="connsiteX79" fmla="*/ 277402 w 554856"/>
                <a:gd name="connsiteY79" fmla="*/ 27300 h 608519"/>
                <a:gd name="connsiteX80" fmla="*/ 277402 w 554856"/>
                <a:gd name="connsiteY80" fmla="*/ 3209 h 608519"/>
                <a:gd name="connsiteX81" fmla="*/ 282452 w 554856"/>
                <a:gd name="connsiteY81" fmla="*/ 594 h 60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554856" h="608519">
                  <a:moveTo>
                    <a:pt x="314616" y="256070"/>
                  </a:moveTo>
                  <a:lnTo>
                    <a:pt x="262711" y="307611"/>
                  </a:lnTo>
                  <a:lnTo>
                    <a:pt x="241014" y="285856"/>
                  </a:lnTo>
                  <a:lnTo>
                    <a:pt x="218289" y="308265"/>
                  </a:lnTo>
                  <a:lnTo>
                    <a:pt x="239986" y="330020"/>
                  </a:lnTo>
                  <a:lnTo>
                    <a:pt x="262618" y="352803"/>
                  </a:lnTo>
                  <a:lnTo>
                    <a:pt x="285250" y="330300"/>
                  </a:lnTo>
                  <a:lnTo>
                    <a:pt x="337155" y="278760"/>
                  </a:lnTo>
                  <a:close/>
                  <a:moveTo>
                    <a:pt x="261963" y="129646"/>
                  </a:moveTo>
                  <a:lnTo>
                    <a:pt x="293387" y="129646"/>
                  </a:lnTo>
                  <a:cubicBezTo>
                    <a:pt x="299840" y="129646"/>
                    <a:pt x="304983" y="134875"/>
                    <a:pt x="304983" y="141224"/>
                  </a:cubicBezTo>
                  <a:lnTo>
                    <a:pt x="304983" y="167368"/>
                  </a:lnTo>
                  <a:cubicBezTo>
                    <a:pt x="323314" y="170916"/>
                    <a:pt x="340428" y="178199"/>
                    <a:pt x="355485" y="188283"/>
                  </a:cubicBezTo>
                  <a:lnTo>
                    <a:pt x="373909" y="169796"/>
                  </a:lnTo>
                  <a:cubicBezTo>
                    <a:pt x="378398" y="165314"/>
                    <a:pt x="385786" y="165314"/>
                    <a:pt x="390275" y="169796"/>
                  </a:cubicBezTo>
                  <a:lnTo>
                    <a:pt x="412440" y="192018"/>
                  </a:lnTo>
                  <a:cubicBezTo>
                    <a:pt x="416929" y="196500"/>
                    <a:pt x="416929" y="203783"/>
                    <a:pt x="412440" y="208264"/>
                  </a:cubicBezTo>
                  <a:lnTo>
                    <a:pt x="394016" y="226752"/>
                  </a:lnTo>
                  <a:cubicBezTo>
                    <a:pt x="404117" y="241691"/>
                    <a:pt x="411318" y="258872"/>
                    <a:pt x="414965" y="277172"/>
                  </a:cubicBezTo>
                  <a:lnTo>
                    <a:pt x="441151" y="277172"/>
                  </a:lnTo>
                  <a:cubicBezTo>
                    <a:pt x="447604" y="277172"/>
                    <a:pt x="452748" y="282401"/>
                    <a:pt x="452748" y="288750"/>
                  </a:cubicBezTo>
                  <a:lnTo>
                    <a:pt x="452748" y="320123"/>
                  </a:lnTo>
                  <a:cubicBezTo>
                    <a:pt x="452748" y="326565"/>
                    <a:pt x="447511" y="331701"/>
                    <a:pt x="441151" y="331701"/>
                  </a:cubicBezTo>
                  <a:lnTo>
                    <a:pt x="414965" y="331701"/>
                  </a:lnTo>
                  <a:cubicBezTo>
                    <a:pt x="411318" y="350002"/>
                    <a:pt x="404117" y="366995"/>
                    <a:pt x="394016" y="382121"/>
                  </a:cubicBezTo>
                  <a:lnTo>
                    <a:pt x="412440" y="400515"/>
                  </a:lnTo>
                  <a:cubicBezTo>
                    <a:pt x="416929" y="404997"/>
                    <a:pt x="416929" y="412373"/>
                    <a:pt x="412440" y="416855"/>
                  </a:cubicBezTo>
                  <a:lnTo>
                    <a:pt x="390275" y="438984"/>
                  </a:lnTo>
                  <a:cubicBezTo>
                    <a:pt x="385786" y="443466"/>
                    <a:pt x="378398" y="443466"/>
                    <a:pt x="373909" y="438984"/>
                  </a:cubicBezTo>
                  <a:lnTo>
                    <a:pt x="355485" y="420590"/>
                  </a:lnTo>
                  <a:cubicBezTo>
                    <a:pt x="340522" y="430674"/>
                    <a:pt x="323314" y="437864"/>
                    <a:pt x="304983" y="441505"/>
                  </a:cubicBezTo>
                  <a:lnTo>
                    <a:pt x="304983" y="467649"/>
                  </a:lnTo>
                  <a:cubicBezTo>
                    <a:pt x="304983" y="474092"/>
                    <a:pt x="299746" y="479227"/>
                    <a:pt x="293387" y="479227"/>
                  </a:cubicBezTo>
                  <a:lnTo>
                    <a:pt x="261963" y="479227"/>
                  </a:lnTo>
                  <a:cubicBezTo>
                    <a:pt x="255510" y="479227"/>
                    <a:pt x="250367" y="473998"/>
                    <a:pt x="250367" y="467649"/>
                  </a:cubicBezTo>
                  <a:lnTo>
                    <a:pt x="250367" y="441505"/>
                  </a:lnTo>
                  <a:cubicBezTo>
                    <a:pt x="232036" y="437864"/>
                    <a:pt x="214922" y="430674"/>
                    <a:pt x="199865" y="420590"/>
                  </a:cubicBezTo>
                  <a:lnTo>
                    <a:pt x="181441" y="438984"/>
                  </a:lnTo>
                  <a:cubicBezTo>
                    <a:pt x="176952" y="443466"/>
                    <a:pt x="169564" y="443466"/>
                    <a:pt x="165075" y="438984"/>
                  </a:cubicBezTo>
                  <a:lnTo>
                    <a:pt x="142910" y="416855"/>
                  </a:lnTo>
                  <a:cubicBezTo>
                    <a:pt x="138421" y="412373"/>
                    <a:pt x="138421" y="404997"/>
                    <a:pt x="142910" y="400515"/>
                  </a:cubicBezTo>
                  <a:lnTo>
                    <a:pt x="161334" y="382121"/>
                  </a:lnTo>
                  <a:cubicBezTo>
                    <a:pt x="151233" y="367182"/>
                    <a:pt x="144032" y="350002"/>
                    <a:pt x="140385" y="331701"/>
                  </a:cubicBezTo>
                  <a:lnTo>
                    <a:pt x="114199" y="331701"/>
                  </a:lnTo>
                  <a:cubicBezTo>
                    <a:pt x="107746" y="331701"/>
                    <a:pt x="102602" y="326472"/>
                    <a:pt x="102602" y="320123"/>
                  </a:cubicBezTo>
                  <a:lnTo>
                    <a:pt x="102602" y="288750"/>
                  </a:lnTo>
                  <a:cubicBezTo>
                    <a:pt x="102602" y="282214"/>
                    <a:pt x="107839" y="277172"/>
                    <a:pt x="114199" y="277172"/>
                  </a:cubicBezTo>
                  <a:lnTo>
                    <a:pt x="140385" y="277172"/>
                  </a:lnTo>
                  <a:cubicBezTo>
                    <a:pt x="144032" y="258872"/>
                    <a:pt x="151233" y="241785"/>
                    <a:pt x="161334" y="226752"/>
                  </a:cubicBezTo>
                  <a:lnTo>
                    <a:pt x="142910" y="208264"/>
                  </a:lnTo>
                  <a:cubicBezTo>
                    <a:pt x="138421" y="203783"/>
                    <a:pt x="138421" y="196500"/>
                    <a:pt x="142910" y="192018"/>
                  </a:cubicBezTo>
                  <a:lnTo>
                    <a:pt x="165075" y="169796"/>
                  </a:lnTo>
                  <a:cubicBezTo>
                    <a:pt x="169564" y="165314"/>
                    <a:pt x="176952" y="165314"/>
                    <a:pt x="181441" y="169796"/>
                  </a:cubicBezTo>
                  <a:lnTo>
                    <a:pt x="199865" y="188283"/>
                  </a:lnTo>
                  <a:cubicBezTo>
                    <a:pt x="214828" y="178199"/>
                    <a:pt x="232036" y="170916"/>
                    <a:pt x="250367" y="167368"/>
                  </a:cubicBezTo>
                  <a:lnTo>
                    <a:pt x="250367" y="141224"/>
                  </a:lnTo>
                  <a:cubicBezTo>
                    <a:pt x="250367" y="134688"/>
                    <a:pt x="255604" y="129646"/>
                    <a:pt x="261963" y="129646"/>
                  </a:cubicBezTo>
                  <a:close/>
                  <a:moveTo>
                    <a:pt x="440285" y="80038"/>
                  </a:moveTo>
                  <a:cubicBezTo>
                    <a:pt x="511927" y="131958"/>
                    <a:pt x="554856" y="215909"/>
                    <a:pt x="554856" y="304248"/>
                  </a:cubicBezTo>
                  <a:cubicBezTo>
                    <a:pt x="554856" y="457021"/>
                    <a:pt x="430371" y="581312"/>
                    <a:pt x="277361" y="581312"/>
                  </a:cubicBezTo>
                  <a:lnTo>
                    <a:pt x="277361" y="605311"/>
                  </a:lnTo>
                  <a:cubicBezTo>
                    <a:pt x="277361" y="607926"/>
                    <a:pt x="274555" y="609420"/>
                    <a:pt x="272404" y="607926"/>
                  </a:cubicBezTo>
                  <a:lnTo>
                    <a:pt x="207216" y="563289"/>
                  </a:lnTo>
                  <a:cubicBezTo>
                    <a:pt x="205345" y="561982"/>
                    <a:pt x="205345" y="559274"/>
                    <a:pt x="207216" y="558060"/>
                  </a:cubicBezTo>
                  <a:lnTo>
                    <a:pt x="272404" y="513330"/>
                  </a:lnTo>
                  <a:cubicBezTo>
                    <a:pt x="274555" y="511836"/>
                    <a:pt x="277361" y="513330"/>
                    <a:pt x="277361" y="515945"/>
                  </a:cubicBezTo>
                  <a:lnTo>
                    <a:pt x="277361" y="539944"/>
                  </a:lnTo>
                  <a:cubicBezTo>
                    <a:pt x="407551" y="539944"/>
                    <a:pt x="513423" y="434236"/>
                    <a:pt x="513423" y="304248"/>
                  </a:cubicBezTo>
                  <a:cubicBezTo>
                    <a:pt x="513423" y="229076"/>
                    <a:pt x="477041" y="157638"/>
                    <a:pt x="415968" y="113375"/>
                  </a:cubicBezTo>
                  <a:close/>
                  <a:moveTo>
                    <a:pt x="282452" y="594"/>
                  </a:moveTo>
                  <a:lnTo>
                    <a:pt x="347640" y="45229"/>
                  </a:lnTo>
                  <a:cubicBezTo>
                    <a:pt x="349511" y="46536"/>
                    <a:pt x="349511" y="49337"/>
                    <a:pt x="347640" y="50551"/>
                  </a:cubicBezTo>
                  <a:lnTo>
                    <a:pt x="282452" y="95279"/>
                  </a:lnTo>
                  <a:cubicBezTo>
                    <a:pt x="280301" y="96773"/>
                    <a:pt x="277402" y="95279"/>
                    <a:pt x="277402" y="92665"/>
                  </a:cubicBezTo>
                  <a:lnTo>
                    <a:pt x="277402" y="68573"/>
                  </a:lnTo>
                  <a:cubicBezTo>
                    <a:pt x="147212" y="68573"/>
                    <a:pt x="41339" y="174277"/>
                    <a:pt x="41339" y="304259"/>
                  </a:cubicBezTo>
                  <a:cubicBezTo>
                    <a:pt x="41339" y="379521"/>
                    <a:pt x="77908" y="450862"/>
                    <a:pt x="138888" y="495123"/>
                  </a:cubicBezTo>
                  <a:lnTo>
                    <a:pt x="114571" y="528552"/>
                  </a:lnTo>
                  <a:cubicBezTo>
                    <a:pt x="42835" y="476634"/>
                    <a:pt x="0" y="392687"/>
                    <a:pt x="0" y="304259"/>
                  </a:cubicBezTo>
                  <a:cubicBezTo>
                    <a:pt x="0" y="151493"/>
                    <a:pt x="124391" y="27300"/>
                    <a:pt x="277402" y="27300"/>
                  </a:cubicBezTo>
                  <a:lnTo>
                    <a:pt x="277402" y="3209"/>
                  </a:lnTo>
                  <a:cubicBezTo>
                    <a:pt x="277402" y="594"/>
                    <a:pt x="280301" y="-900"/>
                    <a:pt x="282452" y="5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lnSpcReduction="10000"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5538CC55-99C9-42F1-893A-A588F0CA4066}"/>
              </a:ext>
            </a:extLst>
          </p:cNvPr>
          <p:cNvGrpSpPr/>
          <p:nvPr/>
        </p:nvGrpSpPr>
        <p:grpSpPr>
          <a:xfrm>
            <a:off x="849868" y="3347280"/>
            <a:ext cx="4093651" cy="391207"/>
            <a:chOff x="848668" y="3330673"/>
            <a:chExt cx="4093651" cy="391207"/>
          </a:xfrm>
        </p:grpSpPr>
        <p:sp>
          <p:nvSpPr>
            <p:cNvPr id="66" name="椭圆 65">
              <a:extLst>
                <a:ext uri="{FF2B5EF4-FFF2-40B4-BE49-F238E27FC236}">
                  <a16:creationId xmlns:a16="http://schemas.microsoft.com/office/drawing/2014/main" id="{50598A83-190A-43F5-B7EA-BA6E118614DF}"/>
                </a:ext>
              </a:extLst>
            </p:cNvPr>
            <p:cNvSpPr/>
            <p:nvPr/>
          </p:nvSpPr>
          <p:spPr>
            <a:xfrm>
              <a:off x="848668" y="3428037"/>
              <a:ext cx="196478" cy="196478"/>
            </a:xfrm>
            <a:prstGeom prst="ellipse">
              <a:avLst/>
            </a:prstGeom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67" name="文本框 66">
              <a:extLst>
                <a:ext uri="{FF2B5EF4-FFF2-40B4-BE49-F238E27FC236}">
                  <a16:creationId xmlns:a16="http://schemas.microsoft.com/office/drawing/2014/main" id="{5D9E1796-04F7-4005-98A2-D8476F8FA7F6}"/>
                </a:ext>
              </a:extLst>
            </p:cNvPr>
            <p:cNvSpPr txBox="1"/>
            <p:nvPr/>
          </p:nvSpPr>
          <p:spPr>
            <a:xfrm>
              <a:off x="1045146" y="3330673"/>
              <a:ext cx="3897173" cy="39120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grpSp>
        <p:nvGrpSpPr>
          <p:cNvPr id="57" name="组合 56">
            <a:extLst>
              <a:ext uri="{FF2B5EF4-FFF2-40B4-BE49-F238E27FC236}">
                <a16:creationId xmlns:a16="http://schemas.microsoft.com/office/drawing/2014/main" id="{2868165E-51B4-48E0-B7D7-F55B13947239}"/>
              </a:ext>
            </a:extLst>
          </p:cNvPr>
          <p:cNvGrpSpPr/>
          <p:nvPr/>
        </p:nvGrpSpPr>
        <p:grpSpPr>
          <a:xfrm>
            <a:off x="849868" y="3752715"/>
            <a:ext cx="4093651" cy="391207"/>
            <a:chOff x="848668" y="3736108"/>
            <a:chExt cx="4093651" cy="391207"/>
          </a:xfrm>
        </p:grpSpPr>
        <p:sp>
          <p:nvSpPr>
            <p:cNvPr id="64" name="椭圆 63">
              <a:extLst>
                <a:ext uri="{FF2B5EF4-FFF2-40B4-BE49-F238E27FC236}">
                  <a16:creationId xmlns:a16="http://schemas.microsoft.com/office/drawing/2014/main" id="{C5BBD3D3-4AC2-4430-9F29-2D95F87E60FA}"/>
                </a:ext>
              </a:extLst>
            </p:cNvPr>
            <p:cNvSpPr/>
            <p:nvPr/>
          </p:nvSpPr>
          <p:spPr>
            <a:xfrm>
              <a:off x="848668" y="3833472"/>
              <a:ext cx="196478" cy="196478"/>
            </a:xfrm>
            <a:prstGeom prst="ellipse">
              <a:avLst/>
            </a:prstGeom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65" name="文本框 64">
              <a:extLst>
                <a:ext uri="{FF2B5EF4-FFF2-40B4-BE49-F238E27FC236}">
                  <a16:creationId xmlns:a16="http://schemas.microsoft.com/office/drawing/2014/main" id="{F7BCC8FB-E13A-44B3-84BB-4B9D9D0EB13E}"/>
                </a:ext>
              </a:extLst>
            </p:cNvPr>
            <p:cNvSpPr txBox="1"/>
            <p:nvPr/>
          </p:nvSpPr>
          <p:spPr>
            <a:xfrm>
              <a:off x="1045146" y="3736108"/>
              <a:ext cx="3897173" cy="39120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grpSp>
        <p:nvGrpSpPr>
          <p:cNvPr id="58" name="组合 57">
            <a:extLst>
              <a:ext uri="{FF2B5EF4-FFF2-40B4-BE49-F238E27FC236}">
                <a16:creationId xmlns:a16="http://schemas.microsoft.com/office/drawing/2014/main" id="{AB65E6C7-B1CB-4D5C-99E8-0556C2BA5C48}"/>
              </a:ext>
            </a:extLst>
          </p:cNvPr>
          <p:cNvGrpSpPr/>
          <p:nvPr/>
        </p:nvGrpSpPr>
        <p:grpSpPr>
          <a:xfrm>
            <a:off x="670313" y="3691498"/>
            <a:ext cx="4273206" cy="405436"/>
            <a:chOff x="669113" y="3674891"/>
            <a:chExt cx="4318794" cy="405436"/>
          </a:xfrm>
        </p:grpSpPr>
        <p:cxnSp>
          <p:nvCxnSpPr>
            <p:cNvPr id="62" name="直接连接符 61">
              <a:extLst>
                <a:ext uri="{FF2B5EF4-FFF2-40B4-BE49-F238E27FC236}">
                  <a16:creationId xmlns:a16="http://schemas.microsoft.com/office/drawing/2014/main" id="{6FB57478-392B-45CD-9D70-F1E76189C7AF}"/>
                </a:ext>
              </a:extLst>
            </p:cNvPr>
            <p:cNvCxnSpPr/>
            <p:nvPr/>
          </p:nvCxnSpPr>
          <p:spPr>
            <a:xfrm flipH="1" flipV="1">
              <a:off x="669113" y="3674891"/>
              <a:ext cx="4318794" cy="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接连接符 62">
              <a:extLst>
                <a:ext uri="{FF2B5EF4-FFF2-40B4-BE49-F238E27FC236}">
                  <a16:creationId xmlns:a16="http://schemas.microsoft.com/office/drawing/2014/main" id="{41983E57-EE68-4D49-A8BF-6A29DE87E29E}"/>
                </a:ext>
              </a:extLst>
            </p:cNvPr>
            <p:cNvCxnSpPr/>
            <p:nvPr/>
          </p:nvCxnSpPr>
          <p:spPr>
            <a:xfrm flipH="1" flipV="1">
              <a:off x="669113" y="4080326"/>
              <a:ext cx="4318794" cy="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C6023B6B-6BAF-4F3F-A65E-DF17D72C38DE}"/>
              </a:ext>
            </a:extLst>
          </p:cNvPr>
          <p:cNvGrpSpPr/>
          <p:nvPr/>
        </p:nvGrpSpPr>
        <p:grpSpPr>
          <a:xfrm>
            <a:off x="849868" y="4158150"/>
            <a:ext cx="4093651" cy="391207"/>
            <a:chOff x="848668" y="4141543"/>
            <a:chExt cx="4093651" cy="391207"/>
          </a:xfrm>
        </p:grpSpPr>
        <p:sp>
          <p:nvSpPr>
            <p:cNvPr id="60" name="椭圆 59">
              <a:extLst>
                <a:ext uri="{FF2B5EF4-FFF2-40B4-BE49-F238E27FC236}">
                  <a16:creationId xmlns:a16="http://schemas.microsoft.com/office/drawing/2014/main" id="{9CCD889C-0AAF-478F-AB96-AB940D5723A0}"/>
                </a:ext>
              </a:extLst>
            </p:cNvPr>
            <p:cNvSpPr/>
            <p:nvPr/>
          </p:nvSpPr>
          <p:spPr>
            <a:xfrm>
              <a:off x="848668" y="4238907"/>
              <a:ext cx="196478" cy="196478"/>
            </a:xfrm>
            <a:prstGeom prst="ellipse">
              <a:avLst/>
            </a:prstGeom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61" name="文本框 60">
              <a:extLst>
                <a:ext uri="{FF2B5EF4-FFF2-40B4-BE49-F238E27FC236}">
                  <a16:creationId xmlns:a16="http://schemas.microsoft.com/office/drawing/2014/main" id="{1F5AFF20-E916-487A-B97D-0427D0BFD0CC}"/>
                </a:ext>
              </a:extLst>
            </p:cNvPr>
            <p:cNvSpPr txBox="1"/>
            <p:nvPr/>
          </p:nvSpPr>
          <p:spPr>
            <a:xfrm>
              <a:off x="1045146" y="4141543"/>
              <a:ext cx="3897173" cy="39120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9B92F1BE-B585-43E5-83EA-AAC1E2AF9AE0}"/>
              </a:ext>
            </a:extLst>
          </p:cNvPr>
          <p:cNvGrpSpPr/>
          <p:nvPr/>
        </p:nvGrpSpPr>
        <p:grpSpPr>
          <a:xfrm>
            <a:off x="7246894" y="3538613"/>
            <a:ext cx="4093651" cy="391207"/>
            <a:chOff x="7245694" y="3469872"/>
            <a:chExt cx="4093651" cy="391207"/>
          </a:xfrm>
        </p:grpSpPr>
        <p:sp>
          <p:nvSpPr>
            <p:cNvPr id="54" name="椭圆 53">
              <a:extLst>
                <a:ext uri="{FF2B5EF4-FFF2-40B4-BE49-F238E27FC236}">
                  <a16:creationId xmlns:a16="http://schemas.microsoft.com/office/drawing/2014/main" id="{A323B950-B538-4164-911C-87FD327CF736}"/>
                </a:ext>
              </a:extLst>
            </p:cNvPr>
            <p:cNvSpPr/>
            <p:nvPr/>
          </p:nvSpPr>
          <p:spPr>
            <a:xfrm flipH="1">
              <a:off x="11142867" y="3567237"/>
              <a:ext cx="196478" cy="19647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55" name="文本框 54">
              <a:extLst>
                <a:ext uri="{FF2B5EF4-FFF2-40B4-BE49-F238E27FC236}">
                  <a16:creationId xmlns:a16="http://schemas.microsoft.com/office/drawing/2014/main" id="{83EBF310-AD8A-4436-8804-47ABD1527BBD}"/>
                </a:ext>
              </a:extLst>
            </p:cNvPr>
            <p:cNvSpPr txBox="1"/>
            <p:nvPr/>
          </p:nvSpPr>
          <p:spPr>
            <a:xfrm flipH="1">
              <a:off x="7245694" y="3469872"/>
              <a:ext cx="3897173" cy="39120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274C1B26-4052-4AF5-8CD2-CDBB87BA84C5}"/>
              </a:ext>
            </a:extLst>
          </p:cNvPr>
          <p:cNvGrpSpPr/>
          <p:nvPr/>
        </p:nvGrpSpPr>
        <p:grpSpPr>
          <a:xfrm>
            <a:off x="7246894" y="3133178"/>
            <a:ext cx="4093651" cy="391207"/>
            <a:chOff x="7245694" y="3064437"/>
            <a:chExt cx="4093651" cy="391207"/>
          </a:xfrm>
        </p:grpSpPr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C87BEEB4-56C4-4ED7-B03C-8893A49488A8}"/>
                </a:ext>
              </a:extLst>
            </p:cNvPr>
            <p:cNvSpPr/>
            <p:nvPr/>
          </p:nvSpPr>
          <p:spPr>
            <a:xfrm flipH="1">
              <a:off x="11142867" y="3161802"/>
              <a:ext cx="196478" cy="19647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53" name="文本框 52">
              <a:extLst>
                <a:ext uri="{FF2B5EF4-FFF2-40B4-BE49-F238E27FC236}">
                  <a16:creationId xmlns:a16="http://schemas.microsoft.com/office/drawing/2014/main" id="{70635676-4D19-4F64-8857-372B7998A50C}"/>
                </a:ext>
              </a:extLst>
            </p:cNvPr>
            <p:cNvSpPr txBox="1"/>
            <p:nvPr/>
          </p:nvSpPr>
          <p:spPr>
            <a:xfrm flipH="1">
              <a:off x="7245694" y="3064437"/>
              <a:ext cx="3897173" cy="39120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cxnSp>
        <p:nvCxnSpPr>
          <p:cNvPr id="47" name="直接连接符 46">
            <a:extLst>
              <a:ext uri="{FF2B5EF4-FFF2-40B4-BE49-F238E27FC236}">
                <a16:creationId xmlns:a16="http://schemas.microsoft.com/office/drawing/2014/main" id="{C364E8A1-2C6B-47C2-B4C6-7CFCBB0167E5}"/>
              </a:ext>
            </a:extLst>
          </p:cNvPr>
          <p:cNvCxnSpPr/>
          <p:nvPr/>
        </p:nvCxnSpPr>
        <p:spPr>
          <a:xfrm>
            <a:off x="7246894" y="3585601"/>
            <a:ext cx="4273206" cy="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32366114-BC5E-4BA5-95BE-3EE338F7B6CF}"/>
              </a:ext>
            </a:extLst>
          </p:cNvPr>
          <p:cNvCxnSpPr/>
          <p:nvPr/>
        </p:nvCxnSpPr>
        <p:spPr>
          <a:xfrm>
            <a:off x="7246894" y="3180166"/>
            <a:ext cx="4273206" cy="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93CB728C-2537-4384-BF51-25A4907467EA}"/>
              </a:ext>
            </a:extLst>
          </p:cNvPr>
          <p:cNvGrpSpPr/>
          <p:nvPr/>
        </p:nvGrpSpPr>
        <p:grpSpPr>
          <a:xfrm>
            <a:off x="7246894" y="2727743"/>
            <a:ext cx="4093651" cy="391207"/>
            <a:chOff x="7245694" y="2659002"/>
            <a:chExt cx="4093651" cy="391207"/>
          </a:xfrm>
        </p:grpSpPr>
        <p:sp>
          <p:nvSpPr>
            <p:cNvPr id="50" name="椭圆 49">
              <a:extLst>
                <a:ext uri="{FF2B5EF4-FFF2-40B4-BE49-F238E27FC236}">
                  <a16:creationId xmlns:a16="http://schemas.microsoft.com/office/drawing/2014/main" id="{656C4F0E-4239-4CAB-A137-72766A9F6543}"/>
                </a:ext>
              </a:extLst>
            </p:cNvPr>
            <p:cNvSpPr/>
            <p:nvPr/>
          </p:nvSpPr>
          <p:spPr>
            <a:xfrm flipH="1">
              <a:off x="11142867" y="2756367"/>
              <a:ext cx="196478" cy="19647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2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B6AECA37-BDC8-424E-8C03-378FC1CA1D20}"/>
                </a:ext>
              </a:extLst>
            </p:cNvPr>
            <p:cNvSpPr txBox="1"/>
            <p:nvPr/>
          </p:nvSpPr>
          <p:spPr>
            <a:xfrm flipH="1">
              <a:off x="7245694" y="2659002"/>
              <a:ext cx="3897173" cy="39120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sp>
        <p:nvSpPr>
          <p:cNvPr id="41" name="文本框 40">
            <a:extLst>
              <a:ext uri="{FF2B5EF4-FFF2-40B4-BE49-F238E27FC236}">
                <a16:creationId xmlns:a16="http://schemas.microsoft.com/office/drawing/2014/main" id="{996F46EC-84F6-4E63-BAF9-68A1AC2C171D}"/>
              </a:ext>
            </a:extLst>
          </p:cNvPr>
          <p:cNvSpPr txBox="1"/>
          <p:nvPr/>
        </p:nvSpPr>
        <p:spPr bwMode="auto">
          <a:xfrm flipH="1">
            <a:off x="9664426" y="4115753"/>
            <a:ext cx="1302449" cy="391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grpSp>
        <p:nvGrpSpPr>
          <p:cNvPr id="42" name="组合 41">
            <a:extLst>
              <a:ext uri="{FF2B5EF4-FFF2-40B4-BE49-F238E27FC236}">
                <a16:creationId xmlns:a16="http://schemas.microsoft.com/office/drawing/2014/main" id="{C87C2115-EF3F-42D4-90B9-F8032CA6E650}"/>
              </a:ext>
            </a:extLst>
          </p:cNvPr>
          <p:cNvGrpSpPr/>
          <p:nvPr/>
        </p:nvGrpSpPr>
        <p:grpSpPr>
          <a:xfrm>
            <a:off x="10966875" y="4036827"/>
            <a:ext cx="549238" cy="549238"/>
            <a:chOff x="10965675" y="3983512"/>
            <a:chExt cx="549238" cy="549238"/>
          </a:xfrm>
        </p:grpSpPr>
        <p:sp>
          <p:nvSpPr>
            <p:cNvPr id="43" name="椭圆 42">
              <a:extLst>
                <a:ext uri="{FF2B5EF4-FFF2-40B4-BE49-F238E27FC236}">
                  <a16:creationId xmlns:a16="http://schemas.microsoft.com/office/drawing/2014/main" id="{90696338-05C3-4156-AA85-B0DA7E469A2A}"/>
                </a:ext>
              </a:extLst>
            </p:cNvPr>
            <p:cNvSpPr/>
            <p:nvPr/>
          </p:nvSpPr>
          <p:spPr>
            <a:xfrm flipH="1">
              <a:off x="10965675" y="3983512"/>
              <a:ext cx="549238" cy="549238"/>
            </a:xfrm>
            <a:prstGeom prst="ellipse">
              <a:avLst/>
            </a:pr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endParaRPr lang="zh-CN" altLang="en-US" sz="2800" b="1" i="1" dirty="0"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506D7919-F3E8-4E12-AA46-EF47906D0FF7}"/>
                </a:ext>
              </a:extLst>
            </p:cNvPr>
            <p:cNvSpPr/>
            <p:nvPr/>
          </p:nvSpPr>
          <p:spPr bwMode="auto">
            <a:xfrm>
              <a:off x="11074227" y="4095416"/>
              <a:ext cx="332134" cy="325430"/>
            </a:xfrm>
            <a:custGeom>
              <a:avLst/>
              <a:gdLst>
                <a:gd name="T0" fmla="*/ 2384 w 2877"/>
                <a:gd name="T1" fmla="*/ 1890 h 2823"/>
                <a:gd name="T2" fmla="*/ 2177 w 2877"/>
                <a:gd name="T3" fmla="*/ 1902 h 2823"/>
                <a:gd name="T4" fmla="*/ 2266 w 2877"/>
                <a:gd name="T5" fmla="*/ 647 h 2823"/>
                <a:gd name="T6" fmla="*/ 2297 w 2877"/>
                <a:gd name="T7" fmla="*/ 650 h 2823"/>
                <a:gd name="T8" fmla="*/ 2569 w 2877"/>
                <a:gd name="T9" fmla="*/ 454 h 2823"/>
                <a:gd name="T10" fmla="*/ 2568 w 2877"/>
                <a:gd name="T11" fmla="*/ 356 h 2823"/>
                <a:gd name="T12" fmla="*/ 2367 w 2877"/>
                <a:gd name="T13" fmla="*/ 183 h 2823"/>
                <a:gd name="T14" fmla="*/ 2180 w 2877"/>
                <a:gd name="T15" fmla="*/ 341 h 2823"/>
                <a:gd name="T16" fmla="*/ 1453 w 2877"/>
                <a:gd name="T17" fmla="*/ 1178 h 2823"/>
                <a:gd name="T18" fmla="*/ 960 w 2877"/>
                <a:gd name="T19" fmla="*/ 467 h 2823"/>
                <a:gd name="T20" fmla="*/ 494 w 2877"/>
                <a:gd name="T21" fmla="*/ 0 h 2823"/>
                <a:gd name="T22" fmla="*/ 334 w 2877"/>
                <a:gd name="T23" fmla="*/ 53 h 2823"/>
                <a:gd name="T24" fmla="*/ 568 w 2877"/>
                <a:gd name="T25" fmla="*/ 325 h 2823"/>
                <a:gd name="T26" fmla="*/ 573 w 2877"/>
                <a:gd name="T27" fmla="*/ 353 h 2823"/>
                <a:gd name="T28" fmla="*/ 377 w 2877"/>
                <a:gd name="T29" fmla="*/ 546 h 2823"/>
                <a:gd name="T30" fmla="*/ 372 w 2877"/>
                <a:gd name="T31" fmla="*/ 547 h 2823"/>
                <a:gd name="T32" fmla="*/ 131 w 2877"/>
                <a:gd name="T33" fmla="*/ 322 h 2823"/>
                <a:gd name="T34" fmla="*/ 43 w 2877"/>
                <a:gd name="T35" fmla="*/ 344 h 2823"/>
                <a:gd name="T36" fmla="*/ 494 w 2877"/>
                <a:gd name="T37" fmla="*/ 933 h 2823"/>
                <a:gd name="T38" fmla="*/ 1205 w 2877"/>
                <a:gd name="T39" fmla="*/ 1426 h 2823"/>
                <a:gd name="T40" fmla="*/ 834 w 2877"/>
                <a:gd name="T41" fmla="*/ 1699 h 2823"/>
                <a:gd name="T42" fmla="*/ 638 w 2877"/>
                <a:gd name="T43" fmla="*/ 1818 h 2823"/>
                <a:gd name="T44" fmla="*/ 627 w 2877"/>
                <a:gd name="T45" fmla="*/ 1818 h 2823"/>
                <a:gd name="T46" fmla="*/ 131 w 2877"/>
                <a:gd name="T47" fmla="*/ 2237 h 2823"/>
                <a:gd name="T48" fmla="*/ 274 w 2877"/>
                <a:gd name="T49" fmla="*/ 2641 h 2823"/>
                <a:gd name="T50" fmla="*/ 535 w 2877"/>
                <a:gd name="T51" fmla="*/ 2641 h 2823"/>
                <a:gd name="T52" fmla="*/ 953 w 2877"/>
                <a:gd name="T53" fmla="*/ 2134 h 2823"/>
                <a:gd name="T54" fmla="*/ 1019 w 2877"/>
                <a:gd name="T55" fmla="*/ 2068 h 2823"/>
                <a:gd name="T56" fmla="*/ 1346 w 2877"/>
                <a:gd name="T57" fmla="*/ 1567 h 2823"/>
                <a:gd name="T58" fmla="*/ 1955 w 2877"/>
                <a:gd name="T59" fmla="*/ 2171 h 2823"/>
                <a:gd name="T60" fmla="*/ 2383 w 2877"/>
                <a:gd name="T61" fmla="*/ 2823 h 2823"/>
                <a:gd name="T62" fmla="*/ 2507 w 2877"/>
                <a:gd name="T63" fmla="*/ 2807 h 2823"/>
                <a:gd name="T64" fmla="*/ 2528 w 2877"/>
                <a:gd name="T65" fmla="*/ 2719 h 2823"/>
                <a:gd name="T66" fmla="*/ 2304 w 2877"/>
                <a:gd name="T67" fmla="*/ 2474 h 2823"/>
                <a:gd name="T68" fmla="*/ 2331 w 2877"/>
                <a:gd name="T69" fmla="*/ 2304 h 2823"/>
                <a:gd name="T70" fmla="*/ 2503 w 2877"/>
                <a:gd name="T71" fmla="*/ 2276 h 2823"/>
                <a:gd name="T72" fmla="*/ 2531 w 2877"/>
                <a:gd name="T73" fmla="*/ 2287 h 2823"/>
                <a:gd name="T74" fmla="*/ 2785 w 2877"/>
                <a:gd name="T75" fmla="*/ 2518 h 2823"/>
                <a:gd name="T76" fmla="*/ 2714 w 2877"/>
                <a:gd name="T77" fmla="*/ 2027 h 2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77" h="2823">
                  <a:moveTo>
                    <a:pt x="2714" y="2027"/>
                  </a:moveTo>
                  <a:cubicBezTo>
                    <a:pt x="2625" y="1938"/>
                    <a:pt x="2508" y="1890"/>
                    <a:pt x="2384" y="1890"/>
                  </a:cubicBezTo>
                  <a:cubicBezTo>
                    <a:pt x="2319" y="1890"/>
                    <a:pt x="2256" y="1903"/>
                    <a:pt x="2198" y="1928"/>
                  </a:cubicBezTo>
                  <a:cubicBezTo>
                    <a:pt x="2192" y="1919"/>
                    <a:pt x="2185" y="1910"/>
                    <a:pt x="2177" y="1902"/>
                  </a:cubicBezTo>
                  <a:lnTo>
                    <a:pt x="1594" y="1319"/>
                  </a:lnTo>
                  <a:lnTo>
                    <a:pt x="2266" y="647"/>
                  </a:lnTo>
                  <a:cubicBezTo>
                    <a:pt x="2276" y="649"/>
                    <a:pt x="2286" y="650"/>
                    <a:pt x="2297" y="650"/>
                  </a:cubicBezTo>
                  <a:lnTo>
                    <a:pt x="2297" y="650"/>
                  </a:lnTo>
                  <a:cubicBezTo>
                    <a:pt x="2346" y="650"/>
                    <a:pt x="2394" y="630"/>
                    <a:pt x="2431" y="592"/>
                  </a:cubicBezTo>
                  <a:lnTo>
                    <a:pt x="2569" y="454"/>
                  </a:lnTo>
                  <a:cubicBezTo>
                    <a:pt x="2572" y="451"/>
                    <a:pt x="2582" y="441"/>
                    <a:pt x="2587" y="425"/>
                  </a:cubicBezTo>
                  <a:cubicBezTo>
                    <a:pt x="2594" y="400"/>
                    <a:pt x="2587" y="375"/>
                    <a:pt x="2568" y="356"/>
                  </a:cubicBezTo>
                  <a:lnTo>
                    <a:pt x="2417" y="205"/>
                  </a:lnTo>
                  <a:cubicBezTo>
                    <a:pt x="2399" y="186"/>
                    <a:pt x="2379" y="183"/>
                    <a:pt x="2367" y="183"/>
                  </a:cubicBezTo>
                  <a:cubicBezTo>
                    <a:pt x="2339" y="183"/>
                    <a:pt x="2321" y="200"/>
                    <a:pt x="2317" y="203"/>
                  </a:cubicBezTo>
                  <a:lnTo>
                    <a:pt x="2180" y="341"/>
                  </a:lnTo>
                  <a:cubicBezTo>
                    <a:pt x="2132" y="388"/>
                    <a:pt x="2114" y="450"/>
                    <a:pt x="2124" y="507"/>
                  </a:cubicBezTo>
                  <a:lnTo>
                    <a:pt x="1453" y="1178"/>
                  </a:lnTo>
                  <a:lnTo>
                    <a:pt x="923" y="649"/>
                  </a:lnTo>
                  <a:cubicBezTo>
                    <a:pt x="948" y="592"/>
                    <a:pt x="960" y="530"/>
                    <a:pt x="960" y="467"/>
                  </a:cubicBezTo>
                  <a:cubicBezTo>
                    <a:pt x="960" y="342"/>
                    <a:pt x="912" y="225"/>
                    <a:pt x="824" y="137"/>
                  </a:cubicBezTo>
                  <a:cubicBezTo>
                    <a:pt x="735" y="49"/>
                    <a:pt x="618" y="0"/>
                    <a:pt x="494" y="0"/>
                  </a:cubicBezTo>
                  <a:cubicBezTo>
                    <a:pt x="452" y="0"/>
                    <a:pt x="411" y="6"/>
                    <a:pt x="371" y="16"/>
                  </a:cubicBezTo>
                  <a:cubicBezTo>
                    <a:pt x="353" y="21"/>
                    <a:pt x="339" y="36"/>
                    <a:pt x="334" y="53"/>
                  </a:cubicBezTo>
                  <a:cubicBezTo>
                    <a:pt x="329" y="71"/>
                    <a:pt x="335" y="90"/>
                    <a:pt x="349" y="104"/>
                  </a:cubicBezTo>
                  <a:cubicBezTo>
                    <a:pt x="349" y="104"/>
                    <a:pt x="513" y="270"/>
                    <a:pt x="568" y="325"/>
                  </a:cubicBezTo>
                  <a:cubicBezTo>
                    <a:pt x="574" y="330"/>
                    <a:pt x="574" y="344"/>
                    <a:pt x="573" y="349"/>
                  </a:cubicBezTo>
                  <a:lnTo>
                    <a:pt x="573" y="353"/>
                  </a:lnTo>
                  <a:cubicBezTo>
                    <a:pt x="567" y="417"/>
                    <a:pt x="555" y="496"/>
                    <a:pt x="546" y="519"/>
                  </a:cubicBezTo>
                  <a:cubicBezTo>
                    <a:pt x="523" y="528"/>
                    <a:pt x="443" y="540"/>
                    <a:pt x="377" y="546"/>
                  </a:cubicBezTo>
                  <a:lnTo>
                    <a:pt x="374" y="547"/>
                  </a:lnTo>
                  <a:cubicBezTo>
                    <a:pt x="374" y="547"/>
                    <a:pt x="373" y="547"/>
                    <a:pt x="372" y="547"/>
                  </a:cubicBezTo>
                  <a:cubicBezTo>
                    <a:pt x="365" y="547"/>
                    <a:pt x="355" y="545"/>
                    <a:pt x="346" y="536"/>
                  </a:cubicBezTo>
                  <a:cubicBezTo>
                    <a:pt x="289" y="479"/>
                    <a:pt x="131" y="322"/>
                    <a:pt x="131" y="322"/>
                  </a:cubicBezTo>
                  <a:cubicBezTo>
                    <a:pt x="117" y="308"/>
                    <a:pt x="102" y="305"/>
                    <a:pt x="92" y="305"/>
                  </a:cubicBezTo>
                  <a:cubicBezTo>
                    <a:pt x="70" y="305"/>
                    <a:pt x="50" y="321"/>
                    <a:pt x="43" y="344"/>
                  </a:cubicBezTo>
                  <a:cubicBezTo>
                    <a:pt x="0" y="506"/>
                    <a:pt x="46" y="679"/>
                    <a:pt x="164" y="797"/>
                  </a:cubicBezTo>
                  <a:cubicBezTo>
                    <a:pt x="252" y="885"/>
                    <a:pt x="369" y="933"/>
                    <a:pt x="494" y="933"/>
                  </a:cubicBezTo>
                  <a:cubicBezTo>
                    <a:pt x="557" y="933"/>
                    <a:pt x="619" y="921"/>
                    <a:pt x="676" y="896"/>
                  </a:cubicBezTo>
                  <a:lnTo>
                    <a:pt x="1205" y="1426"/>
                  </a:lnTo>
                  <a:lnTo>
                    <a:pt x="914" y="1717"/>
                  </a:lnTo>
                  <a:cubicBezTo>
                    <a:pt x="890" y="1705"/>
                    <a:pt x="863" y="1699"/>
                    <a:pt x="834" y="1699"/>
                  </a:cubicBezTo>
                  <a:cubicBezTo>
                    <a:pt x="785" y="1699"/>
                    <a:pt x="739" y="1718"/>
                    <a:pt x="704" y="1753"/>
                  </a:cubicBezTo>
                  <a:lnTo>
                    <a:pt x="638" y="1818"/>
                  </a:lnTo>
                  <a:cubicBezTo>
                    <a:pt x="638" y="1819"/>
                    <a:pt x="638" y="1819"/>
                    <a:pt x="638" y="1819"/>
                  </a:cubicBezTo>
                  <a:cubicBezTo>
                    <a:pt x="634" y="1819"/>
                    <a:pt x="630" y="1818"/>
                    <a:pt x="627" y="1818"/>
                  </a:cubicBezTo>
                  <a:cubicBezTo>
                    <a:pt x="577" y="1818"/>
                    <a:pt x="531" y="1838"/>
                    <a:pt x="496" y="1872"/>
                  </a:cubicBezTo>
                  <a:lnTo>
                    <a:pt x="131" y="2237"/>
                  </a:lnTo>
                  <a:cubicBezTo>
                    <a:pt x="59" y="2309"/>
                    <a:pt x="59" y="2426"/>
                    <a:pt x="131" y="2498"/>
                  </a:cubicBezTo>
                  <a:lnTo>
                    <a:pt x="274" y="2641"/>
                  </a:lnTo>
                  <a:cubicBezTo>
                    <a:pt x="309" y="2676"/>
                    <a:pt x="355" y="2695"/>
                    <a:pt x="404" y="2695"/>
                  </a:cubicBezTo>
                  <a:cubicBezTo>
                    <a:pt x="454" y="2695"/>
                    <a:pt x="500" y="2676"/>
                    <a:pt x="535" y="2641"/>
                  </a:cubicBezTo>
                  <a:lnTo>
                    <a:pt x="900" y="2276"/>
                  </a:lnTo>
                  <a:cubicBezTo>
                    <a:pt x="939" y="2237"/>
                    <a:pt x="956" y="2185"/>
                    <a:pt x="953" y="2134"/>
                  </a:cubicBezTo>
                  <a:cubicBezTo>
                    <a:pt x="953" y="2134"/>
                    <a:pt x="953" y="2134"/>
                    <a:pt x="954" y="2134"/>
                  </a:cubicBezTo>
                  <a:lnTo>
                    <a:pt x="1019" y="2068"/>
                  </a:lnTo>
                  <a:cubicBezTo>
                    <a:pt x="1076" y="2011"/>
                    <a:pt x="1088" y="1926"/>
                    <a:pt x="1055" y="1858"/>
                  </a:cubicBezTo>
                  <a:lnTo>
                    <a:pt x="1346" y="1567"/>
                  </a:lnTo>
                  <a:lnTo>
                    <a:pt x="1929" y="2150"/>
                  </a:lnTo>
                  <a:cubicBezTo>
                    <a:pt x="1937" y="2158"/>
                    <a:pt x="1946" y="2165"/>
                    <a:pt x="1955" y="2171"/>
                  </a:cubicBezTo>
                  <a:cubicBezTo>
                    <a:pt x="1882" y="2342"/>
                    <a:pt x="1914" y="2547"/>
                    <a:pt x="2054" y="2687"/>
                  </a:cubicBezTo>
                  <a:cubicBezTo>
                    <a:pt x="2142" y="2775"/>
                    <a:pt x="2259" y="2823"/>
                    <a:pt x="2383" y="2823"/>
                  </a:cubicBezTo>
                  <a:lnTo>
                    <a:pt x="2384" y="2823"/>
                  </a:lnTo>
                  <a:cubicBezTo>
                    <a:pt x="2425" y="2823"/>
                    <a:pt x="2466" y="2818"/>
                    <a:pt x="2507" y="2807"/>
                  </a:cubicBezTo>
                  <a:cubicBezTo>
                    <a:pt x="2524" y="2802"/>
                    <a:pt x="2538" y="2787"/>
                    <a:pt x="2543" y="2770"/>
                  </a:cubicBezTo>
                  <a:cubicBezTo>
                    <a:pt x="2548" y="2752"/>
                    <a:pt x="2542" y="2733"/>
                    <a:pt x="2528" y="2719"/>
                  </a:cubicBezTo>
                  <a:cubicBezTo>
                    <a:pt x="2528" y="2719"/>
                    <a:pt x="2364" y="2554"/>
                    <a:pt x="2309" y="2499"/>
                  </a:cubicBezTo>
                  <a:cubicBezTo>
                    <a:pt x="2303" y="2493"/>
                    <a:pt x="2303" y="2479"/>
                    <a:pt x="2304" y="2474"/>
                  </a:cubicBezTo>
                  <a:lnTo>
                    <a:pt x="2304" y="2470"/>
                  </a:lnTo>
                  <a:cubicBezTo>
                    <a:pt x="2310" y="2406"/>
                    <a:pt x="2322" y="2327"/>
                    <a:pt x="2331" y="2304"/>
                  </a:cubicBezTo>
                  <a:cubicBezTo>
                    <a:pt x="2354" y="2295"/>
                    <a:pt x="2434" y="2283"/>
                    <a:pt x="2500" y="2277"/>
                  </a:cubicBezTo>
                  <a:lnTo>
                    <a:pt x="2503" y="2276"/>
                  </a:lnTo>
                  <a:cubicBezTo>
                    <a:pt x="2503" y="2276"/>
                    <a:pt x="2504" y="2276"/>
                    <a:pt x="2506" y="2276"/>
                  </a:cubicBezTo>
                  <a:cubicBezTo>
                    <a:pt x="2512" y="2276"/>
                    <a:pt x="2522" y="2278"/>
                    <a:pt x="2531" y="2287"/>
                  </a:cubicBezTo>
                  <a:cubicBezTo>
                    <a:pt x="2588" y="2344"/>
                    <a:pt x="2746" y="2501"/>
                    <a:pt x="2746" y="2501"/>
                  </a:cubicBezTo>
                  <a:cubicBezTo>
                    <a:pt x="2760" y="2515"/>
                    <a:pt x="2775" y="2518"/>
                    <a:pt x="2785" y="2518"/>
                  </a:cubicBezTo>
                  <a:cubicBezTo>
                    <a:pt x="2807" y="2518"/>
                    <a:pt x="2828" y="2502"/>
                    <a:pt x="2834" y="2479"/>
                  </a:cubicBezTo>
                  <a:cubicBezTo>
                    <a:pt x="2877" y="2318"/>
                    <a:pt x="2831" y="2144"/>
                    <a:pt x="2714" y="2027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>
              <a:normAutofit fontScale="92500" lnSpcReduction="10000"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40" name="椭圆 39">
            <a:extLst>
              <a:ext uri="{FF2B5EF4-FFF2-40B4-BE49-F238E27FC236}">
                <a16:creationId xmlns:a16="http://schemas.microsoft.com/office/drawing/2014/main" id="{D1FA4D27-D875-4A9E-AC55-16006ED4BCF0}"/>
              </a:ext>
            </a:extLst>
          </p:cNvPr>
          <p:cNvSpPr/>
          <p:nvPr/>
        </p:nvSpPr>
        <p:spPr>
          <a:xfrm>
            <a:off x="5588812" y="3347280"/>
            <a:ext cx="1754964" cy="1754964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r"/>
            <a:r>
              <a:rPr lang="en-US" altLang="zh-CN" sz="2800" b="1" i="1" dirty="0">
                <a:cs typeface="+mn-ea"/>
                <a:sym typeface="+mn-lt"/>
              </a:rPr>
              <a:t>83%</a:t>
            </a:r>
            <a:endParaRPr lang="zh-CN" altLang="en-US" sz="2800" b="1" i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609236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8000" dirty="0"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Designed by 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Speaker name and title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70" name="文本框 69">
            <a:extLst>
              <a:ext uri="{FF2B5EF4-FFF2-40B4-BE49-F238E27FC236}">
                <a16:creationId xmlns:a16="http://schemas.microsoft.com/office/drawing/2014/main" id="{7215C4D7-27C7-4365-B397-D9C639856819}"/>
              </a:ext>
            </a:extLst>
          </p:cNvPr>
          <p:cNvSpPr txBox="1"/>
          <p:nvPr/>
        </p:nvSpPr>
        <p:spPr>
          <a:xfrm>
            <a:off x="1394384" y="1638881"/>
            <a:ext cx="3911041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i="1" dirty="0">
                <a:cs typeface="+mn-ea"/>
                <a:sym typeface="+mn-lt"/>
              </a:rPr>
              <a:t>Text here</a:t>
            </a:r>
            <a:endParaRPr lang="zh-CN" altLang="en-US" b="1" i="1" dirty="0">
              <a:cs typeface="+mn-ea"/>
              <a:sym typeface="+mn-lt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41AC356D-D92E-4F1F-BF59-28B632E80FE8}"/>
              </a:ext>
            </a:extLst>
          </p:cNvPr>
          <p:cNvSpPr txBox="1"/>
          <p:nvPr/>
        </p:nvSpPr>
        <p:spPr>
          <a:xfrm>
            <a:off x="7435290" y="1638881"/>
            <a:ext cx="4083610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grpSp>
        <p:nvGrpSpPr>
          <p:cNvPr id="72" name="组合 71">
            <a:extLst>
              <a:ext uri="{FF2B5EF4-FFF2-40B4-BE49-F238E27FC236}">
                <a16:creationId xmlns:a16="http://schemas.microsoft.com/office/drawing/2014/main" id="{F8580DCD-5AC6-4DFF-98FF-EEEEDE85ECF7}"/>
              </a:ext>
            </a:extLst>
          </p:cNvPr>
          <p:cNvGrpSpPr/>
          <p:nvPr/>
        </p:nvGrpSpPr>
        <p:grpSpPr>
          <a:xfrm>
            <a:off x="1221815" y="2140199"/>
            <a:ext cx="10297085" cy="171781"/>
            <a:chOff x="1086882" y="3778501"/>
            <a:chExt cx="10432018" cy="208462"/>
          </a:xfrm>
        </p:grpSpPr>
        <p:sp>
          <p:nvSpPr>
            <p:cNvPr id="74" name="矩形: 圆角 73">
              <a:extLst>
                <a:ext uri="{FF2B5EF4-FFF2-40B4-BE49-F238E27FC236}">
                  <a16:creationId xmlns:a16="http://schemas.microsoft.com/office/drawing/2014/main" id="{EA90825D-6011-4674-AB9A-34DE8D588171}"/>
                </a:ext>
              </a:extLst>
            </p:cNvPr>
            <p:cNvSpPr/>
            <p:nvPr/>
          </p:nvSpPr>
          <p:spPr>
            <a:xfrm>
              <a:off x="1086882" y="3778501"/>
              <a:ext cx="10432018" cy="20846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矩形: 圆角 74">
              <a:extLst>
                <a:ext uri="{FF2B5EF4-FFF2-40B4-BE49-F238E27FC236}">
                  <a16:creationId xmlns:a16="http://schemas.microsoft.com/office/drawing/2014/main" id="{72965759-7F9C-45BF-935B-27EDF9373CE4}"/>
                </a:ext>
              </a:extLst>
            </p:cNvPr>
            <p:cNvSpPr/>
            <p:nvPr/>
          </p:nvSpPr>
          <p:spPr>
            <a:xfrm>
              <a:off x="1086882" y="3778501"/>
              <a:ext cx="3426253" cy="20846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73" name="椭圆 72">
            <a:extLst>
              <a:ext uri="{FF2B5EF4-FFF2-40B4-BE49-F238E27FC236}">
                <a16:creationId xmlns:a16="http://schemas.microsoft.com/office/drawing/2014/main" id="{F9C78669-6A24-4D0E-BA12-715A1F19D054}"/>
              </a:ext>
            </a:extLst>
          </p:cNvPr>
          <p:cNvSpPr/>
          <p:nvPr/>
        </p:nvSpPr>
        <p:spPr>
          <a:xfrm>
            <a:off x="673100" y="1865447"/>
            <a:ext cx="721284" cy="72128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/>
            </a:solidFill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36F9DF96-47B7-419C-92AB-E82385D844A6}"/>
              </a:ext>
            </a:extLst>
          </p:cNvPr>
          <p:cNvSpPr/>
          <p:nvPr/>
        </p:nvSpPr>
        <p:spPr bwMode="auto">
          <a:xfrm>
            <a:off x="838761" y="2066352"/>
            <a:ext cx="389964" cy="319476"/>
          </a:xfrm>
          <a:custGeom>
            <a:avLst/>
            <a:gdLst>
              <a:gd name="T0" fmla="*/ 3810 w 3810"/>
              <a:gd name="T1" fmla="*/ 1484 h 3126"/>
              <a:gd name="T2" fmla="*/ 1905 w 3810"/>
              <a:gd name="T3" fmla="*/ 0 h 3126"/>
              <a:gd name="T4" fmla="*/ 1096 w 3810"/>
              <a:gd name="T5" fmla="*/ 630 h 3126"/>
              <a:gd name="T6" fmla="*/ 1096 w 3810"/>
              <a:gd name="T7" fmla="*/ 297 h 3126"/>
              <a:gd name="T8" fmla="*/ 696 w 3810"/>
              <a:gd name="T9" fmla="*/ 297 h 3126"/>
              <a:gd name="T10" fmla="*/ 696 w 3810"/>
              <a:gd name="T11" fmla="*/ 942 h 3126"/>
              <a:gd name="T12" fmla="*/ 0 w 3810"/>
              <a:gd name="T13" fmla="*/ 1484 h 3126"/>
              <a:gd name="T14" fmla="*/ 246 w 3810"/>
              <a:gd name="T15" fmla="*/ 1799 h 3126"/>
              <a:gd name="T16" fmla="*/ 498 w 3810"/>
              <a:gd name="T17" fmla="*/ 1603 h 3126"/>
              <a:gd name="T18" fmla="*/ 498 w 3810"/>
              <a:gd name="T19" fmla="*/ 3126 h 3126"/>
              <a:gd name="T20" fmla="*/ 3312 w 3810"/>
              <a:gd name="T21" fmla="*/ 3126 h 3126"/>
              <a:gd name="T22" fmla="*/ 3312 w 3810"/>
              <a:gd name="T23" fmla="*/ 1603 h 3126"/>
              <a:gd name="T24" fmla="*/ 3564 w 3810"/>
              <a:gd name="T25" fmla="*/ 1799 h 3126"/>
              <a:gd name="T26" fmla="*/ 3810 w 3810"/>
              <a:gd name="T27" fmla="*/ 1484 h 3126"/>
              <a:gd name="T28" fmla="*/ 1732 w 3810"/>
              <a:gd name="T29" fmla="*/ 2665 h 3126"/>
              <a:gd name="T30" fmla="*/ 1732 w 3810"/>
              <a:gd name="T31" fmla="*/ 2092 h 3126"/>
              <a:gd name="T32" fmla="*/ 2078 w 3810"/>
              <a:gd name="T33" fmla="*/ 2092 h 3126"/>
              <a:gd name="T34" fmla="*/ 2078 w 3810"/>
              <a:gd name="T35" fmla="*/ 2665 h 3126"/>
              <a:gd name="T36" fmla="*/ 1732 w 3810"/>
              <a:gd name="T37" fmla="*/ 2665 h 3126"/>
              <a:gd name="T38" fmla="*/ 2912 w 3810"/>
              <a:gd name="T39" fmla="*/ 2726 h 3126"/>
              <a:gd name="T40" fmla="*/ 2478 w 3810"/>
              <a:gd name="T41" fmla="*/ 2726 h 3126"/>
              <a:gd name="T42" fmla="*/ 2478 w 3810"/>
              <a:gd name="T43" fmla="*/ 1692 h 3126"/>
              <a:gd name="T44" fmla="*/ 1332 w 3810"/>
              <a:gd name="T45" fmla="*/ 1692 h 3126"/>
              <a:gd name="T46" fmla="*/ 1332 w 3810"/>
              <a:gd name="T47" fmla="*/ 2726 h 3126"/>
              <a:gd name="T48" fmla="*/ 898 w 3810"/>
              <a:gd name="T49" fmla="*/ 2726 h 3126"/>
              <a:gd name="T50" fmla="*/ 898 w 3810"/>
              <a:gd name="T51" fmla="*/ 1291 h 3126"/>
              <a:gd name="T52" fmla="*/ 1905 w 3810"/>
              <a:gd name="T53" fmla="*/ 507 h 3126"/>
              <a:gd name="T54" fmla="*/ 2912 w 3810"/>
              <a:gd name="T55" fmla="*/ 1291 h 3126"/>
              <a:gd name="T56" fmla="*/ 2912 w 3810"/>
              <a:gd name="T57" fmla="*/ 2726 h 3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3810" h="3126">
                <a:moveTo>
                  <a:pt x="3810" y="1484"/>
                </a:moveTo>
                <a:lnTo>
                  <a:pt x="1905" y="0"/>
                </a:lnTo>
                <a:lnTo>
                  <a:pt x="1096" y="630"/>
                </a:lnTo>
                <a:lnTo>
                  <a:pt x="1096" y="297"/>
                </a:lnTo>
                <a:lnTo>
                  <a:pt x="696" y="297"/>
                </a:lnTo>
                <a:lnTo>
                  <a:pt x="696" y="942"/>
                </a:lnTo>
                <a:lnTo>
                  <a:pt x="0" y="1484"/>
                </a:lnTo>
                <a:lnTo>
                  <a:pt x="246" y="1799"/>
                </a:lnTo>
                <a:lnTo>
                  <a:pt x="498" y="1603"/>
                </a:lnTo>
                <a:lnTo>
                  <a:pt x="498" y="3126"/>
                </a:lnTo>
                <a:lnTo>
                  <a:pt x="3312" y="3126"/>
                </a:lnTo>
                <a:lnTo>
                  <a:pt x="3312" y="1603"/>
                </a:lnTo>
                <a:lnTo>
                  <a:pt x="3564" y="1799"/>
                </a:lnTo>
                <a:lnTo>
                  <a:pt x="3810" y="1484"/>
                </a:lnTo>
                <a:close/>
                <a:moveTo>
                  <a:pt x="1732" y="2665"/>
                </a:moveTo>
                <a:lnTo>
                  <a:pt x="1732" y="2092"/>
                </a:lnTo>
                <a:lnTo>
                  <a:pt x="2078" y="2092"/>
                </a:lnTo>
                <a:lnTo>
                  <a:pt x="2078" y="2665"/>
                </a:lnTo>
                <a:lnTo>
                  <a:pt x="1732" y="2665"/>
                </a:lnTo>
                <a:close/>
                <a:moveTo>
                  <a:pt x="2912" y="2726"/>
                </a:moveTo>
                <a:lnTo>
                  <a:pt x="2478" y="2726"/>
                </a:lnTo>
                <a:lnTo>
                  <a:pt x="2478" y="1692"/>
                </a:lnTo>
                <a:lnTo>
                  <a:pt x="1332" y="1692"/>
                </a:lnTo>
                <a:lnTo>
                  <a:pt x="1332" y="2726"/>
                </a:lnTo>
                <a:lnTo>
                  <a:pt x="898" y="2726"/>
                </a:lnTo>
                <a:lnTo>
                  <a:pt x="898" y="1291"/>
                </a:lnTo>
                <a:lnTo>
                  <a:pt x="1905" y="507"/>
                </a:lnTo>
                <a:lnTo>
                  <a:pt x="2912" y="1291"/>
                </a:lnTo>
                <a:lnTo>
                  <a:pt x="2912" y="272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763D1862-5852-45C5-A445-4E3FE32F5B22}"/>
              </a:ext>
            </a:extLst>
          </p:cNvPr>
          <p:cNvSpPr txBox="1"/>
          <p:nvPr/>
        </p:nvSpPr>
        <p:spPr>
          <a:xfrm>
            <a:off x="1394384" y="2656043"/>
            <a:ext cx="3911041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i="1" dirty="0">
                <a:cs typeface="+mn-ea"/>
                <a:sym typeface="+mn-lt"/>
              </a:rPr>
              <a:t>Text here</a:t>
            </a:r>
            <a:endParaRPr lang="zh-CN" altLang="en-US" b="1" i="1" dirty="0">
              <a:cs typeface="+mn-ea"/>
              <a:sym typeface="+mn-lt"/>
            </a:endParaRPr>
          </a:p>
        </p:txBody>
      </p:sp>
      <p:sp>
        <p:nvSpPr>
          <p:cNvPr id="63" name="文本框 62">
            <a:extLst>
              <a:ext uri="{FF2B5EF4-FFF2-40B4-BE49-F238E27FC236}">
                <a16:creationId xmlns:a16="http://schemas.microsoft.com/office/drawing/2014/main" id="{EA868517-9E31-489B-925C-99E875F9F43F}"/>
              </a:ext>
            </a:extLst>
          </p:cNvPr>
          <p:cNvSpPr txBox="1"/>
          <p:nvPr/>
        </p:nvSpPr>
        <p:spPr>
          <a:xfrm>
            <a:off x="7435290" y="2656043"/>
            <a:ext cx="4083610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DF49EE1A-5945-42BF-9E31-C41B7D33CC49}"/>
              </a:ext>
            </a:extLst>
          </p:cNvPr>
          <p:cNvGrpSpPr/>
          <p:nvPr/>
        </p:nvGrpSpPr>
        <p:grpSpPr>
          <a:xfrm>
            <a:off x="1221815" y="3157361"/>
            <a:ext cx="10297085" cy="171781"/>
            <a:chOff x="1086882" y="3778501"/>
            <a:chExt cx="10432018" cy="208462"/>
          </a:xfrm>
        </p:grpSpPr>
        <p:sp>
          <p:nvSpPr>
            <p:cNvPr id="66" name="矩形: 圆角 65">
              <a:extLst>
                <a:ext uri="{FF2B5EF4-FFF2-40B4-BE49-F238E27FC236}">
                  <a16:creationId xmlns:a16="http://schemas.microsoft.com/office/drawing/2014/main" id="{220ADF8D-7F03-4471-B292-EA9F8727E8DC}"/>
                </a:ext>
              </a:extLst>
            </p:cNvPr>
            <p:cNvSpPr/>
            <p:nvPr/>
          </p:nvSpPr>
          <p:spPr>
            <a:xfrm>
              <a:off x="1086882" y="3778501"/>
              <a:ext cx="10432018" cy="20846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矩形: 圆角 66">
              <a:extLst>
                <a:ext uri="{FF2B5EF4-FFF2-40B4-BE49-F238E27FC236}">
                  <a16:creationId xmlns:a16="http://schemas.microsoft.com/office/drawing/2014/main" id="{97507A50-84AD-43E2-B66B-192D76EE8CAC}"/>
                </a:ext>
              </a:extLst>
            </p:cNvPr>
            <p:cNvSpPr/>
            <p:nvPr/>
          </p:nvSpPr>
          <p:spPr>
            <a:xfrm>
              <a:off x="1086882" y="3778501"/>
              <a:ext cx="5523479" cy="208462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65" name="椭圆 64">
            <a:extLst>
              <a:ext uri="{FF2B5EF4-FFF2-40B4-BE49-F238E27FC236}">
                <a16:creationId xmlns:a16="http://schemas.microsoft.com/office/drawing/2014/main" id="{4F041C75-E7DB-4315-85FC-F88FA521F2B3}"/>
              </a:ext>
            </a:extLst>
          </p:cNvPr>
          <p:cNvSpPr/>
          <p:nvPr/>
        </p:nvSpPr>
        <p:spPr>
          <a:xfrm>
            <a:off x="673100" y="2882609"/>
            <a:ext cx="721284" cy="72128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EAB1C6B1-6D80-4ADF-93A1-DF4C87CA9FCA}"/>
              </a:ext>
            </a:extLst>
          </p:cNvPr>
          <p:cNvSpPr/>
          <p:nvPr/>
        </p:nvSpPr>
        <p:spPr bwMode="auto">
          <a:xfrm>
            <a:off x="844056" y="3048270"/>
            <a:ext cx="379374" cy="389964"/>
          </a:xfrm>
          <a:custGeom>
            <a:avLst/>
            <a:gdLst>
              <a:gd name="connsiteX0" fmla="*/ 289678 w 561751"/>
              <a:gd name="connsiteY0" fmla="*/ 418094 h 577432"/>
              <a:gd name="connsiteX1" fmla="*/ 325629 w 561751"/>
              <a:gd name="connsiteY1" fmla="*/ 447552 h 577432"/>
              <a:gd name="connsiteX2" fmla="*/ 289678 w 561751"/>
              <a:gd name="connsiteY2" fmla="*/ 476089 h 577432"/>
              <a:gd name="connsiteX3" fmla="*/ 273108 w 561751"/>
              <a:gd name="connsiteY3" fmla="*/ 325037 h 577432"/>
              <a:gd name="connsiteX4" fmla="*/ 273108 w 561751"/>
              <a:gd name="connsiteY4" fmla="*/ 376670 h 577432"/>
              <a:gd name="connsiteX5" fmla="*/ 239820 w 561751"/>
              <a:gd name="connsiteY5" fmla="*/ 349931 h 577432"/>
              <a:gd name="connsiteX6" fmla="*/ 273108 w 561751"/>
              <a:gd name="connsiteY6" fmla="*/ 325037 h 577432"/>
              <a:gd name="connsiteX7" fmla="*/ 281337 w 561751"/>
              <a:gd name="connsiteY7" fmla="*/ 269795 h 577432"/>
              <a:gd name="connsiteX8" fmla="*/ 273037 w 561751"/>
              <a:gd name="connsiteY8" fmla="*/ 279927 h 577432"/>
              <a:gd name="connsiteX9" fmla="*/ 273037 w 561751"/>
              <a:gd name="connsiteY9" fmla="*/ 295585 h 577432"/>
              <a:gd name="connsiteX10" fmla="*/ 203869 w 561751"/>
              <a:gd name="connsiteY10" fmla="*/ 356376 h 577432"/>
              <a:gd name="connsiteX11" fmla="*/ 273037 w 561751"/>
              <a:gd name="connsiteY11" fmla="*/ 415324 h 577432"/>
              <a:gd name="connsiteX12" fmla="*/ 273037 w 561751"/>
              <a:gd name="connsiteY12" fmla="*/ 476115 h 577432"/>
              <a:gd name="connsiteX13" fmla="*/ 216781 w 561751"/>
              <a:gd name="connsiteY13" fmla="*/ 433745 h 577432"/>
              <a:gd name="connsiteX14" fmla="*/ 199258 w 561751"/>
              <a:gd name="connsiteY14" fmla="*/ 452167 h 577432"/>
              <a:gd name="connsiteX15" fmla="*/ 273037 w 561751"/>
              <a:gd name="connsiteY15" fmla="*/ 505589 h 577432"/>
              <a:gd name="connsiteX16" fmla="*/ 273037 w 561751"/>
              <a:gd name="connsiteY16" fmla="*/ 523089 h 577432"/>
              <a:gd name="connsiteX17" fmla="*/ 281337 w 561751"/>
              <a:gd name="connsiteY17" fmla="*/ 533221 h 577432"/>
              <a:gd name="connsiteX18" fmla="*/ 289637 w 561751"/>
              <a:gd name="connsiteY18" fmla="*/ 523089 h 577432"/>
              <a:gd name="connsiteX19" fmla="*/ 289637 w 561751"/>
              <a:gd name="connsiteY19" fmla="*/ 505589 h 577432"/>
              <a:gd name="connsiteX20" fmla="*/ 362494 w 561751"/>
              <a:gd name="connsiteY20" fmla="*/ 443877 h 577432"/>
              <a:gd name="connsiteX21" fmla="*/ 289637 w 561751"/>
              <a:gd name="connsiteY21" fmla="*/ 380323 h 577432"/>
              <a:gd name="connsiteX22" fmla="*/ 289637 w 561751"/>
              <a:gd name="connsiteY22" fmla="*/ 325059 h 577432"/>
              <a:gd name="connsiteX23" fmla="*/ 340360 w 561751"/>
              <a:gd name="connsiteY23" fmla="*/ 356376 h 577432"/>
              <a:gd name="connsiteX24" fmla="*/ 358805 w 561751"/>
              <a:gd name="connsiteY24" fmla="*/ 338875 h 577432"/>
              <a:gd name="connsiteX25" fmla="*/ 289637 w 561751"/>
              <a:gd name="connsiteY25" fmla="*/ 295585 h 577432"/>
              <a:gd name="connsiteX26" fmla="*/ 289637 w 561751"/>
              <a:gd name="connsiteY26" fmla="*/ 279927 h 577432"/>
              <a:gd name="connsiteX27" fmla="*/ 281337 w 561751"/>
              <a:gd name="connsiteY27" fmla="*/ 269795 h 577432"/>
              <a:gd name="connsiteX28" fmla="*/ 280415 w 561751"/>
              <a:gd name="connsiteY28" fmla="*/ 226505 h 577432"/>
              <a:gd name="connsiteX29" fmla="*/ 456562 w 561751"/>
              <a:gd name="connsiteY29" fmla="*/ 401508 h 577432"/>
              <a:gd name="connsiteX30" fmla="*/ 280415 w 561751"/>
              <a:gd name="connsiteY30" fmla="*/ 577432 h 577432"/>
              <a:gd name="connsiteX31" fmla="*/ 105190 w 561751"/>
              <a:gd name="connsiteY31" fmla="*/ 401508 h 577432"/>
              <a:gd name="connsiteX32" fmla="*/ 280415 w 561751"/>
              <a:gd name="connsiteY32" fmla="*/ 226505 h 577432"/>
              <a:gd name="connsiteX33" fmla="*/ 421555 w 561751"/>
              <a:gd name="connsiteY33" fmla="*/ 69978 h 577432"/>
              <a:gd name="connsiteX34" fmla="*/ 561751 w 561751"/>
              <a:gd name="connsiteY34" fmla="*/ 210866 h 577432"/>
              <a:gd name="connsiteX35" fmla="*/ 481507 w 561751"/>
              <a:gd name="connsiteY35" fmla="*/ 337020 h 577432"/>
              <a:gd name="connsiteX36" fmla="*/ 462138 w 561751"/>
              <a:gd name="connsiteY36" fmla="*/ 294662 h 577432"/>
              <a:gd name="connsiteX37" fmla="*/ 485197 w 561751"/>
              <a:gd name="connsiteY37" fmla="*/ 274403 h 577432"/>
              <a:gd name="connsiteX38" fmla="*/ 472284 w 561751"/>
              <a:gd name="connsiteY38" fmla="*/ 259670 h 577432"/>
              <a:gd name="connsiteX39" fmla="*/ 454759 w 561751"/>
              <a:gd name="connsiteY39" fmla="*/ 262432 h 577432"/>
              <a:gd name="connsiteX40" fmla="*/ 436312 w 561751"/>
              <a:gd name="connsiteY40" fmla="*/ 259670 h 577432"/>
              <a:gd name="connsiteX41" fmla="*/ 414176 w 561751"/>
              <a:gd name="connsiteY41" fmla="*/ 239412 h 577432"/>
              <a:gd name="connsiteX42" fmla="*/ 416943 w 561751"/>
              <a:gd name="connsiteY42" fmla="*/ 228362 h 577432"/>
              <a:gd name="connsiteX43" fmla="*/ 416021 w 561751"/>
              <a:gd name="connsiteY43" fmla="*/ 222837 h 577432"/>
              <a:gd name="connsiteX44" fmla="*/ 434468 w 561751"/>
              <a:gd name="connsiteY44" fmla="*/ 222837 h 577432"/>
              <a:gd name="connsiteX45" fmla="*/ 448303 w 561751"/>
              <a:gd name="connsiteY45" fmla="*/ 211787 h 577432"/>
              <a:gd name="connsiteX46" fmla="*/ 434468 w 561751"/>
              <a:gd name="connsiteY46" fmla="*/ 199816 h 577432"/>
              <a:gd name="connsiteX47" fmla="*/ 408642 w 561751"/>
              <a:gd name="connsiteY47" fmla="*/ 199816 h 577432"/>
              <a:gd name="connsiteX48" fmla="*/ 401263 w 561751"/>
              <a:gd name="connsiteY48" fmla="*/ 177716 h 577432"/>
              <a:gd name="connsiteX49" fmla="*/ 428011 w 561751"/>
              <a:gd name="connsiteY49" fmla="*/ 154695 h 577432"/>
              <a:gd name="connsiteX50" fmla="*/ 466750 w 561751"/>
              <a:gd name="connsiteY50" fmla="*/ 182320 h 577432"/>
              <a:gd name="connsiteX51" fmla="*/ 484274 w 561751"/>
              <a:gd name="connsiteY51" fmla="*/ 166666 h 577432"/>
              <a:gd name="connsiteX52" fmla="*/ 424322 w 561751"/>
              <a:gd name="connsiteY52" fmla="*/ 126149 h 577432"/>
              <a:gd name="connsiteX53" fmla="*/ 366214 w 561751"/>
              <a:gd name="connsiteY53" fmla="*/ 175874 h 577432"/>
              <a:gd name="connsiteX54" fmla="*/ 372671 w 561751"/>
              <a:gd name="connsiteY54" fmla="*/ 199816 h 577432"/>
              <a:gd name="connsiteX55" fmla="*/ 368059 w 561751"/>
              <a:gd name="connsiteY55" fmla="*/ 199816 h 577432"/>
              <a:gd name="connsiteX56" fmla="*/ 357913 w 561751"/>
              <a:gd name="connsiteY56" fmla="*/ 206261 h 577432"/>
              <a:gd name="connsiteX57" fmla="*/ 282281 w 561751"/>
              <a:gd name="connsiteY57" fmla="*/ 191528 h 577432"/>
              <a:gd name="connsiteX58" fmla="*/ 421555 w 561751"/>
              <a:gd name="connsiteY58" fmla="*/ 69978 h 577432"/>
              <a:gd name="connsiteX59" fmla="*/ 93180 w 561751"/>
              <a:gd name="connsiteY59" fmla="*/ 56187 h 577432"/>
              <a:gd name="connsiteX60" fmla="*/ 72883 w 561751"/>
              <a:gd name="connsiteY60" fmla="*/ 73688 h 577432"/>
              <a:gd name="connsiteX61" fmla="*/ 76574 w 561751"/>
              <a:gd name="connsiteY61" fmla="*/ 82899 h 577432"/>
              <a:gd name="connsiteX62" fmla="*/ 107019 w 561751"/>
              <a:gd name="connsiteY62" fmla="*/ 133559 h 577432"/>
              <a:gd name="connsiteX63" fmla="*/ 93180 w 561751"/>
              <a:gd name="connsiteY63" fmla="*/ 133559 h 577432"/>
              <a:gd name="connsiteX64" fmla="*/ 83954 w 561751"/>
              <a:gd name="connsiteY64" fmla="*/ 141849 h 577432"/>
              <a:gd name="connsiteX65" fmla="*/ 93180 w 561751"/>
              <a:gd name="connsiteY65" fmla="*/ 151060 h 577432"/>
              <a:gd name="connsiteX66" fmla="*/ 118090 w 561751"/>
              <a:gd name="connsiteY66" fmla="*/ 151060 h 577432"/>
              <a:gd name="connsiteX67" fmla="*/ 121780 w 561751"/>
              <a:gd name="connsiteY67" fmla="*/ 158429 h 577432"/>
              <a:gd name="connsiteX68" fmla="*/ 121780 w 561751"/>
              <a:gd name="connsiteY68" fmla="*/ 164876 h 577432"/>
              <a:gd name="connsiteX69" fmla="*/ 93180 w 561751"/>
              <a:gd name="connsiteY69" fmla="*/ 164876 h 577432"/>
              <a:gd name="connsiteX70" fmla="*/ 83954 w 561751"/>
              <a:gd name="connsiteY70" fmla="*/ 174087 h 577432"/>
              <a:gd name="connsiteX71" fmla="*/ 93180 w 561751"/>
              <a:gd name="connsiteY71" fmla="*/ 182377 h 577432"/>
              <a:gd name="connsiteX72" fmla="*/ 121780 w 561751"/>
              <a:gd name="connsiteY72" fmla="*/ 182377 h 577432"/>
              <a:gd name="connsiteX73" fmla="*/ 121780 w 561751"/>
              <a:gd name="connsiteY73" fmla="*/ 205404 h 577432"/>
              <a:gd name="connsiteX74" fmla="*/ 140231 w 561751"/>
              <a:gd name="connsiteY74" fmla="*/ 224748 h 577432"/>
              <a:gd name="connsiteX75" fmla="*/ 158683 w 561751"/>
              <a:gd name="connsiteY75" fmla="*/ 205404 h 577432"/>
              <a:gd name="connsiteX76" fmla="*/ 158683 w 561751"/>
              <a:gd name="connsiteY76" fmla="*/ 182377 h 577432"/>
              <a:gd name="connsiteX77" fmla="*/ 187283 w 561751"/>
              <a:gd name="connsiteY77" fmla="*/ 182377 h 577432"/>
              <a:gd name="connsiteX78" fmla="*/ 196508 w 561751"/>
              <a:gd name="connsiteY78" fmla="*/ 174087 h 577432"/>
              <a:gd name="connsiteX79" fmla="*/ 187283 w 561751"/>
              <a:gd name="connsiteY79" fmla="*/ 164876 h 577432"/>
              <a:gd name="connsiteX80" fmla="*/ 158683 w 561751"/>
              <a:gd name="connsiteY80" fmla="*/ 164876 h 577432"/>
              <a:gd name="connsiteX81" fmla="*/ 158683 w 561751"/>
              <a:gd name="connsiteY81" fmla="*/ 158429 h 577432"/>
              <a:gd name="connsiteX82" fmla="*/ 162373 w 561751"/>
              <a:gd name="connsiteY82" fmla="*/ 151060 h 577432"/>
              <a:gd name="connsiteX83" fmla="*/ 187283 w 561751"/>
              <a:gd name="connsiteY83" fmla="*/ 151060 h 577432"/>
              <a:gd name="connsiteX84" fmla="*/ 196508 w 561751"/>
              <a:gd name="connsiteY84" fmla="*/ 141849 h 577432"/>
              <a:gd name="connsiteX85" fmla="*/ 187283 w 561751"/>
              <a:gd name="connsiteY85" fmla="*/ 133559 h 577432"/>
              <a:gd name="connsiteX86" fmla="*/ 173444 w 561751"/>
              <a:gd name="connsiteY86" fmla="*/ 133559 h 577432"/>
              <a:gd name="connsiteX87" fmla="*/ 203889 w 561751"/>
              <a:gd name="connsiteY87" fmla="*/ 82899 h 577432"/>
              <a:gd name="connsiteX88" fmla="*/ 206657 w 561751"/>
              <a:gd name="connsiteY88" fmla="*/ 73688 h 577432"/>
              <a:gd name="connsiteX89" fmla="*/ 187283 w 561751"/>
              <a:gd name="connsiteY89" fmla="*/ 56187 h 577432"/>
              <a:gd name="connsiteX90" fmla="*/ 171599 w 561751"/>
              <a:gd name="connsiteY90" fmla="*/ 67240 h 577432"/>
              <a:gd name="connsiteX91" fmla="*/ 140231 w 561751"/>
              <a:gd name="connsiteY91" fmla="*/ 126190 h 577432"/>
              <a:gd name="connsiteX92" fmla="*/ 108864 w 561751"/>
              <a:gd name="connsiteY92" fmla="*/ 67240 h 577432"/>
              <a:gd name="connsiteX93" fmla="*/ 93180 w 561751"/>
              <a:gd name="connsiteY93" fmla="*/ 56187 h 577432"/>
              <a:gd name="connsiteX94" fmla="*/ 140231 w 561751"/>
              <a:gd name="connsiteY94" fmla="*/ 0 h 577432"/>
              <a:gd name="connsiteX95" fmla="*/ 277695 w 561751"/>
              <a:gd name="connsiteY95" fmla="*/ 110532 h 577432"/>
              <a:gd name="connsiteX96" fmla="*/ 246327 w 561751"/>
              <a:gd name="connsiteY96" fmla="*/ 194351 h 577432"/>
              <a:gd name="connsiteX97" fmla="*/ 110709 w 561751"/>
              <a:gd name="connsiteY97" fmla="*/ 277250 h 577432"/>
              <a:gd name="connsiteX98" fmla="*/ 0 w 561751"/>
              <a:gd name="connsiteY98" fmla="*/ 140007 h 577432"/>
              <a:gd name="connsiteX99" fmla="*/ 140231 w 561751"/>
              <a:gd name="connsiteY99" fmla="*/ 0 h 577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</a:cxnLst>
            <a:rect l="l" t="t" r="r" b="b"/>
            <a:pathLst>
              <a:path w="561751" h="577432">
                <a:moveTo>
                  <a:pt x="289678" y="418094"/>
                </a:moveTo>
                <a:cubicBezTo>
                  <a:pt x="305349" y="421776"/>
                  <a:pt x="325629" y="427300"/>
                  <a:pt x="325629" y="447552"/>
                </a:cubicBezTo>
                <a:cubicBezTo>
                  <a:pt x="325629" y="466883"/>
                  <a:pt x="307193" y="474248"/>
                  <a:pt x="289678" y="476089"/>
                </a:cubicBezTo>
                <a:close/>
                <a:moveTo>
                  <a:pt x="273108" y="325037"/>
                </a:moveTo>
                <a:lnTo>
                  <a:pt x="273108" y="376670"/>
                </a:lnTo>
                <a:cubicBezTo>
                  <a:pt x="250916" y="372982"/>
                  <a:pt x="239820" y="363762"/>
                  <a:pt x="239820" y="349931"/>
                </a:cubicBezTo>
                <a:cubicBezTo>
                  <a:pt x="239820" y="337023"/>
                  <a:pt x="252765" y="325959"/>
                  <a:pt x="273108" y="325037"/>
                </a:cubicBezTo>
                <a:close/>
                <a:moveTo>
                  <a:pt x="281337" y="269795"/>
                </a:moveTo>
                <a:cubicBezTo>
                  <a:pt x="276726" y="269795"/>
                  <a:pt x="273037" y="275322"/>
                  <a:pt x="273037" y="279927"/>
                </a:cubicBezTo>
                <a:lnTo>
                  <a:pt x="273037" y="295585"/>
                </a:lnTo>
                <a:cubicBezTo>
                  <a:pt x="236148" y="296506"/>
                  <a:pt x="203869" y="316770"/>
                  <a:pt x="203869" y="356376"/>
                </a:cubicBezTo>
                <a:cubicBezTo>
                  <a:pt x="203869" y="388613"/>
                  <a:pt x="229692" y="407034"/>
                  <a:pt x="273037" y="415324"/>
                </a:cubicBezTo>
                <a:lnTo>
                  <a:pt x="273037" y="476115"/>
                </a:lnTo>
                <a:cubicBezTo>
                  <a:pt x="224158" y="474272"/>
                  <a:pt x="249981" y="433745"/>
                  <a:pt x="216781" y="433745"/>
                </a:cubicBezTo>
                <a:cubicBezTo>
                  <a:pt x="205714" y="433745"/>
                  <a:pt x="199258" y="440193"/>
                  <a:pt x="199258" y="452167"/>
                </a:cubicBezTo>
                <a:cubicBezTo>
                  <a:pt x="199258" y="475193"/>
                  <a:pt x="223236" y="504668"/>
                  <a:pt x="273037" y="505589"/>
                </a:cubicBezTo>
                <a:lnTo>
                  <a:pt x="273037" y="523089"/>
                </a:lnTo>
                <a:cubicBezTo>
                  <a:pt x="273037" y="528615"/>
                  <a:pt x="276726" y="533221"/>
                  <a:pt x="281337" y="533221"/>
                </a:cubicBezTo>
                <a:cubicBezTo>
                  <a:pt x="285948" y="533221"/>
                  <a:pt x="289637" y="528615"/>
                  <a:pt x="289637" y="523089"/>
                </a:cubicBezTo>
                <a:lnTo>
                  <a:pt x="289637" y="505589"/>
                </a:lnTo>
                <a:cubicBezTo>
                  <a:pt x="332982" y="502825"/>
                  <a:pt x="362494" y="483483"/>
                  <a:pt x="362494" y="443877"/>
                </a:cubicBezTo>
                <a:cubicBezTo>
                  <a:pt x="362494" y="399666"/>
                  <a:pt x="328371" y="388613"/>
                  <a:pt x="289637" y="380323"/>
                </a:cubicBezTo>
                <a:lnTo>
                  <a:pt x="289637" y="325059"/>
                </a:lnTo>
                <a:cubicBezTo>
                  <a:pt x="321916" y="325980"/>
                  <a:pt x="321916" y="356376"/>
                  <a:pt x="340360" y="356376"/>
                </a:cubicBezTo>
                <a:cubicBezTo>
                  <a:pt x="350505" y="356376"/>
                  <a:pt x="358805" y="349928"/>
                  <a:pt x="358805" y="338875"/>
                </a:cubicBezTo>
                <a:cubicBezTo>
                  <a:pt x="358805" y="310322"/>
                  <a:pt x="312693" y="295585"/>
                  <a:pt x="289637" y="295585"/>
                </a:cubicBezTo>
                <a:lnTo>
                  <a:pt x="289637" y="279927"/>
                </a:lnTo>
                <a:cubicBezTo>
                  <a:pt x="289637" y="275322"/>
                  <a:pt x="285948" y="269795"/>
                  <a:pt x="281337" y="269795"/>
                </a:cubicBezTo>
                <a:close/>
                <a:moveTo>
                  <a:pt x="280415" y="226505"/>
                </a:moveTo>
                <a:cubicBezTo>
                  <a:pt x="377250" y="226505"/>
                  <a:pt x="456562" y="304796"/>
                  <a:pt x="456562" y="401508"/>
                </a:cubicBezTo>
                <a:cubicBezTo>
                  <a:pt x="456562" y="498220"/>
                  <a:pt x="377250" y="577432"/>
                  <a:pt x="280415" y="577432"/>
                </a:cubicBezTo>
                <a:cubicBezTo>
                  <a:pt x="183580" y="577432"/>
                  <a:pt x="105190" y="498220"/>
                  <a:pt x="105190" y="401508"/>
                </a:cubicBezTo>
                <a:cubicBezTo>
                  <a:pt x="105190" y="304796"/>
                  <a:pt x="183580" y="226505"/>
                  <a:pt x="280415" y="226505"/>
                </a:cubicBezTo>
                <a:close/>
                <a:moveTo>
                  <a:pt x="421555" y="69978"/>
                </a:moveTo>
                <a:cubicBezTo>
                  <a:pt x="499032" y="69978"/>
                  <a:pt x="561751" y="133516"/>
                  <a:pt x="561751" y="210866"/>
                </a:cubicBezTo>
                <a:cubicBezTo>
                  <a:pt x="561751" y="266116"/>
                  <a:pt x="528547" y="314920"/>
                  <a:pt x="481507" y="337020"/>
                </a:cubicBezTo>
                <a:cubicBezTo>
                  <a:pt x="475973" y="322287"/>
                  <a:pt x="469517" y="307553"/>
                  <a:pt x="462138" y="294662"/>
                </a:cubicBezTo>
                <a:cubicBezTo>
                  <a:pt x="474128" y="293741"/>
                  <a:pt x="485197" y="288216"/>
                  <a:pt x="485197" y="274403"/>
                </a:cubicBezTo>
                <a:cubicBezTo>
                  <a:pt x="485197" y="266116"/>
                  <a:pt x="480585" y="259670"/>
                  <a:pt x="472284" y="259670"/>
                </a:cubicBezTo>
                <a:cubicBezTo>
                  <a:pt x="468594" y="259670"/>
                  <a:pt x="458449" y="262432"/>
                  <a:pt x="454759" y="262432"/>
                </a:cubicBezTo>
                <a:cubicBezTo>
                  <a:pt x="448303" y="262432"/>
                  <a:pt x="442769" y="260591"/>
                  <a:pt x="436312" y="259670"/>
                </a:cubicBezTo>
                <a:cubicBezTo>
                  <a:pt x="428934" y="252303"/>
                  <a:pt x="422477" y="245857"/>
                  <a:pt x="414176" y="239412"/>
                </a:cubicBezTo>
                <a:cubicBezTo>
                  <a:pt x="416021" y="235728"/>
                  <a:pt x="416943" y="232045"/>
                  <a:pt x="416943" y="228362"/>
                </a:cubicBezTo>
                <a:cubicBezTo>
                  <a:pt x="416943" y="225599"/>
                  <a:pt x="416943" y="224678"/>
                  <a:pt x="416021" y="222837"/>
                </a:cubicBezTo>
                <a:lnTo>
                  <a:pt x="434468" y="222837"/>
                </a:lnTo>
                <a:cubicBezTo>
                  <a:pt x="443691" y="222837"/>
                  <a:pt x="448303" y="219153"/>
                  <a:pt x="448303" y="211787"/>
                </a:cubicBezTo>
                <a:cubicBezTo>
                  <a:pt x="448303" y="203499"/>
                  <a:pt x="443691" y="199816"/>
                  <a:pt x="434468" y="199816"/>
                </a:cubicBezTo>
                <a:lnTo>
                  <a:pt x="408642" y="199816"/>
                </a:lnTo>
                <a:cubicBezTo>
                  <a:pt x="404953" y="193370"/>
                  <a:pt x="401263" y="185082"/>
                  <a:pt x="401263" y="177716"/>
                </a:cubicBezTo>
                <a:cubicBezTo>
                  <a:pt x="401263" y="162061"/>
                  <a:pt x="414176" y="154695"/>
                  <a:pt x="428011" y="154695"/>
                </a:cubicBezTo>
                <a:cubicBezTo>
                  <a:pt x="459371" y="154695"/>
                  <a:pt x="446458" y="182320"/>
                  <a:pt x="466750" y="182320"/>
                </a:cubicBezTo>
                <a:cubicBezTo>
                  <a:pt x="477818" y="182320"/>
                  <a:pt x="484274" y="176795"/>
                  <a:pt x="484274" y="166666"/>
                </a:cubicBezTo>
                <a:cubicBezTo>
                  <a:pt x="484274" y="148249"/>
                  <a:pt x="464905" y="126149"/>
                  <a:pt x="424322" y="126149"/>
                </a:cubicBezTo>
                <a:cubicBezTo>
                  <a:pt x="391117" y="126149"/>
                  <a:pt x="366214" y="146407"/>
                  <a:pt x="366214" y="175874"/>
                </a:cubicBezTo>
                <a:cubicBezTo>
                  <a:pt x="366214" y="184161"/>
                  <a:pt x="368059" y="193370"/>
                  <a:pt x="372671" y="199816"/>
                </a:cubicBezTo>
                <a:lnTo>
                  <a:pt x="368059" y="199816"/>
                </a:lnTo>
                <a:cubicBezTo>
                  <a:pt x="362525" y="199816"/>
                  <a:pt x="359758" y="202578"/>
                  <a:pt x="357913" y="206261"/>
                </a:cubicBezTo>
                <a:cubicBezTo>
                  <a:pt x="334855" y="197053"/>
                  <a:pt x="309029" y="191528"/>
                  <a:pt x="282281" y="191528"/>
                </a:cubicBezTo>
                <a:cubicBezTo>
                  <a:pt x="291504" y="123386"/>
                  <a:pt x="350534" y="69978"/>
                  <a:pt x="421555" y="69978"/>
                </a:cubicBezTo>
                <a:close/>
                <a:moveTo>
                  <a:pt x="93180" y="56187"/>
                </a:moveTo>
                <a:cubicBezTo>
                  <a:pt x="84877" y="56187"/>
                  <a:pt x="72883" y="60792"/>
                  <a:pt x="72883" y="73688"/>
                </a:cubicBezTo>
                <a:cubicBezTo>
                  <a:pt x="72883" y="76451"/>
                  <a:pt x="74729" y="80135"/>
                  <a:pt x="76574" y="82899"/>
                </a:cubicBezTo>
                <a:lnTo>
                  <a:pt x="107019" y="133559"/>
                </a:lnTo>
                <a:lnTo>
                  <a:pt x="93180" y="133559"/>
                </a:lnTo>
                <a:cubicBezTo>
                  <a:pt x="87645" y="133559"/>
                  <a:pt x="83954" y="137243"/>
                  <a:pt x="83954" y="141849"/>
                </a:cubicBezTo>
                <a:cubicBezTo>
                  <a:pt x="83954" y="147375"/>
                  <a:pt x="87645" y="151060"/>
                  <a:pt x="93180" y="151060"/>
                </a:cubicBezTo>
                <a:lnTo>
                  <a:pt x="118090" y="151060"/>
                </a:lnTo>
                <a:lnTo>
                  <a:pt x="121780" y="158429"/>
                </a:lnTo>
                <a:lnTo>
                  <a:pt x="121780" y="164876"/>
                </a:lnTo>
                <a:lnTo>
                  <a:pt x="93180" y="164876"/>
                </a:lnTo>
                <a:cubicBezTo>
                  <a:pt x="87645" y="164876"/>
                  <a:pt x="83954" y="168561"/>
                  <a:pt x="83954" y="174087"/>
                </a:cubicBezTo>
                <a:cubicBezTo>
                  <a:pt x="83954" y="178693"/>
                  <a:pt x="87645" y="182377"/>
                  <a:pt x="93180" y="182377"/>
                </a:cubicBezTo>
                <a:lnTo>
                  <a:pt x="121780" y="182377"/>
                </a:lnTo>
                <a:lnTo>
                  <a:pt x="121780" y="205404"/>
                </a:lnTo>
                <a:cubicBezTo>
                  <a:pt x="121780" y="217379"/>
                  <a:pt x="128238" y="224748"/>
                  <a:pt x="140231" y="224748"/>
                </a:cubicBezTo>
                <a:cubicBezTo>
                  <a:pt x="152225" y="224748"/>
                  <a:pt x="158683" y="217379"/>
                  <a:pt x="158683" y="205404"/>
                </a:cubicBezTo>
                <a:lnTo>
                  <a:pt x="158683" y="182377"/>
                </a:lnTo>
                <a:lnTo>
                  <a:pt x="187283" y="182377"/>
                </a:lnTo>
                <a:cubicBezTo>
                  <a:pt x="192818" y="182377"/>
                  <a:pt x="196508" y="178693"/>
                  <a:pt x="196508" y="174087"/>
                </a:cubicBezTo>
                <a:cubicBezTo>
                  <a:pt x="196508" y="168561"/>
                  <a:pt x="192818" y="164876"/>
                  <a:pt x="187283" y="164876"/>
                </a:cubicBezTo>
                <a:lnTo>
                  <a:pt x="158683" y="164876"/>
                </a:lnTo>
                <a:lnTo>
                  <a:pt x="158683" y="158429"/>
                </a:lnTo>
                <a:lnTo>
                  <a:pt x="162373" y="151060"/>
                </a:lnTo>
                <a:lnTo>
                  <a:pt x="187283" y="151060"/>
                </a:lnTo>
                <a:cubicBezTo>
                  <a:pt x="192818" y="151060"/>
                  <a:pt x="196508" y="147375"/>
                  <a:pt x="196508" y="141849"/>
                </a:cubicBezTo>
                <a:cubicBezTo>
                  <a:pt x="196508" y="137243"/>
                  <a:pt x="192818" y="133559"/>
                  <a:pt x="187283" y="133559"/>
                </a:cubicBezTo>
                <a:lnTo>
                  <a:pt x="173444" y="133559"/>
                </a:lnTo>
                <a:lnTo>
                  <a:pt x="203889" y="82899"/>
                </a:lnTo>
                <a:cubicBezTo>
                  <a:pt x="205734" y="80135"/>
                  <a:pt x="206657" y="76451"/>
                  <a:pt x="206657" y="73688"/>
                </a:cubicBezTo>
                <a:cubicBezTo>
                  <a:pt x="206657" y="60792"/>
                  <a:pt x="195586" y="56187"/>
                  <a:pt x="187283" y="56187"/>
                </a:cubicBezTo>
                <a:cubicBezTo>
                  <a:pt x="177134" y="56187"/>
                  <a:pt x="172521" y="63556"/>
                  <a:pt x="171599" y="67240"/>
                </a:cubicBezTo>
                <a:lnTo>
                  <a:pt x="140231" y="126190"/>
                </a:lnTo>
                <a:lnTo>
                  <a:pt x="108864" y="67240"/>
                </a:lnTo>
                <a:cubicBezTo>
                  <a:pt x="107019" y="63556"/>
                  <a:pt x="103328" y="56187"/>
                  <a:pt x="93180" y="56187"/>
                </a:cubicBezTo>
                <a:close/>
                <a:moveTo>
                  <a:pt x="140231" y="0"/>
                </a:moveTo>
                <a:cubicBezTo>
                  <a:pt x="207579" y="0"/>
                  <a:pt x="263856" y="46976"/>
                  <a:pt x="277695" y="110532"/>
                </a:cubicBezTo>
                <a:cubicBezTo>
                  <a:pt x="260166" y="134480"/>
                  <a:pt x="249095" y="163034"/>
                  <a:pt x="246327" y="194351"/>
                </a:cubicBezTo>
                <a:cubicBezTo>
                  <a:pt x="190973" y="203562"/>
                  <a:pt x="142999" y="233958"/>
                  <a:pt x="110709" y="277250"/>
                </a:cubicBezTo>
                <a:cubicBezTo>
                  <a:pt x="47051" y="264355"/>
                  <a:pt x="0" y="208168"/>
                  <a:pt x="0" y="140007"/>
                </a:cubicBezTo>
                <a:cubicBezTo>
                  <a:pt x="0" y="62635"/>
                  <a:pt x="62735" y="0"/>
                  <a:pt x="14023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1AA43DA3-0853-4BAC-BD1B-9F156B4C9C25}"/>
              </a:ext>
            </a:extLst>
          </p:cNvPr>
          <p:cNvSpPr txBox="1"/>
          <p:nvPr/>
        </p:nvSpPr>
        <p:spPr>
          <a:xfrm>
            <a:off x="1394384" y="3673206"/>
            <a:ext cx="3911041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i="1" dirty="0">
                <a:cs typeface="+mn-ea"/>
                <a:sym typeface="+mn-lt"/>
              </a:rPr>
              <a:t>Text here</a:t>
            </a:r>
            <a:endParaRPr lang="zh-CN" altLang="en-US" b="1" i="1" dirty="0">
              <a:cs typeface="+mn-ea"/>
              <a:sym typeface="+mn-lt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AA8131C7-C920-4911-B9D6-8D50B3871217}"/>
              </a:ext>
            </a:extLst>
          </p:cNvPr>
          <p:cNvSpPr txBox="1"/>
          <p:nvPr/>
        </p:nvSpPr>
        <p:spPr>
          <a:xfrm>
            <a:off x="7435290" y="3673206"/>
            <a:ext cx="4083610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999EFC87-8D93-453C-83C8-8C984F8E81AB}"/>
              </a:ext>
            </a:extLst>
          </p:cNvPr>
          <p:cNvGrpSpPr/>
          <p:nvPr/>
        </p:nvGrpSpPr>
        <p:grpSpPr>
          <a:xfrm>
            <a:off x="1221815" y="4174524"/>
            <a:ext cx="10297085" cy="171781"/>
            <a:chOff x="1086882" y="3778501"/>
            <a:chExt cx="10432018" cy="208462"/>
          </a:xfrm>
        </p:grpSpPr>
        <p:sp>
          <p:nvSpPr>
            <p:cNvPr id="58" name="矩形: 圆角 57">
              <a:extLst>
                <a:ext uri="{FF2B5EF4-FFF2-40B4-BE49-F238E27FC236}">
                  <a16:creationId xmlns:a16="http://schemas.microsoft.com/office/drawing/2014/main" id="{DC5C6475-7F65-4456-831A-3935495E53B5}"/>
                </a:ext>
              </a:extLst>
            </p:cNvPr>
            <p:cNvSpPr/>
            <p:nvPr/>
          </p:nvSpPr>
          <p:spPr>
            <a:xfrm>
              <a:off x="1086882" y="3778501"/>
              <a:ext cx="10432018" cy="20846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矩形: 圆角 58">
              <a:extLst>
                <a:ext uri="{FF2B5EF4-FFF2-40B4-BE49-F238E27FC236}">
                  <a16:creationId xmlns:a16="http://schemas.microsoft.com/office/drawing/2014/main" id="{E76E9CF0-7BA2-4663-84ED-2E0DAA3234C2}"/>
                </a:ext>
              </a:extLst>
            </p:cNvPr>
            <p:cNvSpPr/>
            <p:nvPr/>
          </p:nvSpPr>
          <p:spPr>
            <a:xfrm>
              <a:off x="1086882" y="3778501"/>
              <a:ext cx="5941638" cy="208462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57" name="椭圆 56">
            <a:extLst>
              <a:ext uri="{FF2B5EF4-FFF2-40B4-BE49-F238E27FC236}">
                <a16:creationId xmlns:a16="http://schemas.microsoft.com/office/drawing/2014/main" id="{CB7D3009-630A-4A9E-A9DB-8199F930B53E}"/>
              </a:ext>
            </a:extLst>
          </p:cNvPr>
          <p:cNvSpPr/>
          <p:nvPr/>
        </p:nvSpPr>
        <p:spPr>
          <a:xfrm>
            <a:off x="673100" y="3899772"/>
            <a:ext cx="721284" cy="72128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28575">
            <a:solidFill>
              <a:schemeClr val="bg1"/>
            </a:solidFill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653C8EF7-6616-47CE-895D-7C05662BCE67}"/>
              </a:ext>
            </a:extLst>
          </p:cNvPr>
          <p:cNvSpPr/>
          <p:nvPr/>
        </p:nvSpPr>
        <p:spPr bwMode="auto">
          <a:xfrm>
            <a:off x="841615" y="4065435"/>
            <a:ext cx="384254" cy="389960"/>
          </a:xfrm>
          <a:custGeom>
            <a:avLst/>
            <a:gdLst>
              <a:gd name="connsiteX0" fmla="*/ 88590 w 595826"/>
              <a:gd name="connsiteY0" fmla="*/ 11502 h 604675"/>
              <a:gd name="connsiteX1" fmla="*/ 117242 w 595826"/>
              <a:gd name="connsiteY1" fmla="*/ 22842 h 604675"/>
              <a:gd name="connsiteX2" fmla="*/ 211328 w 595826"/>
              <a:gd name="connsiteY2" fmla="*/ 116786 h 604675"/>
              <a:gd name="connsiteX3" fmla="*/ 210037 w 595826"/>
              <a:gd name="connsiteY3" fmla="*/ 176580 h 604675"/>
              <a:gd name="connsiteX4" fmla="*/ 159058 w 595826"/>
              <a:gd name="connsiteY4" fmla="*/ 227482 h 604675"/>
              <a:gd name="connsiteX5" fmla="*/ 166672 w 595826"/>
              <a:gd name="connsiteY5" fmla="*/ 240756 h 604675"/>
              <a:gd name="connsiteX6" fmla="*/ 250304 w 595826"/>
              <a:gd name="connsiteY6" fmla="*/ 356220 h 604675"/>
              <a:gd name="connsiteX7" fmla="*/ 365556 w 595826"/>
              <a:gd name="connsiteY7" fmla="*/ 439597 h 604675"/>
              <a:gd name="connsiteX8" fmla="*/ 379366 w 595826"/>
              <a:gd name="connsiteY8" fmla="*/ 447200 h 604675"/>
              <a:gd name="connsiteX9" fmla="*/ 430087 w 595826"/>
              <a:gd name="connsiteY9" fmla="*/ 396427 h 604675"/>
              <a:gd name="connsiteX10" fmla="*/ 461320 w 595826"/>
              <a:gd name="connsiteY10" fmla="*/ 383798 h 604675"/>
              <a:gd name="connsiteX11" fmla="*/ 490101 w 595826"/>
              <a:gd name="connsiteY11" fmla="*/ 395138 h 604675"/>
              <a:gd name="connsiteX12" fmla="*/ 584057 w 595826"/>
              <a:gd name="connsiteY12" fmla="*/ 489082 h 604675"/>
              <a:gd name="connsiteX13" fmla="*/ 582896 w 595826"/>
              <a:gd name="connsiteY13" fmla="*/ 548747 h 604675"/>
              <a:gd name="connsiteX14" fmla="*/ 561213 w 595826"/>
              <a:gd name="connsiteY14" fmla="*/ 570010 h 604675"/>
              <a:gd name="connsiteX15" fmla="*/ 556051 w 595826"/>
              <a:gd name="connsiteY15" fmla="*/ 574134 h 604675"/>
              <a:gd name="connsiteX16" fmla="*/ 519268 w 595826"/>
              <a:gd name="connsiteY16" fmla="*/ 594881 h 604675"/>
              <a:gd name="connsiteX17" fmla="*/ 481841 w 595826"/>
              <a:gd name="connsiteY17" fmla="*/ 604288 h 604675"/>
              <a:gd name="connsiteX18" fmla="*/ 471258 w 595826"/>
              <a:gd name="connsiteY18" fmla="*/ 604675 h 604675"/>
              <a:gd name="connsiteX19" fmla="*/ 162284 w 595826"/>
              <a:gd name="connsiteY19" fmla="*/ 443978 h 604675"/>
              <a:gd name="connsiteX20" fmla="*/ 1861 w 595826"/>
              <a:gd name="connsiteY20" fmla="*/ 125162 h 604675"/>
              <a:gd name="connsiteX21" fmla="*/ 11153 w 595826"/>
              <a:gd name="connsiteY21" fmla="*/ 87791 h 604675"/>
              <a:gd name="connsiteX22" fmla="*/ 32061 w 595826"/>
              <a:gd name="connsiteY22" fmla="*/ 50935 h 604675"/>
              <a:gd name="connsiteX23" fmla="*/ 34255 w 595826"/>
              <a:gd name="connsiteY23" fmla="*/ 47456 h 604675"/>
              <a:gd name="connsiteX24" fmla="*/ 57357 w 595826"/>
              <a:gd name="connsiteY24" fmla="*/ 24131 h 604675"/>
              <a:gd name="connsiteX25" fmla="*/ 88590 w 595826"/>
              <a:gd name="connsiteY25" fmla="*/ 11502 h 604675"/>
              <a:gd name="connsiteX26" fmla="*/ 517863 w 595826"/>
              <a:gd name="connsiteY26" fmla="*/ 0 h 604675"/>
              <a:gd name="connsiteX27" fmla="*/ 529351 w 595826"/>
              <a:gd name="connsiteY27" fmla="*/ 5799 h 604675"/>
              <a:gd name="connsiteX28" fmla="*/ 584600 w 595826"/>
              <a:gd name="connsiteY28" fmla="*/ 61085 h 604675"/>
              <a:gd name="connsiteX29" fmla="*/ 586020 w 595826"/>
              <a:gd name="connsiteY29" fmla="*/ 78998 h 604675"/>
              <a:gd name="connsiteX30" fmla="*/ 468165 w 595826"/>
              <a:gd name="connsiteY30" fmla="*/ 196529 h 604675"/>
              <a:gd name="connsiteX31" fmla="*/ 501082 w 595826"/>
              <a:gd name="connsiteY31" fmla="*/ 229520 h 604675"/>
              <a:gd name="connsiteX32" fmla="*/ 504696 w 595826"/>
              <a:gd name="connsiteY32" fmla="*/ 247047 h 604675"/>
              <a:gd name="connsiteX33" fmla="*/ 490755 w 595826"/>
              <a:gd name="connsiteY33" fmla="*/ 251428 h 604675"/>
              <a:gd name="connsiteX34" fmla="*/ 336240 w 595826"/>
              <a:gd name="connsiteY34" fmla="*/ 270759 h 604675"/>
              <a:gd name="connsiteX35" fmla="*/ 324622 w 595826"/>
              <a:gd name="connsiteY35" fmla="*/ 266120 h 604675"/>
              <a:gd name="connsiteX36" fmla="*/ 320491 w 595826"/>
              <a:gd name="connsiteY36" fmla="*/ 253232 h 604675"/>
              <a:gd name="connsiteX37" fmla="*/ 335078 w 595826"/>
              <a:gd name="connsiteY37" fmla="*/ 99489 h 604675"/>
              <a:gd name="connsiteX38" fmla="*/ 339080 w 595826"/>
              <a:gd name="connsiteY38" fmla="*/ 85055 h 604675"/>
              <a:gd name="connsiteX39" fmla="*/ 353924 w 595826"/>
              <a:gd name="connsiteY39" fmla="*/ 87504 h 604675"/>
              <a:gd name="connsiteX40" fmla="*/ 389939 w 595826"/>
              <a:gd name="connsiteY40" fmla="*/ 123459 h 604675"/>
              <a:gd name="connsiteX41" fmla="*/ 508956 w 595826"/>
              <a:gd name="connsiteY41" fmla="*/ 4639 h 604675"/>
              <a:gd name="connsiteX42" fmla="*/ 510118 w 595826"/>
              <a:gd name="connsiteY42" fmla="*/ 3222 h 604675"/>
              <a:gd name="connsiteX43" fmla="*/ 517863 w 595826"/>
              <a:gd name="connsiteY43" fmla="*/ 0 h 604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95826" h="604675">
                <a:moveTo>
                  <a:pt x="88590" y="11502"/>
                </a:moveTo>
                <a:cubicBezTo>
                  <a:pt x="99689" y="11502"/>
                  <a:pt x="109885" y="15626"/>
                  <a:pt x="117242" y="22842"/>
                </a:cubicBezTo>
                <a:lnTo>
                  <a:pt x="211328" y="116786"/>
                </a:lnTo>
                <a:cubicBezTo>
                  <a:pt x="227460" y="132894"/>
                  <a:pt x="226815" y="159699"/>
                  <a:pt x="210037" y="176580"/>
                </a:cubicBezTo>
                <a:lnTo>
                  <a:pt x="159058" y="227482"/>
                </a:lnTo>
                <a:lnTo>
                  <a:pt x="166672" y="240756"/>
                </a:lnTo>
                <a:cubicBezTo>
                  <a:pt x="183450" y="271039"/>
                  <a:pt x="206423" y="312406"/>
                  <a:pt x="250304" y="356220"/>
                </a:cubicBezTo>
                <a:cubicBezTo>
                  <a:pt x="294056" y="399906"/>
                  <a:pt x="335356" y="422844"/>
                  <a:pt x="365556" y="439597"/>
                </a:cubicBezTo>
                <a:lnTo>
                  <a:pt x="379366" y="447200"/>
                </a:lnTo>
                <a:lnTo>
                  <a:pt x="430087" y="396427"/>
                </a:lnTo>
                <a:cubicBezTo>
                  <a:pt x="438218" y="388437"/>
                  <a:pt x="449575" y="383798"/>
                  <a:pt x="461320" y="383798"/>
                </a:cubicBezTo>
                <a:cubicBezTo>
                  <a:pt x="472548" y="383798"/>
                  <a:pt x="482744" y="387793"/>
                  <a:pt x="490101" y="395138"/>
                </a:cubicBezTo>
                <a:lnTo>
                  <a:pt x="584057" y="489082"/>
                </a:lnTo>
                <a:cubicBezTo>
                  <a:pt x="600190" y="505190"/>
                  <a:pt x="599674" y="531994"/>
                  <a:pt x="582896" y="548747"/>
                </a:cubicBezTo>
                <a:lnTo>
                  <a:pt x="561213" y="570010"/>
                </a:lnTo>
                <a:lnTo>
                  <a:pt x="556051" y="574134"/>
                </a:lnTo>
                <a:cubicBezTo>
                  <a:pt x="545081" y="582639"/>
                  <a:pt x="532691" y="589598"/>
                  <a:pt x="519268" y="594881"/>
                </a:cubicBezTo>
                <a:cubicBezTo>
                  <a:pt x="506879" y="599649"/>
                  <a:pt x="494618" y="602742"/>
                  <a:pt x="481841" y="604288"/>
                </a:cubicBezTo>
                <a:cubicBezTo>
                  <a:pt x="480808" y="604417"/>
                  <a:pt x="477194" y="604675"/>
                  <a:pt x="471258" y="604675"/>
                </a:cubicBezTo>
                <a:cubicBezTo>
                  <a:pt x="436540" y="604675"/>
                  <a:pt x="311737" y="593077"/>
                  <a:pt x="162284" y="443978"/>
                </a:cubicBezTo>
                <a:cubicBezTo>
                  <a:pt x="36191" y="318076"/>
                  <a:pt x="-10271" y="225678"/>
                  <a:pt x="1861" y="125162"/>
                </a:cubicBezTo>
                <a:cubicBezTo>
                  <a:pt x="3280" y="112791"/>
                  <a:pt x="6378" y="100678"/>
                  <a:pt x="11153" y="87791"/>
                </a:cubicBezTo>
                <a:cubicBezTo>
                  <a:pt x="16445" y="74260"/>
                  <a:pt x="23543" y="61889"/>
                  <a:pt x="32061" y="50935"/>
                </a:cubicBezTo>
                <a:lnTo>
                  <a:pt x="34255" y="47456"/>
                </a:lnTo>
                <a:lnTo>
                  <a:pt x="57357" y="24131"/>
                </a:lnTo>
                <a:cubicBezTo>
                  <a:pt x="65359" y="16141"/>
                  <a:pt x="76716" y="11502"/>
                  <a:pt x="88590" y="11502"/>
                </a:cubicBezTo>
                <a:close/>
                <a:moveTo>
                  <a:pt x="517863" y="0"/>
                </a:moveTo>
                <a:cubicBezTo>
                  <a:pt x="521606" y="0"/>
                  <a:pt x="525479" y="2062"/>
                  <a:pt x="529351" y="5799"/>
                </a:cubicBezTo>
                <a:lnTo>
                  <a:pt x="584600" y="61085"/>
                </a:lnTo>
                <a:cubicBezTo>
                  <a:pt x="592216" y="68689"/>
                  <a:pt x="588860" y="76034"/>
                  <a:pt x="586020" y="78998"/>
                </a:cubicBezTo>
                <a:lnTo>
                  <a:pt x="468165" y="196529"/>
                </a:lnTo>
                <a:lnTo>
                  <a:pt x="501082" y="229520"/>
                </a:lnTo>
                <a:cubicBezTo>
                  <a:pt x="510376" y="238670"/>
                  <a:pt x="507278" y="244469"/>
                  <a:pt x="504696" y="247047"/>
                </a:cubicBezTo>
                <a:cubicBezTo>
                  <a:pt x="500565" y="251171"/>
                  <a:pt x="492304" y="251428"/>
                  <a:pt x="490755" y="251428"/>
                </a:cubicBezTo>
                <a:cubicBezTo>
                  <a:pt x="485721" y="252201"/>
                  <a:pt x="352892" y="270759"/>
                  <a:pt x="336240" y="270759"/>
                </a:cubicBezTo>
                <a:cubicBezTo>
                  <a:pt x="330173" y="270759"/>
                  <a:pt x="326558" y="268310"/>
                  <a:pt x="324622" y="266120"/>
                </a:cubicBezTo>
                <a:cubicBezTo>
                  <a:pt x="319975" y="261094"/>
                  <a:pt x="320362" y="254135"/>
                  <a:pt x="320491" y="253232"/>
                </a:cubicBezTo>
                <a:lnTo>
                  <a:pt x="335078" y="99489"/>
                </a:lnTo>
                <a:cubicBezTo>
                  <a:pt x="334949" y="97556"/>
                  <a:pt x="335078" y="89179"/>
                  <a:pt x="339080" y="85055"/>
                </a:cubicBezTo>
                <a:cubicBezTo>
                  <a:pt x="340887" y="83122"/>
                  <a:pt x="346050" y="79771"/>
                  <a:pt x="353924" y="87504"/>
                </a:cubicBezTo>
                <a:lnTo>
                  <a:pt x="389939" y="123459"/>
                </a:lnTo>
                <a:lnTo>
                  <a:pt x="508956" y="4639"/>
                </a:lnTo>
                <a:cubicBezTo>
                  <a:pt x="509214" y="4253"/>
                  <a:pt x="509601" y="3737"/>
                  <a:pt x="510118" y="3222"/>
                </a:cubicBezTo>
                <a:cubicBezTo>
                  <a:pt x="512183" y="1160"/>
                  <a:pt x="515023" y="0"/>
                  <a:pt x="51786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A08F987-84E8-4ECC-BDD5-378800E10476}"/>
              </a:ext>
            </a:extLst>
          </p:cNvPr>
          <p:cNvSpPr txBox="1"/>
          <p:nvPr/>
        </p:nvSpPr>
        <p:spPr>
          <a:xfrm>
            <a:off x="1394384" y="4690370"/>
            <a:ext cx="3911041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b="1" i="1" dirty="0">
                <a:cs typeface="+mn-ea"/>
                <a:sym typeface="+mn-lt"/>
              </a:rPr>
              <a:t>Text here</a:t>
            </a:r>
            <a:endParaRPr lang="zh-CN" altLang="en-US" b="1" i="1" dirty="0"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5CE867E9-F1B6-4457-B1F4-5D11C7B499EA}"/>
              </a:ext>
            </a:extLst>
          </p:cNvPr>
          <p:cNvSpPr txBox="1"/>
          <p:nvPr/>
        </p:nvSpPr>
        <p:spPr>
          <a:xfrm>
            <a:off x="7435290" y="4690370"/>
            <a:ext cx="4083610" cy="469182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3" name="矩形: 圆角 32">
            <a:extLst>
              <a:ext uri="{FF2B5EF4-FFF2-40B4-BE49-F238E27FC236}">
                <a16:creationId xmlns:a16="http://schemas.microsoft.com/office/drawing/2014/main" id="{007DB39A-C829-4AC5-B792-644E5BDB6CEB}"/>
              </a:ext>
            </a:extLst>
          </p:cNvPr>
          <p:cNvSpPr/>
          <p:nvPr/>
        </p:nvSpPr>
        <p:spPr>
          <a:xfrm>
            <a:off x="1221815" y="5191688"/>
            <a:ext cx="10297085" cy="171781"/>
          </a:xfrm>
          <a:prstGeom prst="roundRect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矩形: 圆角 33">
            <a:extLst>
              <a:ext uri="{FF2B5EF4-FFF2-40B4-BE49-F238E27FC236}">
                <a16:creationId xmlns:a16="http://schemas.microsoft.com/office/drawing/2014/main" id="{81D80D7B-12E3-42B2-8EAD-F87A2FC61333}"/>
              </a:ext>
            </a:extLst>
          </p:cNvPr>
          <p:cNvSpPr/>
          <p:nvPr/>
        </p:nvSpPr>
        <p:spPr>
          <a:xfrm>
            <a:off x="1221815" y="5191688"/>
            <a:ext cx="4975786" cy="17178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5F2ED604-ED42-423F-8A49-472E47D7C743}"/>
              </a:ext>
            </a:extLst>
          </p:cNvPr>
          <p:cNvSpPr/>
          <p:nvPr/>
        </p:nvSpPr>
        <p:spPr>
          <a:xfrm>
            <a:off x="673100" y="4916936"/>
            <a:ext cx="721284" cy="721284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04673F0-44BF-40AA-BE23-AAB503FB5542}"/>
              </a:ext>
            </a:extLst>
          </p:cNvPr>
          <p:cNvSpPr/>
          <p:nvPr/>
        </p:nvSpPr>
        <p:spPr bwMode="auto">
          <a:xfrm>
            <a:off x="838760" y="5085770"/>
            <a:ext cx="389964" cy="383618"/>
          </a:xfrm>
          <a:custGeom>
            <a:avLst/>
            <a:gdLst>
              <a:gd name="T0" fmla="*/ 1792 w 2164"/>
              <a:gd name="T1" fmla="*/ 1458 h 2132"/>
              <a:gd name="T2" fmla="*/ 1242 w 2164"/>
              <a:gd name="T3" fmla="*/ 1126 h 2132"/>
              <a:gd name="T4" fmla="*/ 1546 w 2164"/>
              <a:gd name="T5" fmla="*/ 550 h 2132"/>
              <a:gd name="T6" fmla="*/ 996 w 2164"/>
              <a:gd name="T7" fmla="*/ 0 h 2132"/>
              <a:gd name="T8" fmla="*/ 446 w 2164"/>
              <a:gd name="T9" fmla="*/ 550 h 2132"/>
              <a:gd name="T10" fmla="*/ 750 w 2164"/>
              <a:gd name="T11" fmla="*/ 1126 h 2132"/>
              <a:gd name="T12" fmla="*/ 0 w 2164"/>
              <a:gd name="T13" fmla="*/ 1886 h 2132"/>
              <a:gd name="T14" fmla="*/ 996 w 2164"/>
              <a:gd name="T15" fmla="*/ 2132 h 2132"/>
              <a:gd name="T16" fmla="*/ 717 w 2164"/>
              <a:gd name="T17" fmla="*/ 1853 h 2132"/>
              <a:gd name="T18" fmla="*/ 952 w 2164"/>
              <a:gd name="T19" fmla="*/ 1285 h 2132"/>
              <a:gd name="T20" fmla="*/ 950 w 2164"/>
              <a:gd name="T21" fmla="*/ 1285 h 2132"/>
              <a:gd name="T22" fmla="*/ 858 w 2164"/>
              <a:gd name="T23" fmla="*/ 1181 h 2132"/>
              <a:gd name="T24" fmla="*/ 996 w 2164"/>
              <a:gd name="T25" fmla="*/ 1206 h 2132"/>
              <a:gd name="T26" fmla="*/ 1134 w 2164"/>
              <a:gd name="T27" fmla="*/ 1181 h 2132"/>
              <a:gd name="T28" fmla="*/ 1043 w 2164"/>
              <a:gd name="T29" fmla="*/ 1285 h 2132"/>
              <a:gd name="T30" fmla="*/ 1040 w 2164"/>
              <a:gd name="T31" fmla="*/ 1285 h 2132"/>
              <a:gd name="T32" fmla="*/ 1262 w 2164"/>
              <a:gd name="T33" fmla="*/ 1822 h 2132"/>
              <a:gd name="T34" fmla="*/ 1262 w 2164"/>
              <a:gd name="T35" fmla="*/ 1866 h 2132"/>
              <a:gd name="T36" fmla="*/ 996 w 2164"/>
              <a:gd name="T37" fmla="*/ 2132 h 2132"/>
              <a:gd name="T38" fmla="*/ 1500 w 2164"/>
              <a:gd name="T39" fmla="*/ 2102 h 2132"/>
              <a:gd name="T40" fmla="*/ 2164 w 2164"/>
              <a:gd name="T41" fmla="*/ 2102 h 2132"/>
              <a:gd name="T42" fmla="*/ 2164 w 2164"/>
              <a:gd name="T43" fmla="*/ 1586 h 2132"/>
              <a:gd name="T44" fmla="*/ 2164 w 2164"/>
              <a:gd name="T45" fmla="*/ 1458 h 2132"/>
              <a:gd name="T46" fmla="*/ 1792 w 2164"/>
              <a:gd name="T47" fmla="*/ 1458 h 2132"/>
              <a:gd name="T48" fmla="*/ 2081 w 2164"/>
              <a:gd name="T49" fmla="*/ 2019 h 2132"/>
              <a:gd name="T50" fmla="*/ 1345 w 2164"/>
              <a:gd name="T51" fmla="*/ 2019 h 2132"/>
              <a:gd name="T52" fmla="*/ 1345 w 2164"/>
              <a:gd name="T53" fmla="*/ 1612 h 2132"/>
              <a:gd name="T54" fmla="*/ 1713 w 2164"/>
              <a:gd name="T55" fmla="*/ 1851 h 2132"/>
              <a:gd name="T56" fmla="*/ 2080 w 2164"/>
              <a:gd name="T57" fmla="*/ 1612 h 2132"/>
              <a:gd name="T58" fmla="*/ 2080 w 2164"/>
              <a:gd name="T59" fmla="*/ 2019 h 2132"/>
              <a:gd name="T60" fmla="*/ 2081 w 2164"/>
              <a:gd name="T61" fmla="*/ 2019 h 2132"/>
              <a:gd name="T62" fmla="*/ 1713 w 2164"/>
              <a:gd name="T63" fmla="*/ 1780 h 2132"/>
              <a:gd name="T64" fmla="*/ 1346 w 2164"/>
              <a:gd name="T65" fmla="*/ 1541 h 2132"/>
              <a:gd name="T66" fmla="*/ 2081 w 2164"/>
              <a:gd name="T67" fmla="*/ 1541 h 2132"/>
              <a:gd name="T68" fmla="*/ 1713 w 2164"/>
              <a:gd name="T69" fmla="*/ 1780 h 2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164" h="2132">
                <a:moveTo>
                  <a:pt x="1792" y="1458"/>
                </a:moveTo>
                <a:cubicBezTo>
                  <a:pt x="1657" y="1310"/>
                  <a:pt x="1465" y="1182"/>
                  <a:pt x="1242" y="1126"/>
                </a:cubicBezTo>
                <a:cubicBezTo>
                  <a:pt x="1422" y="1004"/>
                  <a:pt x="1546" y="765"/>
                  <a:pt x="1546" y="550"/>
                </a:cubicBezTo>
                <a:cubicBezTo>
                  <a:pt x="1546" y="246"/>
                  <a:pt x="1300" y="0"/>
                  <a:pt x="996" y="0"/>
                </a:cubicBezTo>
                <a:cubicBezTo>
                  <a:pt x="692" y="0"/>
                  <a:pt x="446" y="246"/>
                  <a:pt x="446" y="550"/>
                </a:cubicBezTo>
                <a:cubicBezTo>
                  <a:pt x="446" y="765"/>
                  <a:pt x="570" y="1004"/>
                  <a:pt x="750" y="1126"/>
                </a:cubicBezTo>
                <a:cubicBezTo>
                  <a:pt x="319" y="1235"/>
                  <a:pt x="0" y="1609"/>
                  <a:pt x="0" y="1886"/>
                </a:cubicBezTo>
                <a:cubicBezTo>
                  <a:pt x="0" y="2050"/>
                  <a:pt x="498" y="2132"/>
                  <a:pt x="996" y="2132"/>
                </a:cubicBezTo>
                <a:lnTo>
                  <a:pt x="717" y="1853"/>
                </a:lnTo>
                <a:lnTo>
                  <a:pt x="952" y="1285"/>
                </a:lnTo>
                <a:lnTo>
                  <a:pt x="950" y="1285"/>
                </a:lnTo>
                <a:lnTo>
                  <a:pt x="858" y="1181"/>
                </a:lnTo>
                <a:cubicBezTo>
                  <a:pt x="903" y="1196"/>
                  <a:pt x="949" y="1206"/>
                  <a:pt x="996" y="1206"/>
                </a:cubicBezTo>
                <a:cubicBezTo>
                  <a:pt x="1044" y="1206"/>
                  <a:pt x="1090" y="1196"/>
                  <a:pt x="1134" y="1181"/>
                </a:cubicBezTo>
                <a:lnTo>
                  <a:pt x="1043" y="1285"/>
                </a:lnTo>
                <a:lnTo>
                  <a:pt x="1040" y="1285"/>
                </a:lnTo>
                <a:lnTo>
                  <a:pt x="1262" y="1822"/>
                </a:lnTo>
                <a:lnTo>
                  <a:pt x="1262" y="1866"/>
                </a:lnTo>
                <a:lnTo>
                  <a:pt x="996" y="2132"/>
                </a:lnTo>
                <a:cubicBezTo>
                  <a:pt x="1171" y="2132"/>
                  <a:pt x="1346" y="2122"/>
                  <a:pt x="1500" y="2102"/>
                </a:cubicBezTo>
                <a:lnTo>
                  <a:pt x="2164" y="2102"/>
                </a:lnTo>
                <a:lnTo>
                  <a:pt x="2164" y="1586"/>
                </a:lnTo>
                <a:lnTo>
                  <a:pt x="2164" y="1458"/>
                </a:lnTo>
                <a:lnTo>
                  <a:pt x="1792" y="1458"/>
                </a:lnTo>
                <a:close/>
                <a:moveTo>
                  <a:pt x="2081" y="2019"/>
                </a:moveTo>
                <a:lnTo>
                  <a:pt x="1345" y="2019"/>
                </a:lnTo>
                <a:lnTo>
                  <a:pt x="1345" y="1612"/>
                </a:lnTo>
                <a:lnTo>
                  <a:pt x="1713" y="1851"/>
                </a:lnTo>
                <a:lnTo>
                  <a:pt x="2080" y="1612"/>
                </a:lnTo>
                <a:lnTo>
                  <a:pt x="2080" y="2019"/>
                </a:lnTo>
                <a:lnTo>
                  <a:pt x="2081" y="2019"/>
                </a:lnTo>
                <a:close/>
                <a:moveTo>
                  <a:pt x="1713" y="1780"/>
                </a:moveTo>
                <a:lnTo>
                  <a:pt x="1346" y="1541"/>
                </a:lnTo>
                <a:lnTo>
                  <a:pt x="2081" y="1541"/>
                </a:lnTo>
                <a:lnTo>
                  <a:pt x="1713" y="178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72260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BB5C0D70-4DB2-4CC1-9BD6-C98A83660142}"/>
              </a:ext>
            </a:extLst>
          </p:cNvPr>
          <p:cNvSpPr/>
          <p:nvPr/>
        </p:nvSpPr>
        <p:spPr bwMode="auto">
          <a:xfrm rot="8100000">
            <a:off x="6282073" y="3020665"/>
            <a:ext cx="899431" cy="2506375"/>
          </a:xfrm>
          <a:custGeom>
            <a:avLst/>
            <a:gdLst>
              <a:gd name="T0" fmla="*/ 1336279 w 21600"/>
              <a:gd name="T1" fmla="*/ 3723680 h 21600"/>
              <a:gd name="T2" fmla="*/ 1336279 w 21600"/>
              <a:gd name="T3" fmla="*/ 3723680 h 21600"/>
              <a:gd name="T4" fmla="*/ 1336279 w 21600"/>
              <a:gd name="T5" fmla="*/ 3723680 h 21600"/>
              <a:gd name="T6" fmla="*/ 1336279 w 21600"/>
              <a:gd name="T7" fmla="*/ 372368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1735"/>
                  <a:pt x="0" y="3876"/>
                </a:cubicBezTo>
                <a:lnTo>
                  <a:pt x="0" y="17724"/>
                </a:lnTo>
                <a:cubicBezTo>
                  <a:pt x="0" y="19865"/>
                  <a:pt x="4835" y="21600"/>
                  <a:pt x="10800" y="21600"/>
                </a:cubicBezTo>
                <a:cubicBezTo>
                  <a:pt x="16765" y="21600"/>
                  <a:pt x="21600" y="19865"/>
                  <a:pt x="21600" y="17724"/>
                </a:cubicBezTo>
                <a:lnTo>
                  <a:pt x="21600" y="3876"/>
                </a:lnTo>
                <a:cubicBezTo>
                  <a:pt x="21600" y="1735"/>
                  <a:pt x="16765" y="0"/>
                  <a:pt x="10800" y="0"/>
                </a:cubicBezTo>
                <a:close/>
                <a:moveTo>
                  <a:pt x="10800" y="1996"/>
                </a:moveTo>
                <a:cubicBezTo>
                  <a:pt x="13826" y="1996"/>
                  <a:pt x="16279" y="2877"/>
                  <a:pt x="16279" y="3963"/>
                </a:cubicBezTo>
                <a:lnTo>
                  <a:pt x="16279" y="17637"/>
                </a:lnTo>
                <a:cubicBezTo>
                  <a:pt x="16279" y="18723"/>
                  <a:pt x="13826" y="19603"/>
                  <a:pt x="10800" y="19603"/>
                </a:cubicBezTo>
                <a:cubicBezTo>
                  <a:pt x="7774" y="19603"/>
                  <a:pt x="5321" y="18723"/>
                  <a:pt x="5321" y="17637"/>
                </a:cubicBezTo>
                <a:lnTo>
                  <a:pt x="5321" y="3963"/>
                </a:lnTo>
                <a:cubicBezTo>
                  <a:pt x="5321" y="2877"/>
                  <a:pt x="7774" y="1996"/>
                  <a:pt x="10800" y="1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endParaRPr lang="ru-RU" sz="900"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C84458E3-D18A-4799-AFBC-ADFAA595DC34}"/>
              </a:ext>
            </a:extLst>
          </p:cNvPr>
          <p:cNvSpPr/>
          <p:nvPr/>
        </p:nvSpPr>
        <p:spPr bwMode="auto">
          <a:xfrm rot="8100000">
            <a:off x="5011477" y="1750060"/>
            <a:ext cx="899431" cy="2506376"/>
          </a:xfrm>
          <a:custGeom>
            <a:avLst/>
            <a:gdLst>
              <a:gd name="T0" fmla="*/ 1336279 w 21600"/>
              <a:gd name="T1" fmla="*/ 3723681 h 21600"/>
              <a:gd name="T2" fmla="*/ 1336279 w 21600"/>
              <a:gd name="T3" fmla="*/ 3723681 h 21600"/>
              <a:gd name="T4" fmla="*/ 1336279 w 21600"/>
              <a:gd name="T5" fmla="*/ 3723681 h 21600"/>
              <a:gd name="T6" fmla="*/ 1336279 w 21600"/>
              <a:gd name="T7" fmla="*/ 372368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1735"/>
                  <a:pt x="0" y="3876"/>
                </a:cubicBezTo>
                <a:lnTo>
                  <a:pt x="0" y="17724"/>
                </a:lnTo>
                <a:cubicBezTo>
                  <a:pt x="0" y="19865"/>
                  <a:pt x="4835" y="21600"/>
                  <a:pt x="10800" y="21600"/>
                </a:cubicBezTo>
                <a:cubicBezTo>
                  <a:pt x="16765" y="21600"/>
                  <a:pt x="21600" y="19865"/>
                  <a:pt x="21600" y="17724"/>
                </a:cubicBezTo>
                <a:lnTo>
                  <a:pt x="21600" y="3876"/>
                </a:lnTo>
                <a:cubicBezTo>
                  <a:pt x="21600" y="1735"/>
                  <a:pt x="16765" y="0"/>
                  <a:pt x="10800" y="0"/>
                </a:cubicBezTo>
                <a:close/>
                <a:moveTo>
                  <a:pt x="10800" y="1996"/>
                </a:moveTo>
                <a:cubicBezTo>
                  <a:pt x="13826" y="1996"/>
                  <a:pt x="16279" y="2877"/>
                  <a:pt x="16279" y="3963"/>
                </a:cubicBezTo>
                <a:lnTo>
                  <a:pt x="16279" y="17637"/>
                </a:lnTo>
                <a:cubicBezTo>
                  <a:pt x="16279" y="18723"/>
                  <a:pt x="13826" y="19603"/>
                  <a:pt x="10800" y="19603"/>
                </a:cubicBezTo>
                <a:cubicBezTo>
                  <a:pt x="7774" y="19603"/>
                  <a:pt x="5321" y="18723"/>
                  <a:pt x="5321" y="17637"/>
                </a:cubicBezTo>
                <a:lnTo>
                  <a:pt x="5321" y="3963"/>
                </a:lnTo>
                <a:cubicBezTo>
                  <a:pt x="5321" y="2877"/>
                  <a:pt x="7774" y="1996"/>
                  <a:pt x="10800" y="1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endParaRPr lang="ru-RU" sz="900">
              <a:cs typeface="+mn-ea"/>
              <a:sym typeface="+mn-lt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D2B8B9F9-6149-4A82-BEBE-A18890355485}"/>
              </a:ext>
            </a:extLst>
          </p:cNvPr>
          <p:cNvSpPr/>
          <p:nvPr/>
        </p:nvSpPr>
        <p:spPr bwMode="auto">
          <a:xfrm>
            <a:off x="4690492" y="2233676"/>
            <a:ext cx="422626" cy="42262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92500" lnSpcReduction="10000"/>
          </a:bodyPr>
          <a:lstStyle>
            <a:lvl1pPr>
              <a:defRPr sz="5000">
                <a:solidFill>
                  <a:srgbClr val="000000"/>
                </a:solidFill>
              </a:defRPr>
            </a:lvl1pPr>
            <a:lvl2pPr marL="742950" indent="-285750">
              <a:defRPr sz="5000">
                <a:solidFill>
                  <a:srgbClr val="000000"/>
                </a:solidFill>
              </a:defRPr>
            </a:lvl2pPr>
            <a:lvl3pPr marL="1143000" indent="-228600">
              <a:defRPr sz="5000">
                <a:solidFill>
                  <a:srgbClr val="000000"/>
                </a:solidFill>
              </a:defRPr>
            </a:lvl3pPr>
            <a:lvl4pPr marL="1600200" indent="-228600">
              <a:defRPr sz="5000">
                <a:solidFill>
                  <a:srgbClr val="000000"/>
                </a:solidFill>
              </a:defRPr>
            </a:lvl4pPr>
            <a:lvl5pPr marL="2057400" indent="-228600">
              <a:defRPr sz="5000">
                <a:solidFill>
                  <a:srgbClr val="000000"/>
                </a:solidFill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9pPr>
          </a:lstStyle>
          <a:p>
            <a:pPr algn="ctr"/>
            <a:r>
              <a:rPr lang="en-US" altLang="ru-RU" sz="1600" b="1">
                <a:solidFill>
                  <a:srgbClr val="FFFFFF"/>
                </a:solidFill>
                <a:cs typeface="+mn-ea"/>
                <a:sym typeface="+mn-lt"/>
              </a:rPr>
              <a:t>S</a:t>
            </a:r>
            <a:endParaRPr lang="ru-RU" altLang="ru-RU" sz="16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6285AB17-B43E-4C0B-B763-94C37B271131}"/>
              </a:ext>
            </a:extLst>
          </p:cNvPr>
          <p:cNvSpPr/>
          <p:nvPr/>
        </p:nvSpPr>
        <p:spPr bwMode="auto">
          <a:xfrm>
            <a:off x="7077408" y="4620589"/>
            <a:ext cx="422626" cy="42262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92500" lnSpcReduction="10000"/>
          </a:bodyPr>
          <a:lstStyle>
            <a:lvl1pPr>
              <a:defRPr sz="5000">
                <a:solidFill>
                  <a:srgbClr val="000000"/>
                </a:solidFill>
              </a:defRPr>
            </a:lvl1pPr>
            <a:lvl2pPr marL="742950" indent="-285750">
              <a:defRPr sz="5000">
                <a:solidFill>
                  <a:srgbClr val="000000"/>
                </a:solidFill>
              </a:defRPr>
            </a:lvl2pPr>
            <a:lvl3pPr marL="1143000" indent="-228600">
              <a:defRPr sz="5000">
                <a:solidFill>
                  <a:srgbClr val="000000"/>
                </a:solidFill>
              </a:defRPr>
            </a:lvl3pPr>
            <a:lvl4pPr marL="1600200" indent="-228600">
              <a:defRPr sz="5000">
                <a:solidFill>
                  <a:srgbClr val="000000"/>
                </a:solidFill>
              </a:defRPr>
            </a:lvl4pPr>
            <a:lvl5pPr marL="2057400" indent="-228600">
              <a:defRPr sz="5000">
                <a:solidFill>
                  <a:srgbClr val="000000"/>
                </a:solidFill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9pPr>
          </a:lstStyle>
          <a:p>
            <a:pPr algn="ctr"/>
            <a:r>
              <a:rPr lang="en-US" altLang="ru-RU" sz="1600" b="1">
                <a:solidFill>
                  <a:srgbClr val="FFFFFF"/>
                </a:solidFill>
                <a:cs typeface="+mn-ea"/>
                <a:sym typeface="+mn-lt"/>
              </a:rPr>
              <a:t>O</a:t>
            </a:r>
            <a:endParaRPr lang="ru-RU" altLang="ru-RU" sz="16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69A213FD-31D4-48CB-A68B-D714D823117E}"/>
              </a:ext>
            </a:extLst>
          </p:cNvPr>
          <p:cNvSpPr/>
          <p:nvPr/>
        </p:nvSpPr>
        <p:spPr bwMode="auto">
          <a:xfrm rot="2700000">
            <a:off x="6281218" y="1751491"/>
            <a:ext cx="899438" cy="2506359"/>
          </a:xfrm>
          <a:custGeom>
            <a:avLst/>
            <a:gdLst>
              <a:gd name="T0" fmla="*/ 1336279 w 21600"/>
              <a:gd name="T1" fmla="*/ 3723681 h 21600"/>
              <a:gd name="T2" fmla="*/ 1336279 w 21600"/>
              <a:gd name="T3" fmla="*/ 3723681 h 21600"/>
              <a:gd name="T4" fmla="*/ 1336279 w 21600"/>
              <a:gd name="T5" fmla="*/ 3723681 h 21600"/>
              <a:gd name="T6" fmla="*/ 1336279 w 21600"/>
              <a:gd name="T7" fmla="*/ 372368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1735"/>
                  <a:pt x="0" y="3876"/>
                </a:cubicBezTo>
                <a:lnTo>
                  <a:pt x="0" y="17724"/>
                </a:lnTo>
                <a:cubicBezTo>
                  <a:pt x="0" y="19865"/>
                  <a:pt x="4835" y="21600"/>
                  <a:pt x="10800" y="21600"/>
                </a:cubicBezTo>
                <a:cubicBezTo>
                  <a:pt x="16765" y="21600"/>
                  <a:pt x="21600" y="19865"/>
                  <a:pt x="21600" y="17724"/>
                </a:cubicBezTo>
                <a:lnTo>
                  <a:pt x="21600" y="3876"/>
                </a:lnTo>
                <a:cubicBezTo>
                  <a:pt x="21600" y="1735"/>
                  <a:pt x="16765" y="0"/>
                  <a:pt x="10800" y="0"/>
                </a:cubicBezTo>
                <a:close/>
                <a:moveTo>
                  <a:pt x="10800" y="1996"/>
                </a:moveTo>
                <a:cubicBezTo>
                  <a:pt x="13826" y="1996"/>
                  <a:pt x="16279" y="2877"/>
                  <a:pt x="16279" y="3963"/>
                </a:cubicBezTo>
                <a:lnTo>
                  <a:pt x="16279" y="17637"/>
                </a:lnTo>
                <a:cubicBezTo>
                  <a:pt x="16279" y="18723"/>
                  <a:pt x="13826" y="19603"/>
                  <a:pt x="10800" y="19603"/>
                </a:cubicBezTo>
                <a:cubicBezTo>
                  <a:pt x="7774" y="19603"/>
                  <a:pt x="5321" y="18723"/>
                  <a:pt x="5321" y="17637"/>
                </a:cubicBezTo>
                <a:lnTo>
                  <a:pt x="5321" y="3963"/>
                </a:lnTo>
                <a:cubicBezTo>
                  <a:pt x="5321" y="2877"/>
                  <a:pt x="7774" y="1996"/>
                  <a:pt x="10800" y="1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endParaRPr lang="ru-RU" sz="900"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D9BCBC9-3C8A-4BDD-BFB5-294D64CF2829}"/>
              </a:ext>
            </a:extLst>
          </p:cNvPr>
          <p:cNvSpPr/>
          <p:nvPr/>
        </p:nvSpPr>
        <p:spPr bwMode="auto">
          <a:xfrm rot="2700000">
            <a:off x="5011343" y="3021374"/>
            <a:ext cx="899438" cy="2506359"/>
          </a:xfrm>
          <a:custGeom>
            <a:avLst/>
            <a:gdLst>
              <a:gd name="T0" fmla="*/ 1336279 w 21600"/>
              <a:gd name="T1" fmla="*/ 3723681 h 21600"/>
              <a:gd name="T2" fmla="*/ 1336279 w 21600"/>
              <a:gd name="T3" fmla="*/ 3723681 h 21600"/>
              <a:gd name="T4" fmla="*/ 1336279 w 21600"/>
              <a:gd name="T5" fmla="*/ 3723681 h 21600"/>
              <a:gd name="T6" fmla="*/ 1336279 w 21600"/>
              <a:gd name="T7" fmla="*/ 3723681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cubicBezTo>
                  <a:pt x="4835" y="0"/>
                  <a:pt x="0" y="1735"/>
                  <a:pt x="0" y="3876"/>
                </a:cubicBezTo>
                <a:lnTo>
                  <a:pt x="0" y="17724"/>
                </a:lnTo>
                <a:cubicBezTo>
                  <a:pt x="0" y="19865"/>
                  <a:pt x="4835" y="21600"/>
                  <a:pt x="10800" y="21600"/>
                </a:cubicBezTo>
                <a:cubicBezTo>
                  <a:pt x="16765" y="21600"/>
                  <a:pt x="21600" y="19865"/>
                  <a:pt x="21600" y="17724"/>
                </a:cubicBezTo>
                <a:lnTo>
                  <a:pt x="21600" y="3876"/>
                </a:lnTo>
                <a:cubicBezTo>
                  <a:pt x="21600" y="1735"/>
                  <a:pt x="16765" y="0"/>
                  <a:pt x="10800" y="0"/>
                </a:cubicBezTo>
                <a:close/>
                <a:moveTo>
                  <a:pt x="10800" y="1996"/>
                </a:moveTo>
                <a:cubicBezTo>
                  <a:pt x="13826" y="1996"/>
                  <a:pt x="16279" y="2877"/>
                  <a:pt x="16279" y="3963"/>
                </a:cubicBezTo>
                <a:lnTo>
                  <a:pt x="16279" y="17637"/>
                </a:lnTo>
                <a:cubicBezTo>
                  <a:pt x="16279" y="18723"/>
                  <a:pt x="13826" y="19603"/>
                  <a:pt x="10800" y="19603"/>
                </a:cubicBezTo>
                <a:cubicBezTo>
                  <a:pt x="7774" y="19603"/>
                  <a:pt x="5321" y="18723"/>
                  <a:pt x="5321" y="17637"/>
                </a:cubicBezTo>
                <a:lnTo>
                  <a:pt x="5321" y="3963"/>
                </a:lnTo>
                <a:cubicBezTo>
                  <a:pt x="5321" y="2877"/>
                  <a:pt x="7774" y="1996"/>
                  <a:pt x="10800" y="199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endParaRPr lang="ru-RU" sz="900">
              <a:cs typeface="+mn-ea"/>
              <a:sym typeface="+mn-lt"/>
            </a:endParaRP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32C8FBAE-9DFB-486F-B96D-DB044F195ACA}"/>
              </a:ext>
            </a:extLst>
          </p:cNvPr>
          <p:cNvSpPr/>
          <p:nvPr/>
        </p:nvSpPr>
        <p:spPr bwMode="auto">
          <a:xfrm>
            <a:off x="7077406" y="2234046"/>
            <a:ext cx="422626" cy="42262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92500" lnSpcReduction="10000"/>
          </a:bodyPr>
          <a:lstStyle>
            <a:lvl1pPr>
              <a:defRPr sz="5000">
                <a:solidFill>
                  <a:srgbClr val="000000"/>
                </a:solidFill>
              </a:defRPr>
            </a:lvl1pPr>
            <a:lvl2pPr marL="742950" indent="-285750">
              <a:defRPr sz="5000">
                <a:solidFill>
                  <a:srgbClr val="000000"/>
                </a:solidFill>
              </a:defRPr>
            </a:lvl2pPr>
            <a:lvl3pPr marL="1143000" indent="-228600">
              <a:defRPr sz="5000">
                <a:solidFill>
                  <a:srgbClr val="000000"/>
                </a:solidFill>
              </a:defRPr>
            </a:lvl3pPr>
            <a:lvl4pPr marL="1600200" indent="-228600">
              <a:defRPr sz="5000">
                <a:solidFill>
                  <a:srgbClr val="000000"/>
                </a:solidFill>
              </a:defRPr>
            </a:lvl4pPr>
            <a:lvl5pPr marL="2057400" indent="-228600">
              <a:defRPr sz="5000">
                <a:solidFill>
                  <a:srgbClr val="000000"/>
                </a:solidFill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9pPr>
          </a:lstStyle>
          <a:p>
            <a:pPr algn="ctr" eaLnBrk="1"/>
            <a:r>
              <a:rPr lang="en-US" altLang="ru-RU" sz="1600" b="1" dirty="0">
                <a:solidFill>
                  <a:srgbClr val="FFFFFF"/>
                </a:solidFill>
                <a:cs typeface="+mn-ea"/>
                <a:sym typeface="+mn-lt"/>
              </a:rPr>
              <a:t>W</a:t>
            </a:r>
            <a:endParaRPr lang="ru-RU" altLang="ru-RU" sz="16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0D7538A5-6865-49B5-8674-B1F1974BEAD2}"/>
              </a:ext>
            </a:extLst>
          </p:cNvPr>
          <p:cNvSpPr/>
          <p:nvPr/>
        </p:nvSpPr>
        <p:spPr bwMode="auto">
          <a:xfrm>
            <a:off x="4691559" y="4620429"/>
            <a:ext cx="422626" cy="422626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 fontScale="92500" lnSpcReduction="10000"/>
          </a:bodyPr>
          <a:lstStyle>
            <a:lvl1pPr>
              <a:defRPr sz="5000">
                <a:solidFill>
                  <a:srgbClr val="000000"/>
                </a:solidFill>
              </a:defRPr>
            </a:lvl1pPr>
            <a:lvl2pPr marL="742950" indent="-285750">
              <a:defRPr sz="5000">
                <a:solidFill>
                  <a:srgbClr val="000000"/>
                </a:solidFill>
              </a:defRPr>
            </a:lvl2pPr>
            <a:lvl3pPr marL="1143000" indent="-228600">
              <a:defRPr sz="5000">
                <a:solidFill>
                  <a:srgbClr val="000000"/>
                </a:solidFill>
              </a:defRPr>
            </a:lvl3pPr>
            <a:lvl4pPr marL="1600200" indent="-228600">
              <a:defRPr sz="5000">
                <a:solidFill>
                  <a:srgbClr val="000000"/>
                </a:solidFill>
              </a:defRPr>
            </a:lvl4pPr>
            <a:lvl5pPr marL="2057400" indent="-228600">
              <a:defRPr sz="5000">
                <a:solidFill>
                  <a:srgbClr val="000000"/>
                </a:solidFill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5000">
                <a:solidFill>
                  <a:srgbClr val="000000"/>
                </a:solidFill>
              </a:defRPr>
            </a:lvl9pPr>
          </a:lstStyle>
          <a:p>
            <a:pPr algn="ctr" eaLnBrk="1"/>
            <a:r>
              <a:rPr lang="en-US" altLang="ru-RU" sz="1600" b="1" dirty="0">
                <a:solidFill>
                  <a:srgbClr val="FFFFFF"/>
                </a:solidFill>
                <a:cs typeface="+mn-ea"/>
                <a:sym typeface="+mn-lt"/>
              </a:rPr>
              <a:t>T</a:t>
            </a:r>
            <a:endParaRPr lang="ru-RU" altLang="ru-RU" sz="16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78F8ED94-0C1D-4081-B679-7748D4859745}"/>
              </a:ext>
            </a:extLst>
          </p:cNvPr>
          <p:cNvSpPr/>
          <p:nvPr/>
        </p:nvSpPr>
        <p:spPr bwMode="auto">
          <a:xfrm>
            <a:off x="5378231" y="2921688"/>
            <a:ext cx="1435539" cy="1433724"/>
          </a:xfrm>
          <a:custGeom>
            <a:avLst/>
            <a:gdLst>
              <a:gd name="T0" fmla="*/ 1894967 w 21600"/>
              <a:gd name="T1" fmla="*/ 1892560 h 21600"/>
              <a:gd name="T2" fmla="*/ 1894967 w 21600"/>
              <a:gd name="T3" fmla="*/ 1892560 h 21600"/>
              <a:gd name="T4" fmla="*/ 1894967 w 21600"/>
              <a:gd name="T5" fmla="*/ 1892560 h 21600"/>
              <a:gd name="T6" fmla="*/ 1894967 w 21600"/>
              <a:gd name="T7" fmla="*/ 1892560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10837" y="0"/>
                </a:moveTo>
                <a:lnTo>
                  <a:pt x="21600" y="10696"/>
                </a:lnTo>
                <a:lnTo>
                  <a:pt x="10840" y="21600"/>
                </a:lnTo>
                <a:lnTo>
                  <a:pt x="0" y="10809"/>
                </a:lnTo>
                <a:lnTo>
                  <a:pt x="10837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2000" b="1" i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ru-RU" sz="20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51" name="文本框 50">
            <a:extLst>
              <a:ext uri="{FF2B5EF4-FFF2-40B4-BE49-F238E27FC236}">
                <a16:creationId xmlns:a16="http://schemas.microsoft.com/office/drawing/2014/main" id="{85B06550-AECE-4156-981D-C45E6A64F137}"/>
              </a:ext>
            </a:extLst>
          </p:cNvPr>
          <p:cNvSpPr txBox="1"/>
          <p:nvPr/>
        </p:nvSpPr>
        <p:spPr>
          <a:xfrm>
            <a:off x="673100" y="2930892"/>
            <a:ext cx="3719000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F2FFCD3E-AF0D-4146-9383-CBDAC402CDDF}"/>
              </a:ext>
            </a:extLst>
          </p:cNvPr>
          <p:cNvSpPr/>
          <p:nvPr/>
        </p:nvSpPr>
        <p:spPr>
          <a:xfrm>
            <a:off x="673100" y="2423061"/>
            <a:ext cx="3719000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E86BF0AE-5990-47F2-8EFA-F0BC8914946D}"/>
              </a:ext>
            </a:extLst>
          </p:cNvPr>
          <p:cNvSpPr txBox="1"/>
          <p:nvPr/>
        </p:nvSpPr>
        <p:spPr>
          <a:xfrm>
            <a:off x="673100" y="4254800"/>
            <a:ext cx="3719000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4674ACD8-0F91-4135-B0EE-8071E9D844FC}"/>
              </a:ext>
            </a:extLst>
          </p:cNvPr>
          <p:cNvSpPr/>
          <p:nvPr/>
        </p:nvSpPr>
        <p:spPr>
          <a:xfrm>
            <a:off x="673100" y="3746969"/>
            <a:ext cx="3719000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cxnSp>
        <p:nvCxnSpPr>
          <p:cNvPr id="48" name="直接连接符 47">
            <a:extLst>
              <a:ext uri="{FF2B5EF4-FFF2-40B4-BE49-F238E27FC236}">
                <a16:creationId xmlns:a16="http://schemas.microsoft.com/office/drawing/2014/main" id="{8B744BC8-DF4E-4F09-A001-174A9A485226}"/>
              </a:ext>
            </a:extLst>
          </p:cNvPr>
          <p:cNvCxnSpPr/>
          <p:nvPr/>
        </p:nvCxnSpPr>
        <p:spPr>
          <a:xfrm>
            <a:off x="673100" y="3638551"/>
            <a:ext cx="3486981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文本框 43">
            <a:extLst>
              <a:ext uri="{FF2B5EF4-FFF2-40B4-BE49-F238E27FC236}">
                <a16:creationId xmlns:a16="http://schemas.microsoft.com/office/drawing/2014/main" id="{609C0848-42B3-4E61-A896-0DA0A4DD8072}"/>
              </a:ext>
            </a:extLst>
          </p:cNvPr>
          <p:cNvSpPr txBox="1"/>
          <p:nvPr/>
        </p:nvSpPr>
        <p:spPr>
          <a:xfrm>
            <a:off x="7799900" y="2930892"/>
            <a:ext cx="3719000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5" name="矩形 44">
            <a:extLst>
              <a:ext uri="{FF2B5EF4-FFF2-40B4-BE49-F238E27FC236}">
                <a16:creationId xmlns:a16="http://schemas.microsoft.com/office/drawing/2014/main" id="{BAF58DE9-CC96-494F-A810-C4261147F355}"/>
              </a:ext>
            </a:extLst>
          </p:cNvPr>
          <p:cNvSpPr/>
          <p:nvPr/>
        </p:nvSpPr>
        <p:spPr>
          <a:xfrm>
            <a:off x="7799900" y="2423061"/>
            <a:ext cx="3719000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sp>
        <p:nvSpPr>
          <p:cNvPr id="42" name="文本框 41">
            <a:extLst>
              <a:ext uri="{FF2B5EF4-FFF2-40B4-BE49-F238E27FC236}">
                <a16:creationId xmlns:a16="http://schemas.microsoft.com/office/drawing/2014/main" id="{02626701-7613-49C5-8808-E45E1D40B973}"/>
              </a:ext>
            </a:extLst>
          </p:cNvPr>
          <p:cNvSpPr txBox="1"/>
          <p:nvPr/>
        </p:nvSpPr>
        <p:spPr>
          <a:xfrm>
            <a:off x="7799900" y="4254800"/>
            <a:ext cx="3719000" cy="599240"/>
          </a:xfrm>
          <a:prstGeom prst="rect">
            <a:avLst/>
          </a:prstGeom>
          <a:noFill/>
        </p:spPr>
        <p:txBody>
          <a:bodyPr wrap="square" lIns="91440" tIns="45720" rIns="91440" bIns="4572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3" name="矩形 42">
            <a:extLst>
              <a:ext uri="{FF2B5EF4-FFF2-40B4-BE49-F238E27FC236}">
                <a16:creationId xmlns:a16="http://schemas.microsoft.com/office/drawing/2014/main" id="{99E0A214-509A-4D64-8E3C-DFA02BB4E1B7}"/>
              </a:ext>
            </a:extLst>
          </p:cNvPr>
          <p:cNvSpPr/>
          <p:nvPr/>
        </p:nvSpPr>
        <p:spPr>
          <a:xfrm>
            <a:off x="7799900" y="3746969"/>
            <a:ext cx="3719000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algn="r"/>
            <a:r>
              <a:rPr lang="en-US" altLang="zh-CN" b="1" dirty="0">
                <a:cs typeface="+mn-ea"/>
                <a:sym typeface="+mn-lt"/>
              </a:rPr>
              <a:t>Text here</a:t>
            </a:r>
            <a:endParaRPr lang="zh-CN" altLang="en-US" b="1" dirty="0">
              <a:cs typeface="+mn-ea"/>
              <a:sym typeface="+mn-lt"/>
            </a:endParaRPr>
          </a:p>
        </p:txBody>
      </p: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74AA040F-D393-4D1F-9532-6435E2A5387A}"/>
              </a:ext>
            </a:extLst>
          </p:cNvPr>
          <p:cNvCxnSpPr/>
          <p:nvPr/>
        </p:nvCxnSpPr>
        <p:spPr>
          <a:xfrm>
            <a:off x="8031919" y="3638551"/>
            <a:ext cx="3486981" cy="0"/>
          </a:xfrm>
          <a:prstGeom prst="line">
            <a:avLst/>
          </a:prstGeom>
          <a:ln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4705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72" name="任意多边形: 形状 71">
            <a:extLst>
              <a:ext uri="{FF2B5EF4-FFF2-40B4-BE49-F238E27FC236}">
                <a16:creationId xmlns:a16="http://schemas.microsoft.com/office/drawing/2014/main" id="{F6C557AE-BE64-4749-8EF2-2E698D18C6AA}"/>
              </a:ext>
            </a:extLst>
          </p:cNvPr>
          <p:cNvSpPr/>
          <p:nvPr/>
        </p:nvSpPr>
        <p:spPr bwMode="auto">
          <a:xfrm>
            <a:off x="4824528" y="2237607"/>
            <a:ext cx="2566021" cy="3879030"/>
          </a:xfrm>
          <a:custGeom>
            <a:avLst/>
            <a:gdLst>
              <a:gd name="T0" fmla="*/ 667 w 689"/>
              <a:gd name="T1" fmla="*/ 589 h 1041"/>
              <a:gd name="T2" fmla="*/ 462 w 689"/>
              <a:gd name="T3" fmla="*/ 672 h 1041"/>
              <a:gd name="T4" fmla="*/ 390 w 689"/>
              <a:gd name="T5" fmla="*/ 788 h 1041"/>
              <a:gd name="T6" fmla="*/ 383 w 689"/>
              <a:gd name="T7" fmla="*/ 983 h 1041"/>
              <a:gd name="T8" fmla="*/ 411 w 689"/>
              <a:gd name="T9" fmla="*/ 1041 h 1041"/>
              <a:gd name="T10" fmla="*/ 266 w 689"/>
              <a:gd name="T11" fmla="*/ 968 h 1041"/>
              <a:gd name="T12" fmla="*/ 274 w 689"/>
              <a:gd name="T13" fmla="*/ 866 h 1041"/>
              <a:gd name="T14" fmla="*/ 184 w 689"/>
              <a:gd name="T15" fmla="*/ 586 h 1041"/>
              <a:gd name="T16" fmla="*/ 0 w 689"/>
              <a:gd name="T17" fmla="*/ 473 h 1041"/>
              <a:gd name="T18" fmla="*/ 23 w 689"/>
              <a:gd name="T19" fmla="*/ 490 h 1041"/>
              <a:gd name="T20" fmla="*/ 154 w 689"/>
              <a:gd name="T21" fmla="*/ 527 h 1041"/>
              <a:gd name="T22" fmla="*/ 103 w 689"/>
              <a:gd name="T23" fmla="*/ 447 h 1041"/>
              <a:gd name="T24" fmla="*/ 73 w 689"/>
              <a:gd name="T25" fmla="*/ 340 h 1041"/>
              <a:gd name="T26" fmla="*/ 76 w 689"/>
              <a:gd name="T27" fmla="*/ 280 h 1041"/>
              <a:gd name="T28" fmla="*/ 83 w 689"/>
              <a:gd name="T29" fmla="*/ 323 h 1041"/>
              <a:gd name="T30" fmla="*/ 133 w 689"/>
              <a:gd name="T31" fmla="*/ 435 h 1041"/>
              <a:gd name="T32" fmla="*/ 151 w 689"/>
              <a:gd name="T33" fmla="*/ 458 h 1041"/>
              <a:gd name="T34" fmla="*/ 203 w 689"/>
              <a:gd name="T35" fmla="*/ 518 h 1041"/>
              <a:gd name="T36" fmla="*/ 243 w 689"/>
              <a:gd name="T37" fmla="*/ 567 h 1041"/>
              <a:gd name="T38" fmla="*/ 332 w 689"/>
              <a:gd name="T39" fmla="*/ 594 h 1041"/>
              <a:gd name="T40" fmla="*/ 359 w 689"/>
              <a:gd name="T41" fmla="*/ 494 h 1041"/>
              <a:gd name="T42" fmla="*/ 361 w 689"/>
              <a:gd name="T43" fmla="*/ 481 h 1041"/>
              <a:gd name="T44" fmla="*/ 370 w 689"/>
              <a:gd name="T45" fmla="*/ 427 h 1041"/>
              <a:gd name="T46" fmla="*/ 376 w 689"/>
              <a:gd name="T47" fmla="*/ 327 h 1041"/>
              <a:gd name="T48" fmla="*/ 375 w 689"/>
              <a:gd name="T49" fmla="*/ 287 h 1041"/>
              <a:gd name="T50" fmla="*/ 374 w 689"/>
              <a:gd name="T51" fmla="*/ 270 h 1041"/>
              <a:gd name="T52" fmla="*/ 368 w 689"/>
              <a:gd name="T53" fmla="*/ 215 h 1041"/>
              <a:gd name="T54" fmla="*/ 363 w 689"/>
              <a:gd name="T55" fmla="*/ 188 h 1041"/>
              <a:gd name="T56" fmla="*/ 358 w 689"/>
              <a:gd name="T57" fmla="*/ 165 h 1041"/>
              <a:gd name="T58" fmla="*/ 327 w 689"/>
              <a:gd name="T59" fmla="*/ 67 h 1041"/>
              <a:gd name="T60" fmla="*/ 295 w 689"/>
              <a:gd name="T61" fmla="*/ 0 h 1041"/>
              <a:gd name="T62" fmla="*/ 346 w 689"/>
              <a:gd name="T63" fmla="*/ 66 h 1041"/>
              <a:gd name="T64" fmla="*/ 386 w 689"/>
              <a:gd name="T65" fmla="*/ 146 h 1041"/>
              <a:gd name="T66" fmla="*/ 410 w 689"/>
              <a:gd name="T67" fmla="*/ 228 h 1041"/>
              <a:gd name="T68" fmla="*/ 416 w 689"/>
              <a:gd name="T69" fmla="*/ 259 h 1041"/>
              <a:gd name="T70" fmla="*/ 425 w 689"/>
              <a:gd name="T71" fmla="*/ 361 h 1041"/>
              <a:gd name="T72" fmla="*/ 437 w 689"/>
              <a:gd name="T73" fmla="*/ 370 h 1041"/>
              <a:gd name="T74" fmla="*/ 491 w 689"/>
              <a:gd name="T75" fmla="*/ 306 h 1041"/>
              <a:gd name="T76" fmla="*/ 520 w 689"/>
              <a:gd name="T77" fmla="*/ 275 h 1041"/>
              <a:gd name="T78" fmla="*/ 546 w 689"/>
              <a:gd name="T79" fmla="*/ 239 h 1041"/>
              <a:gd name="T80" fmla="*/ 599 w 689"/>
              <a:gd name="T81" fmla="*/ 113 h 1041"/>
              <a:gd name="T82" fmla="*/ 608 w 689"/>
              <a:gd name="T83" fmla="*/ 120 h 1041"/>
              <a:gd name="T84" fmla="*/ 607 w 689"/>
              <a:gd name="T85" fmla="*/ 131 h 1041"/>
              <a:gd name="T86" fmla="*/ 578 w 689"/>
              <a:gd name="T87" fmla="*/ 235 h 1041"/>
              <a:gd name="T88" fmla="*/ 556 w 689"/>
              <a:gd name="T89" fmla="*/ 280 h 1041"/>
              <a:gd name="T90" fmla="*/ 538 w 689"/>
              <a:gd name="T91" fmla="*/ 311 h 1041"/>
              <a:gd name="T92" fmla="*/ 489 w 689"/>
              <a:gd name="T93" fmla="*/ 386 h 1041"/>
              <a:gd name="T94" fmla="*/ 425 w 689"/>
              <a:gd name="T95" fmla="*/ 489 h 1041"/>
              <a:gd name="T96" fmla="*/ 406 w 689"/>
              <a:gd name="T97" fmla="*/ 605 h 1041"/>
              <a:gd name="T98" fmla="*/ 496 w 689"/>
              <a:gd name="T99" fmla="*/ 584 h 1041"/>
              <a:gd name="T100" fmla="*/ 614 w 689"/>
              <a:gd name="T101" fmla="*/ 485 h 1041"/>
              <a:gd name="T102" fmla="*/ 685 w 689"/>
              <a:gd name="T103" fmla="*/ 390 h 1041"/>
              <a:gd name="T104" fmla="*/ 686 w 689"/>
              <a:gd name="T105" fmla="*/ 390 h 1041"/>
              <a:gd name="T106" fmla="*/ 630 w 689"/>
              <a:gd name="T107" fmla="*/ 492 h 10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89" h="1041">
                <a:moveTo>
                  <a:pt x="534" y="591"/>
                </a:moveTo>
                <a:cubicBezTo>
                  <a:pt x="537" y="590"/>
                  <a:pt x="597" y="559"/>
                  <a:pt x="667" y="589"/>
                </a:cubicBezTo>
                <a:cubicBezTo>
                  <a:pt x="667" y="589"/>
                  <a:pt x="587" y="584"/>
                  <a:pt x="509" y="634"/>
                </a:cubicBezTo>
                <a:cubicBezTo>
                  <a:pt x="493" y="644"/>
                  <a:pt x="477" y="657"/>
                  <a:pt x="462" y="672"/>
                </a:cubicBezTo>
                <a:cubicBezTo>
                  <a:pt x="442" y="692"/>
                  <a:pt x="423" y="718"/>
                  <a:pt x="407" y="750"/>
                </a:cubicBezTo>
                <a:cubicBezTo>
                  <a:pt x="401" y="762"/>
                  <a:pt x="395" y="775"/>
                  <a:pt x="390" y="788"/>
                </a:cubicBezTo>
                <a:cubicBezTo>
                  <a:pt x="390" y="788"/>
                  <a:pt x="374" y="851"/>
                  <a:pt x="381" y="961"/>
                </a:cubicBezTo>
                <a:cubicBezTo>
                  <a:pt x="381" y="961"/>
                  <a:pt x="381" y="970"/>
                  <a:pt x="383" y="983"/>
                </a:cubicBezTo>
                <a:cubicBezTo>
                  <a:pt x="383" y="983"/>
                  <a:pt x="383" y="983"/>
                  <a:pt x="383" y="983"/>
                </a:cubicBezTo>
                <a:cubicBezTo>
                  <a:pt x="387" y="1000"/>
                  <a:pt x="387" y="1026"/>
                  <a:pt x="411" y="1041"/>
                </a:cubicBezTo>
                <a:cubicBezTo>
                  <a:pt x="227" y="1041"/>
                  <a:pt x="227" y="1041"/>
                  <a:pt x="227" y="1041"/>
                </a:cubicBezTo>
                <a:cubicBezTo>
                  <a:pt x="227" y="1041"/>
                  <a:pt x="258" y="1034"/>
                  <a:pt x="266" y="968"/>
                </a:cubicBezTo>
                <a:cubicBezTo>
                  <a:pt x="266" y="968"/>
                  <a:pt x="266" y="968"/>
                  <a:pt x="266" y="968"/>
                </a:cubicBezTo>
                <a:cubicBezTo>
                  <a:pt x="267" y="935"/>
                  <a:pt x="270" y="901"/>
                  <a:pt x="274" y="866"/>
                </a:cubicBezTo>
                <a:cubicBezTo>
                  <a:pt x="289" y="744"/>
                  <a:pt x="247" y="642"/>
                  <a:pt x="196" y="596"/>
                </a:cubicBezTo>
                <a:cubicBezTo>
                  <a:pt x="192" y="592"/>
                  <a:pt x="188" y="589"/>
                  <a:pt x="184" y="586"/>
                </a:cubicBezTo>
                <a:cubicBezTo>
                  <a:pt x="134" y="551"/>
                  <a:pt x="73" y="547"/>
                  <a:pt x="19" y="496"/>
                </a:cubicBezTo>
                <a:cubicBezTo>
                  <a:pt x="13" y="489"/>
                  <a:pt x="6" y="482"/>
                  <a:pt x="0" y="473"/>
                </a:cubicBezTo>
                <a:cubicBezTo>
                  <a:pt x="1" y="474"/>
                  <a:pt x="9" y="482"/>
                  <a:pt x="23" y="490"/>
                </a:cubicBezTo>
                <a:cubicBezTo>
                  <a:pt x="23" y="490"/>
                  <a:pt x="23" y="490"/>
                  <a:pt x="23" y="490"/>
                </a:cubicBezTo>
                <a:cubicBezTo>
                  <a:pt x="37" y="499"/>
                  <a:pt x="57" y="509"/>
                  <a:pt x="82" y="516"/>
                </a:cubicBezTo>
                <a:cubicBezTo>
                  <a:pt x="103" y="522"/>
                  <a:pt x="126" y="526"/>
                  <a:pt x="154" y="527"/>
                </a:cubicBezTo>
                <a:cubicBezTo>
                  <a:pt x="154" y="527"/>
                  <a:pt x="137" y="509"/>
                  <a:pt x="120" y="479"/>
                </a:cubicBezTo>
                <a:cubicBezTo>
                  <a:pt x="114" y="470"/>
                  <a:pt x="108" y="459"/>
                  <a:pt x="103" y="447"/>
                </a:cubicBezTo>
                <a:cubicBezTo>
                  <a:pt x="94" y="429"/>
                  <a:pt x="86" y="408"/>
                  <a:pt x="81" y="386"/>
                </a:cubicBezTo>
                <a:cubicBezTo>
                  <a:pt x="77" y="372"/>
                  <a:pt x="74" y="356"/>
                  <a:pt x="73" y="340"/>
                </a:cubicBezTo>
                <a:cubicBezTo>
                  <a:pt x="72" y="332"/>
                  <a:pt x="72" y="323"/>
                  <a:pt x="72" y="314"/>
                </a:cubicBezTo>
                <a:cubicBezTo>
                  <a:pt x="73" y="303"/>
                  <a:pt x="74" y="291"/>
                  <a:pt x="76" y="280"/>
                </a:cubicBezTo>
                <a:cubicBezTo>
                  <a:pt x="76" y="280"/>
                  <a:pt x="76" y="290"/>
                  <a:pt x="79" y="305"/>
                </a:cubicBezTo>
                <a:cubicBezTo>
                  <a:pt x="80" y="311"/>
                  <a:pt x="82" y="316"/>
                  <a:pt x="83" y="323"/>
                </a:cubicBezTo>
                <a:cubicBezTo>
                  <a:pt x="89" y="346"/>
                  <a:pt x="98" y="377"/>
                  <a:pt x="115" y="406"/>
                </a:cubicBezTo>
                <a:cubicBezTo>
                  <a:pt x="120" y="416"/>
                  <a:pt x="126" y="426"/>
                  <a:pt x="133" y="435"/>
                </a:cubicBezTo>
                <a:cubicBezTo>
                  <a:pt x="139" y="442"/>
                  <a:pt x="145" y="450"/>
                  <a:pt x="151" y="458"/>
                </a:cubicBezTo>
                <a:cubicBezTo>
                  <a:pt x="151" y="458"/>
                  <a:pt x="151" y="458"/>
                  <a:pt x="151" y="458"/>
                </a:cubicBezTo>
                <a:cubicBezTo>
                  <a:pt x="153" y="460"/>
                  <a:pt x="155" y="462"/>
                  <a:pt x="157" y="465"/>
                </a:cubicBezTo>
                <a:cubicBezTo>
                  <a:pt x="171" y="482"/>
                  <a:pt x="187" y="500"/>
                  <a:pt x="203" y="518"/>
                </a:cubicBezTo>
                <a:cubicBezTo>
                  <a:pt x="203" y="518"/>
                  <a:pt x="203" y="518"/>
                  <a:pt x="203" y="518"/>
                </a:cubicBezTo>
                <a:cubicBezTo>
                  <a:pt x="216" y="534"/>
                  <a:pt x="230" y="550"/>
                  <a:pt x="243" y="567"/>
                </a:cubicBezTo>
                <a:cubicBezTo>
                  <a:pt x="270" y="601"/>
                  <a:pt x="293" y="637"/>
                  <a:pt x="303" y="671"/>
                </a:cubicBezTo>
                <a:cubicBezTo>
                  <a:pt x="303" y="671"/>
                  <a:pt x="317" y="642"/>
                  <a:pt x="332" y="594"/>
                </a:cubicBezTo>
                <a:cubicBezTo>
                  <a:pt x="333" y="593"/>
                  <a:pt x="333" y="593"/>
                  <a:pt x="333" y="592"/>
                </a:cubicBezTo>
                <a:cubicBezTo>
                  <a:pt x="342" y="565"/>
                  <a:pt x="351" y="532"/>
                  <a:pt x="359" y="494"/>
                </a:cubicBezTo>
                <a:cubicBezTo>
                  <a:pt x="359" y="491"/>
                  <a:pt x="360" y="489"/>
                  <a:pt x="360" y="486"/>
                </a:cubicBezTo>
                <a:cubicBezTo>
                  <a:pt x="361" y="484"/>
                  <a:pt x="361" y="482"/>
                  <a:pt x="361" y="481"/>
                </a:cubicBezTo>
                <a:cubicBezTo>
                  <a:pt x="364" y="468"/>
                  <a:pt x="366" y="454"/>
                  <a:pt x="368" y="440"/>
                </a:cubicBezTo>
                <a:cubicBezTo>
                  <a:pt x="369" y="436"/>
                  <a:pt x="369" y="431"/>
                  <a:pt x="370" y="427"/>
                </a:cubicBezTo>
                <a:cubicBezTo>
                  <a:pt x="373" y="400"/>
                  <a:pt x="375" y="371"/>
                  <a:pt x="376" y="342"/>
                </a:cubicBezTo>
                <a:cubicBezTo>
                  <a:pt x="376" y="337"/>
                  <a:pt x="376" y="332"/>
                  <a:pt x="376" y="327"/>
                </a:cubicBezTo>
                <a:cubicBezTo>
                  <a:pt x="376" y="314"/>
                  <a:pt x="376" y="301"/>
                  <a:pt x="375" y="288"/>
                </a:cubicBezTo>
                <a:cubicBezTo>
                  <a:pt x="375" y="287"/>
                  <a:pt x="375" y="287"/>
                  <a:pt x="375" y="287"/>
                </a:cubicBezTo>
                <a:cubicBezTo>
                  <a:pt x="375" y="281"/>
                  <a:pt x="374" y="276"/>
                  <a:pt x="374" y="270"/>
                </a:cubicBezTo>
                <a:cubicBezTo>
                  <a:pt x="374" y="270"/>
                  <a:pt x="374" y="270"/>
                  <a:pt x="374" y="270"/>
                </a:cubicBezTo>
                <a:cubicBezTo>
                  <a:pt x="374" y="265"/>
                  <a:pt x="373" y="261"/>
                  <a:pt x="373" y="257"/>
                </a:cubicBezTo>
                <a:cubicBezTo>
                  <a:pt x="372" y="243"/>
                  <a:pt x="370" y="229"/>
                  <a:pt x="368" y="215"/>
                </a:cubicBezTo>
                <a:cubicBezTo>
                  <a:pt x="367" y="207"/>
                  <a:pt x="365" y="199"/>
                  <a:pt x="364" y="191"/>
                </a:cubicBezTo>
                <a:cubicBezTo>
                  <a:pt x="363" y="190"/>
                  <a:pt x="363" y="189"/>
                  <a:pt x="363" y="188"/>
                </a:cubicBezTo>
                <a:cubicBezTo>
                  <a:pt x="363" y="188"/>
                  <a:pt x="363" y="188"/>
                  <a:pt x="363" y="188"/>
                </a:cubicBezTo>
                <a:cubicBezTo>
                  <a:pt x="362" y="181"/>
                  <a:pt x="360" y="173"/>
                  <a:pt x="358" y="165"/>
                </a:cubicBezTo>
                <a:cubicBezTo>
                  <a:pt x="352" y="139"/>
                  <a:pt x="344" y="113"/>
                  <a:pt x="334" y="86"/>
                </a:cubicBezTo>
                <a:cubicBezTo>
                  <a:pt x="332" y="80"/>
                  <a:pt x="330" y="74"/>
                  <a:pt x="327" y="67"/>
                </a:cubicBezTo>
                <a:cubicBezTo>
                  <a:pt x="323" y="57"/>
                  <a:pt x="319" y="48"/>
                  <a:pt x="314" y="38"/>
                </a:cubicBezTo>
                <a:cubicBezTo>
                  <a:pt x="308" y="25"/>
                  <a:pt x="302" y="12"/>
                  <a:pt x="295" y="0"/>
                </a:cubicBezTo>
                <a:cubicBezTo>
                  <a:pt x="296" y="1"/>
                  <a:pt x="310" y="14"/>
                  <a:pt x="328" y="39"/>
                </a:cubicBezTo>
                <a:cubicBezTo>
                  <a:pt x="334" y="47"/>
                  <a:pt x="340" y="56"/>
                  <a:pt x="346" y="66"/>
                </a:cubicBezTo>
                <a:cubicBezTo>
                  <a:pt x="346" y="66"/>
                  <a:pt x="346" y="66"/>
                  <a:pt x="346" y="66"/>
                </a:cubicBezTo>
                <a:cubicBezTo>
                  <a:pt x="359" y="87"/>
                  <a:pt x="373" y="114"/>
                  <a:pt x="386" y="146"/>
                </a:cubicBezTo>
                <a:cubicBezTo>
                  <a:pt x="392" y="163"/>
                  <a:pt x="398" y="181"/>
                  <a:pt x="404" y="201"/>
                </a:cubicBezTo>
                <a:cubicBezTo>
                  <a:pt x="406" y="210"/>
                  <a:pt x="408" y="218"/>
                  <a:pt x="410" y="228"/>
                </a:cubicBezTo>
                <a:cubicBezTo>
                  <a:pt x="410" y="228"/>
                  <a:pt x="410" y="228"/>
                  <a:pt x="410" y="228"/>
                </a:cubicBezTo>
                <a:cubicBezTo>
                  <a:pt x="412" y="238"/>
                  <a:pt x="414" y="248"/>
                  <a:pt x="416" y="259"/>
                </a:cubicBezTo>
                <a:cubicBezTo>
                  <a:pt x="420" y="281"/>
                  <a:pt x="423" y="305"/>
                  <a:pt x="424" y="331"/>
                </a:cubicBezTo>
                <a:cubicBezTo>
                  <a:pt x="424" y="340"/>
                  <a:pt x="425" y="350"/>
                  <a:pt x="425" y="361"/>
                </a:cubicBezTo>
                <a:cubicBezTo>
                  <a:pt x="425" y="370"/>
                  <a:pt x="425" y="379"/>
                  <a:pt x="425" y="389"/>
                </a:cubicBezTo>
                <a:cubicBezTo>
                  <a:pt x="425" y="389"/>
                  <a:pt x="429" y="381"/>
                  <a:pt x="437" y="370"/>
                </a:cubicBezTo>
                <a:cubicBezTo>
                  <a:pt x="442" y="362"/>
                  <a:pt x="449" y="353"/>
                  <a:pt x="457" y="344"/>
                </a:cubicBezTo>
                <a:cubicBezTo>
                  <a:pt x="467" y="331"/>
                  <a:pt x="478" y="317"/>
                  <a:pt x="491" y="306"/>
                </a:cubicBezTo>
                <a:cubicBezTo>
                  <a:pt x="495" y="302"/>
                  <a:pt x="501" y="297"/>
                  <a:pt x="506" y="291"/>
                </a:cubicBezTo>
                <a:cubicBezTo>
                  <a:pt x="511" y="286"/>
                  <a:pt x="515" y="281"/>
                  <a:pt x="520" y="275"/>
                </a:cubicBezTo>
                <a:cubicBezTo>
                  <a:pt x="528" y="265"/>
                  <a:pt x="537" y="253"/>
                  <a:pt x="546" y="239"/>
                </a:cubicBezTo>
                <a:cubicBezTo>
                  <a:pt x="546" y="239"/>
                  <a:pt x="546" y="239"/>
                  <a:pt x="546" y="239"/>
                </a:cubicBezTo>
                <a:cubicBezTo>
                  <a:pt x="551" y="231"/>
                  <a:pt x="556" y="222"/>
                  <a:pt x="561" y="213"/>
                </a:cubicBezTo>
                <a:cubicBezTo>
                  <a:pt x="575" y="186"/>
                  <a:pt x="588" y="153"/>
                  <a:pt x="599" y="113"/>
                </a:cubicBezTo>
                <a:cubicBezTo>
                  <a:pt x="602" y="101"/>
                  <a:pt x="605" y="88"/>
                  <a:pt x="608" y="74"/>
                </a:cubicBezTo>
                <a:cubicBezTo>
                  <a:pt x="608" y="74"/>
                  <a:pt x="611" y="91"/>
                  <a:pt x="608" y="120"/>
                </a:cubicBezTo>
                <a:cubicBezTo>
                  <a:pt x="608" y="123"/>
                  <a:pt x="607" y="127"/>
                  <a:pt x="607" y="131"/>
                </a:cubicBezTo>
                <a:cubicBezTo>
                  <a:pt x="607" y="131"/>
                  <a:pt x="607" y="131"/>
                  <a:pt x="607" y="131"/>
                </a:cubicBezTo>
                <a:cubicBezTo>
                  <a:pt x="606" y="137"/>
                  <a:pt x="605" y="143"/>
                  <a:pt x="604" y="150"/>
                </a:cubicBezTo>
                <a:cubicBezTo>
                  <a:pt x="600" y="174"/>
                  <a:pt x="592" y="203"/>
                  <a:pt x="578" y="235"/>
                </a:cubicBezTo>
                <a:cubicBezTo>
                  <a:pt x="574" y="244"/>
                  <a:pt x="570" y="253"/>
                  <a:pt x="566" y="262"/>
                </a:cubicBezTo>
                <a:cubicBezTo>
                  <a:pt x="563" y="268"/>
                  <a:pt x="560" y="274"/>
                  <a:pt x="556" y="280"/>
                </a:cubicBezTo>
                <a:cubicBezTo>
                  <a:pt x="553" y="286"/>
                  <a:pt x="550" y="291"/>
                  <a:pt x="547" y="297"/>
                </a:cubicBezTo>
                <a:cubicBezTo>
                  <a:pt x="544" y="302"/>
                  <a:pt x="541" y="306"/>
                  <a:pt x="538" y="311"/>
                </a:cubicBezTo>
                <a:cubicBezTo>
                  <a:pt x="521" y="337"/>
                  <a:pt x="508" y="359"/>
                  <a:pt x="496" y="376"/>
                </a:cubicBezTo>
                <a:cubicBezTo>
                  <a:pt x="493" y="379"/>
                  <a:pt x="491" y="383"/>
                  <a:pt x="489" y="386"/>
                </a:cubicBezTo>
                <a:cubicBezTo>
                  <a:pt x="448" y="446"/>
                  <a:pt x="439" y="449"/>
                  <a:pt x="427" y="479"/>
                </a:cubicBezTo>
                <a:cubicBezTo>
                  <a:pt x="427" y="479"/>
                  <a:pt x="426" y="483"/>
                  <a:pt x="425" y="489"/>
                </a:cubicBezTo>
                <a:cubicBezTo>
                  <a:pt x="425" y="492"/>
                  <a:pt x="424" y="497"/>
                  <a:pt x="423" y="501"/>
                </a:cubicBezTo>
                <a:cubicBezTo>
                  <a:pt x="419" y="526"/>
                  <a:pt x="411" y="568"/>
                  <a:pt x="406" y="605"/>
                </a:cubicBezTo>
                <a:cubicBezTo>
                  <a:pt x="401" y="635"/>
                  <a:pt x="397" y="663"/>
                  <a:pt x="396" y="677"/>
                </a:cubicBezTo>
                <a:cubicBezTo>
                  <a:pt x="396" y="677"/>
                  <a:pt x="444" y="624"/>
                  <a:pt x="496" y="584"/>
                </a:cubicBezTo>
                <a:cubicBezTo>
                  <a:pt x="502" y="579"/>
                  <a:pt x="509" y="574"/>
                  <a:pt x="515" y="570"/>
                </a:cubicBezTo>
                <a:cubicBezTo>
                  <a:pt x="545" y="548"/>
                  <a:pt x="581" y="519"/>
                  <a:pt x="614" y="485"/>
                </a:cubicBezTo>
                <a:cubicBezTo>
                  <a:pt x="615" y="485"/>
                  <a:pt x="615" y="484"/>
                  <a:pt x="616" y="483"/>
                </a:cubicBezTo>
                <a:cubicBezTo>
                  <a:pt x="644" y="454"/>
                  <a:pt x="669" y="422"/>
                  <a:pt x="685" y="390"/>
                </a:cubicBezTo>
                <a:cubicBezTo>
                  <a:pt x="686" y="387"/>
                  <a:pt x="688" y="385"/>
                  <a:pt x="689" y="383"/>
                </a:cubicBezTo>
                <a:cubicBezTo>
                  <a:pt x="689" y="383"/>
                  <a:pt x="688" y="386"/>
                  <a:pt x="686" y="390"/>
                </a:cubicBezTo>
                <a:cubicBezTo>
                  <a:pt x="681" y="406"/>
                  <a:pt x="665" y="444"/>
                  <a:pt x="632" y="490"/>
                </a:cubicBezTo>
                <a:cubicBezTo>
                  <a:pt x="631" y="490"/>
                  <a:pt x="631" y="491"/>
                  <a:pt x="630" y="492"/>
                </a:cubicBezTo>
                <a:cubicBezTo>
                  <a:pt x="607" y="523"/>
                  <a:pt x="576" y="558"/>
                  <a:pt x="534" y="591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3" name="任意多边形: 形状 72">
            <a:extLst>
              <a:ext uri="{FF2B5EF4-FFF2-40B4-BE49-F238E27FC236}">
                <a16:creationId xmlns:a16="http://schemas.microsoft.com/office/drawing/2014/main" id="{41750FC2-4CFD-4BA6-B9FD-B39B0D6102D4}"/>
              </a:ext>
            </a:extLst>
          </p:cNvPr>
          <p:cNvSpPr/>
          <p:nvPr/>
        </p:nvSpPr>
        <p:spPr bwMode="auto">
          <a:xfrm>
            <a:off x="4974519" y="3169866"/>
            <a:ext cx="1218399" cy="1220707"/>
          </a:xfrm>
          <a:custGeom>
            <a:avLst/>
            <a:gdLst>
              <a:gd name="T0" fmla="*/ 323 w 327"/>
              <a:gd name="T1" fmla="*/ 198 h 328"/>
              <a:gd name="T2" fmla="*/ 313 w 327"/>
              <a:gd name="T3" fmla="*/ 229 h 328"/>
              <a:gd name="T4" fmla="*/ 310 w 327"/>
              <a:gd name="T5" fmla="*/ 235 h 328"/>
              <a:gd name="T6" fmla="*/ 240 w 327"/>
              <a:gd name="T7" fmla="*/ 307 h 328"/>
              <a:gd name="T8" fmla="*/ 203 w 327"/>
              <a:gd name="T9" fmla="*/ 321 h 328"/>
              <a:gd name="T10" fmla="*/ 173 w 327"/>
              <a:gd name="T11" fmla="*/ 325 h 328"/>
              <a:gd name="T12" fmla="*/ 42 w 327"/>
              <a:gd name="T13" fmla="*/ 270 h 328"/>
              <a:gd name="T14" fmla="*/ 15 w 327"/>
              <a:gd name="T15" fmla="*/ 227 h 328"/>
              <a:gd name="T16" fmla="*/ 2 w 327"/>
              <a:gd name="T17" fmla="*/ 171 h 328"/>
              <a:gd name="T18" fmla="*/ 32 w 327"/>
              <a:gd name="T19" fmla="*/ 68 h 328"/>
              <a:gd name="T20" fmla="*/ 39 w 327"/>
              <a:gd name="T21" fmla="*/ 59 h 328"/>
              <a:gd name="T22" fmla="*/ 99 w 327"/>
              <a:gd name="T23" fmla="*/ 14 h 328"/>
              <a:gd name="T24" fmla="*/ 132 w 327"/>
              <a:gd name="T25" fmla="*/ 4 h 328"/>
              <a:gd name="T26" fmla="*/ 155 w 327"/>
              <a:gd name="T27" fmla="*/ 1 h 328"/>
              <a:gd name="T28" fmla="*/ 155 w 327"/>
              <a:gd name="T29" fmla="*/ 1 h 328"/>
              <a:gd name="T30" fmla="*/ 156 w 327"/>
              <a:gd name="T31" fmla="*/ 1 h 328"/>
              <a:gd name="T32" fmla="*/ 182 w 327"/>
              <a:gd name="T33" fmla="*/ 1 h 328"/>
              <a:gd name="T34" fmla="*/ 182 w 327"/>
              <a:gd name="T35" fmla="*/ 1 h 328"/>
              <a:gd name="T36" fmla="*/ 248 w 327"/>
              <a:gd name="T37" fmla="*/ 24 h 328"/>
              <a:gd name="T38" fmla="*/ 264 w 327"/>
              <a:gd name="T39" fmla="*/ 34 h 328"/>
              <a:gd name="T40" fmla="*/ 299 w 327"/>
              <a:gd name="T41" fmla="*/ 72 h 328"/>
              <a:gd name="T42" fmla="*/ 299 w 327"/>
              <a:gd name="T43" fmla="*/ 73 h 328"/>
              <a:gd name="T44" fmla="*/ 308 w 327"/>
              <a:gd name="T45" fmla="*/ 86 h 328"/>
              <a:gd name="T46" fmla="*/ 327 w 327"/>
              <a:gd name="T47" fmla="*/ 155 h 328"/>
              <a:gd name="T48" fmla="*/ 323 w 327"/>
              <a:gd name="T49" fmla="*/ 198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7" h="328">
                <a:moveTo>
                  <a:pt x="323" y="198"/>
                </a:moveTo>
                <a:cubicBezTo>
                  <a:pt x="321" y="209"/>
                  <a:pt x="317" y="219"/>
                  <a:pt x="313" y="229"/>
                </a:cubicBezTo>
                <a:cubicBezTo>
                  <a:pt x="312" y="231"/>
                  <a:pt x="311" y="233"/>
                  <a:pt x="310" y="235"/>
                </a:cubicBezTo>
                <a:cubicBezTo>
                  <a:pt x="295" y="266"/>
                  <a:pt x="270" y="291"/>
                  <a:pt x="240" y="307"/>
                </a:cubicBezTo>
                <a:cubicBezTo>
                  <a:pt x="228" y="313"/>
                  <a:pt x="216" y="318"/>
                  <a:pt x="203" y="321"/>
                </a:cubicBezTo>
                <a:cubicBezTo>
                  <a:pt x="193" y="323"/>
                  <a:pt x="183" y="325"/>
                  <a:pt x="173" y="325"/>
                </a:cubicBezTo>
                <a:cubicBezTo>
                  <a:pt x="121" y="328"/>
                  <a:pt x="74" y="306"/>
                  <a:pt x="42" y="270"/>
                </a:cubicBezTo>
                <a:cubicBezTo>
                  <a:pt x="31" y="257"/>
                  <a:pt x="22" y="243"/>
                  <a:pt x="15" y="227"/>
                </a:cubicBezTo>
                <a:cubicBezTo>
                  <a:pt x="8" y="210"/>
                  <a:pt x="3" y="191"/>
                  <a:pt x="2" y="171"/>
                </a:cubicBezTo>
                <a:cubicBezTo>
                  <a:pt x="0" y="133"/>
                  <a:pt x="12" y="97"/>
                  <a:pt x="32" y="68"/>
                </a:cubicBezTo>
                <a:cubicBezTo>
                  <a:pt x="35" y="65"/>
                  <a:pt x="37" y="62"/>
                  <a:pt x="39" y="59"/>
                </a:cubicBezTo>
                <a:cubicBezTo>
                  <a:pt x="55" y="40"/>
                  <a:pt x="76" y="24"/>
                  <a:pt x="99" y="14"/>
                </a:cubicBezTo>
                <a:cubicBezTo>
                  <a:pt x="109" y="10"/>
                  <a:pt x="120" y="6"/>
                  <a:pt x="132" y="4"/>
                </a:cubicBezTo>
                <a:cubicBezTo>
                  <a:pt x="139" y="2"/>
                  <a:pt x="147" y="1"/>
                  <a:pt x="155" y="1"/>
                </a:cubicBezTo>
                <a:cubicBezTo>
                  <a:pt x="155" y="1"/>
                  <a:pt x="155" y="1"/>
                  <a:pt x="155" y="1"/>
                </a:cubicBezTo>
                <a:cubicBezTo>
                  <a:pt x="155" y="1"/>
                  <a:pt x="156" y="1"/>
                  <a:pt x="156" y="1"/>
                </a:cubicBezTo>
                <a:cubicBezTo>
                  <a:pt x="165" y="0"/>
                  <a:pt x="173" y="0"/>
                  <a:pt x="182" y="1"/>
                </a:cubicBezTo>
                <a:cubicBezTo>
                  <a:pt x="182" y="1"/>
                  <a:pt x="182" y="1"/>
                  <a:pt x="182" y="1"/>
                </a:cubicBezTo>
                <a:cubicBezTo>
                  <a:pt x="206" y="4"/>
                  <a:pt x="228" y="12"/>
                  <a:pt x="248" y="24"/>
                </a:cubicBezTo>
                <a:cubicBezTo>
                  <a:pt x="253" y="27"/>
                  <a:pt x="259" y="30"/>
                  <a:pt x="264" y="34"/>
                </a:cubicBezTo>
                <a:cubicBezTo>
                  <a:pt x="277" y="45"/>
                  <a:pt x="290" y="58"/>
                  <a:pt x="299" y="72"/>
                </a:cubicBezTo>
                <a:cubicBezTo>
                  <a:pt x="299" y="73"/>
                  <a:pt x="299" y="73"/>
                  <a:pt x="299" y="73"/>
                </a:cubicBezTo>
                <a:cubicBezTo>
                  <a:pt x="302" y="77"/>
                  <a:pt x="305" y="82"/>
                  <a:pt x="308" y="86"/>
                </a:cubicBezTo>
                <a:cubicBezTo>
                  <a:pt x="319" y="107"/>
                  <a:pt x="325" y="130"/>
                  <a:pt x="327" y="155"/>
                </a:cubicBezTo>
                <a:cubicBezTo>
                  <a:pt x="327" y="170"/>
                  <a:pt x="326" y="184"/>
                  <a:pt x="323" y="19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4" name="任意多边形: 形状 73">
            <a:extLst>
              <a:ext uri="{FF2B5EF4-FFF2-40B4-BE49-F238E27FC236}">
                <a16:creationId xmlns:a16="http://schemas.microsoft.com/office/drawing/2014/main" id="{A67DCAB8-B727-4EEF-9C41-9B705A32BFF9}"/>
              </a:ext>
            </a:extLst>
          </p:cNvPr>
          <p:cNvSpPr/>
          <p:nvPr/>
        </p:nvSpPr>
        <p:spPr bwMode="auto">
          <a:xfrm>
            <a:off x="4501467" y="2562973"/>
            <a:ext cx="535357" cy="535357"/>
          </a:xfrm>
          <a:custGeom>
            <a:avLst/>
            <a:gdLst>
              <a:gd name="T0" fmla="*/ 142 w 144"/>
              <a:gd name="T1" fmla="*/ 69 h 144"/>
              <a:gd name="T2" fmla="*/ 76 w 144"/>
              <a:gd name="T3" fmla="*/ 142 h 144"/>
              <a:gd name="T4" fmla="*/ 2 w 144"/>
              <a:gd name="T5" fmla="*/ 76 h 144"/>
              <a:gd name="T6" fmla="*/ 69 w 144"/>
              <a:gd name="T7" fmla="*/ 2 h 144"/>
              <a:gd name="T8" fmla="*/ 142 w 144"/>
              <a:gd name="T9" fmla="*/ 6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" h="144">
                <a:moveTo>
                  <a:pt x="142" y="69"/>
                </a:moveTo>
                <a:cubicBezTo>
                  <a:pt x="144" y="107"/>
                  <a:pt x="114" y="140"/>
                  <a:pt x="76" y="142"/>
                </a:cubicBezTo>
                <a:cubicBezTo>
                  <a:pt x="37" y="144"/>
                  <a:pt x="4" y="114"/>
                  <a:pt x="2" y="76"/>
                </a:cubicBezTo>
                <a:cubicBezTo>
                  <a:pt x="0" y="37"/>
                  <a:pt x="30" y="4"/>
                  <a:pt x="69" y="2"/>
                </a:cubicBezTo>
                <a:cubicBezTo>
                  <a:pt x="107" y="0"/>
                  <a:pt x="140" y="30"/>
                  <a:pt x="142" y="69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5" name="任意多边形: 形状 74">
            <a:extLst>
              <a:ext uri="{FF2B5EF4-FFF2-40B4-BE49-F238E27FC236}">
                <a16:creationId xmlns:a16="http://schemas.microsoft.com/office/drawing/2014/main" id="{1A9DD885-7DF3-4A42-9A1E-5BA2AD3D5B8D}"/>
              </a:ext>
            </a:extLst>
          </p:cNvPr>
          <p:cNvSpPr/>
          <p:nvPr/>
        </p:nvSpPr>
        <p:spPr bwMode="auto">
          <a:xfrm>
            <a:off x="7143638" y="3206787"/>
            <a:ext cx="537665" cy="535357"/>
          </a:xfrm>
          <a:custGeom>
            <a:avLst/>
            <a:gdLst>
              <a:gd name="T0" fmla="*/ 142 w 144"/>
              <a:gd name="T1" fmla="*/ 69 h 144"/>
              <a:gd name="T2" fmla="*/ 75 w 144"/>
              <a:gd name="T3" fmla="*/ 142 h 144"/>
              <a:gd name="T4" fmla="*/ 1 w 144"/>
              <a:gd name="T5" fmla="*/ 76 h 144"/>
              <a:gd name="T6" fmla="*/ 68 w 144"/>
              <a:gd name="T7" fmla="*/ 2 h 144"/>
              <a:gd name="T8" fmla="*/ 142 w 144"/>
              <a:gd name="T9" fmla="*/ 69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" h="144">
                <a:moveTo>
                  <a:pt x="142" y="69"/>
                </a:moveTo>
                <a:cubicBezTo>
                  <a:pt x="144" y="108"/>
                  <a:pt x="114" y="141"/>
                  <a:pt x="75" y="142"/>
                </a:cubicBezTo>
                <a:cubicBezTo>
                  <a:pt x="36" y="144"/>
                  <a:pt x="3" y="115"/>
                  <a:pt x="1" y="76"/>
                </a:cubicBezTo>
                <a:cubicBezTo>
                  <a:pt x="0" y="37"/>
                  <a:pt x="29" y="4"/>
                  <a:pt x="68" y="2"/>
                </a:cubicBezTo>
                <a:cubicBezTo>
                  <a:pt x="107" y="0"/>
                  <a:pt x="140" y="30"/>
                  <a:pt x="142" y="69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6" name="任意多边形: 形状 75">
            <a:extLst>
              <a:ext uri="{FF2B5EF4-FFF2-40B4-BE49-F238E27FC236}">
                <a16:creationId xmlns:a16="http://schemas.microsoft.com/office/drawing/2014/main" id="{361A8BCE-0C53-4048-AF88-C2208F69206D}"/>
              </a:ext>
            </a:extLst>
          </p:cNvPr>
          <p:cNvSpPr/>
          <p:nvPr/>
        </p:nvSpPr>
        <p:spPr bwMode="auto">
          <a:xfrm>
            <a:off x="5756787" y="3456005"/>
            <a:ext cx="539972" cy="537665"/>
          </a:xfrm>
          <a:custGeom>
            <a:avLst/>
            <a:gdLst>
              <a:gd name="T0" fmla="*/ 143 w 145"/>
              <a:gd name="T1" fmla="*/ 68 h 144"/>
              <a:gd name="T2" fmla="*/ 76 w 145"/>
              <a:gd name="T3" fmla="*/ 142 h 144"/>
              <a:gd name="T4" fmla="*/ 2 w 145"/>
              <a:gd name="T5" fmla="*/ 75 h 144"/>
              <a:gd name="T6" fmla="*/ 69 w 145"/>
              <a:gd name="T7" fmla="*/ 2 h 144"/>
              <a:gd name="T8" fmla="*/ 143 w 145"/>
              <a:gd name="T9" fmla="*/ 6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5" h="144">
                <a:moveTo>
                  <a:pt x="143" y="68"/>
                </a:moveTo>
                <a:cubicBezTo>
                  <a:pt x="145" y="107"/>
                  <a:pt x="115" y="140"/>
                  <a:pt x="76" y="142"/>
                </a:cubicBezTo>
                <a:cubicBezTo>
                  <a:pt x="37" y="144"/>
                  <a:pt x="4" y="114"/>
                  <a:pt x="2" y="75"/>
                </a:cubicBezTo>
                <a:cubicBezTo>
                  <a:pt x="0" y="36"/>
                  <a:pt x="30" y="3"/>
                  <a:pt x="69" y="2"/>
                </a:cubicBezTo>
                <a:cubicBezTo>
                  <a:pt x="108" y="0"/>
                  <a:pt x="141" y="29"/>
                  <a:pt x="143" y="68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7" name="任意多边形: 形状 76">
            <a:extLst>
              <a:ext uri="{FF2B5EF4-FFF2-40B4-BE49-F238E27FC236}">
                <a16:creationId xmlns:a16="http://schemas.microsoft.com/office/drawing/2014/main" id="{07FEBE1D-6F7C-45E5-9F04-3AF8654DB1A0}"/>
              </a:ext>
            </a:extLst>
          </p:cNvPr>
          <p:cNvSpPr/>
          <p:nvPr/>
        </p:nvSpPr>
        <p:spPr bwMode="auto">
          <a:xfrm>
            <a:off x="5777554" y="1898392"/>
            <a:ext cx="537665" cy="537665"/>
          </a:xfrm>
          <a:custGeom>
            <a:avLst/>
            <a:gdLst>
              <a:gd name="T0" fmla="*/ 143 w 144"/>
              <a:gd name="T1" fmla="*/ 68 h 144"/>
              <a:gd name="T2" fmla="*/ 76 w 144"/>
              <a:gd name="T3" fmla="*/ 142 h 144"/>
              <a:gd name="T4" fmla="*/ 2 w 144"/>
              <a:gd name="T5" fmla="*/ 75 h 144"/>
              <a:gd name="T6" fmla="*/ 69 w 144"/>
              <a:gd name="T7" fmla="*/ 2 h 144"/>
              <a:gd name="T8" fmla="*/ 143 w 144"/>
              <a:gd name="T9" fmla="*/ 68 h 1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4" h="144">
                <a:moveTo>
                  <a:pt x="143" y="68"/>
                </a:moveTo>
                <a:cubicBezTo>
                  <a:pt x="144" y="107"/>
                  <a:pt x="115" y="140"/>
                  <a:pt x="76" y="142"/>
                </a:cubicBezTo>
                <a:cubicBezTo>
                  <a:pt x="37" y="144"/>
                  <a:pt x="4" y="114"/>
                  <a:pt x="2" y="75"/>
                </a:cubicBezTo>
                <a:cubicBezTo>
                  <a:pt x="0" y="37"/>
                  <a:pt x="30" y="4"/>
                  <a:pt x="69" y="2"/>
                </a:cubicBezTo>
                <a:cubicBezTo>
                  <a:pt x="108" y="0"/>
                  <a:pt x="141" y="30"/>
                  <a:pt x="143" y="68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8" name="任意多边形: 形状 77">
            <a:extLst>
              <a:ext uri="{FF2B5EF4-FFF2-40B4-BE49-F238E27FC236}">
                <a16:creationId xmlns:a16="http://schemas.microsoft.com/office/drawing/2014/main" id="{CEBEAFB4-9FC9-442A-B0FC-63B5E3228D17}"/>
              </a:ext>
            </a:extLst>
          </p:cNvPr>
          <p:cNvSpPr/>
          <p:nvPr/>
        </p:nvSpPr>
        <p:spPr bwMode="auto">
          <a:xfrm>
            <a:off x="7155176" y="1656098"/>
            <a:ext cx="200760" cy="203066"/>
          </a:xfrm>
          <a:custGeom>
            <a:avLst/>
            <a:gdLst>
              <a:gd name="T0" fmla="*/ 53 w 54"/>
              <a:gd name="T1" fmla="*/ 25 h 54"/>
              <a:gd name="T2" fmla="*/ 28 w 54"/>
              <a:gd name="T3" fmla="*/ 53 h 54"/>
              <a:gd name="T4" fmla="*/ 1 w 54"/>
              <a:gd name="T5" fmla="*/ 28 h 54"/>
              <a:gd name="T6" fmla="*/ 26 w 54"/>
              <a:gd name="T7" fmla="*/ 1 h 54"/>
              <a:gd name="T8" fmla="*/ 53 w 54"/>
              <a:gd name="T9" fmla="*/ 25 h 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4" h="54">
                <a:moveTo>
                  <a:pt x="53" y="25"/>
                </a:moveTo>
                <a:cubicBezTo>
                  <a:pt x="54" y="40"/>
                  <a:pt x="43" y="52"/>
                  <a:pt x="28" y="53"/>
                </a:cubicBezTo>
                <a:cubicBezTo>
                  <a:pt x="14" y="54"/>
                  <a:pt x="2" y="42"/>
                  <a:pt x="1" y="28"/>
                </a:cubicBezTo>
                <a:cubicBezTo>
                  <a:pt x="0" y="14"/>
                  <a:pt x="11" y="1"/>
                  <a:pt x="26" y="1"/>
                </a:cubicBezTo>
                <a:cubicBezTo>
                  <a:pt x="40" y="0"/>
                  <a:pt x="52" y="11"/>
                  <a:pt x="53" y="2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47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9" name="任意多边形: 形状 78">
            <a:extLst>
              <a:ext uri="{FF2B5EF4-FFF2-40B4-BE49-F238E27FC236}">
                <a16:creationId xmlns:a16="http://schemas.microsoft.com/office/drawing/2014/main" id="{340DD555-727D-49C1-A41B-510A239C5E99}"/>
              </a:ext>
            </a:extLst>
          </p:cNvPr>
          <p:cNvSpPr/>
          <p:nvPr/>
        </p:nvSpPr>
        <p:spPr bwMode="auto">
          <a:xfrm>
            <a:off x="7360550" y="2032232"/>
            <a:ext cx="55382" cy="57690"/>
          </a:xfrm>
          <a:custGeom>
            <a:avLst/>
            <a:gdLst>
              <a:gd name="T0" fmla="*/ 15 w 15"/>
              <a:gd name="T1" fmla="*/ 7 h 15"/>
              <a:gd name="T2" fmla="*/ 8 w 15"/>
              <a:gd name="T3" fmla="*/ 15 h 15"/>
              <a:gd name="T4" fmla="*/ 1 w 15"/>
              <a:gd name="T5" fmla="*/ 8 h 15"/>
              <a:gd name="T6" fmla="*/ 8 w 15"/>
              <a:gd name="T7" fmla="*/ 0 h 15"/>
              <a:gd name="T8" fmla="*/ 15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5" y="7"/>
                </a:moveTo>
                <a:cubicBezTo>
                  <a:pt x="15" y="11"/>
                  <a:pt x="12" y="15"/>
                  <a:pt x="8" y="15"/>
                </a:cubicBezTo>
                <a:cubicBezTo>
                  <a:pt x="4" y="15"/>
                  <a:pt x="1" y="12"/>
                  <a:pt x="1" y="8"/>
                </a:cubicBezTo>
                <a:cubicBezTo>
                  <a:pt x="0" y="4"/>
                  <a:pt x="4" y="1"/>
                  <a:pt x="8" y="0"/>
                </a:cubicBezTo>
                <a:cubicBezTo>
                  <a:pt x="12" y="0"/>
                  <a:pt x="15" y="3"/>
                  <a:pt x="15" y="7"/>
                </a:cubicBezTo>
                <a:close/>
              </a:path>
            </a:pathLst>
          </a:custGeom>
          <a:solidFill>
            <a:schemeClr val="accent1">
              <a:alpha val="30000"/>
            </a:scheme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0" name="任意多边形: 形状 79">
            <a:extLst>
              <a:ext uri="{FF2B5EF4-FFF2-40B4-BE49-F238E27FC236}">
                <a16:creationId xmlns:a16="http://schemas.microsoft.com/office/drawing/2014/main" id="{EEF1274E-E0FC-4F0F-AC35-EA15078632FF}"/>
              </a:ext>
            </a:extLst>
          </p:cNvPr>
          <p:cNvSpPr/>
          <p:nvPr/>
        </p:nvSpPr>
        <p:spPr bwMode="auto">
          <a:xfrm>
            <a:off x="5004543" y="2523744"/>
            <a:ext cx="55382" cy="57690"/>
          </a:xfrm>
          <a:custGeom>
            <a:avLst/>
            <a:gdLst>
              <a:gd name="T0" fmla="*/ 14 w 15"/>
              <a:gd name="T1" fmla="*/ 7 h 15"/>
              <a:gd name="T2" fmla="*/ 8 w 15"/>
              <a:gd name="T3" fmla="*/ 14 h 15"/>
              <a:gd name="T4" fmla="*/ 0 w 15"/>
              <a:gd name="T5" fmla="*/ 8 h 15"/>
              <a:gd name="T6" fmla="*/ 7 w 15"/>
              <a:gd name="T7" fmla="*/ 0 h 15"/>
              <a:gd name="T8" fmla="*/ 14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4" y="7"/>
                </a:moveTo>
                <a:cubicBezTo>
                  <a:pt x="15" y="11"/>
                  <a:pt x="12" y="14"/>
                  <a:pt x="8" y="14"/>
                </a:cubicBezTo>
                <a:cubicBezTo>
                  <a:pt x="3" y="15"/>
                  <a:pt x="0" y="12"/>
                  <a:pt x="0" y="8"/>
                </a:cubicBezTo>
                <a:cubicBezTo>
                  <a:pt x="0" y="4"/>
                  <a:pt x="3" y="0"/>
                  <a:pt x="7" y="0"/>
                </a:cubicBezTo>
                <a:cubicBezTo>
                  <a:pt x="11" y="0"/>
                  <a:pt x="14" y="3"/>
                  <a:pt x="14" y="7"/>
                </a:cubicBezTo>
                <a:close/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1" name="任意多边形: 形状 80">
            <a:extLst>
              <a:ext uri="{FF2B5EF4-FFF2-40B4-BE49-F238E27FC236}">
                <a16:creationId xmlns:a16="http://schemas.microsoft.com/office/drawing/2014/main" id="{CFE9D712-CA2D-4131-BF80-0592BAC567D6}"/>
              </a:ext>
            </a:extLst>
          </p:cNvPr>
          <p:cNvSpPr/>
          <p:nvPr/>
        </p:nvSpPr>
        <p:spPr bwMode="auto">
          <a:xfrm>
            <a:off x="5274531" y="2399134"/>
            <a:ext cx="916111" cy="918413"/>
          </a:xfrm>
          <a:custGeom>
            <a:avLst/>
            <a:gdLst>
              <a:gd name="T0" fmla="*/ 243 w 246"/>
              <a:gd name="T1" fmla="*/ 118 h 247"/>
              <a:gd name="T2" fmla="*/ 129 w 246"/>
              <a:gd name="T3" fmla="*/ 243 h 247"/>
              <a:gd name="T4" fmla="*/ 3 w 246"/>
              <a:gd name="T5" fmla="*/ 130 h 247"/>
              <a:gd name="T6" fmla="*/ 117 w 246"/>
              <a:gd name="T7" fmla="*/ 4 h 247"/>
              <a:gd name="T8" fmla="*/ 243 w 246"/>
              <a:gd name="T9" fmla="*/ 118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46" h="247">
                <a:moveTo>
                  <a:pt x="243" y="118"/>
                </a:moveTo>
                <a:cubicBezTo>
                  <a:pt x="246" y="184"/>
                  <a:pt x="195" y="240"/>
                  <a:pt x="129" y="243"/>
                </a:cubicBezTo>
                <a:cubicBezTo>
                  <a:pt x="63" y="247"/>
                  <a:pt x="7" y="196"/>
                  <a:pt x="3" y="130"/>
                </a:cubicBezTo>
                <a:cubicBezTo>
                  <a:pt x="0" y="63"/>
                  <a:pt x="51" y="7"/>
                  <a:pt x="117" y="4"/>
                </a:cubicBezTo>
                <a:cubicBezTo>
                  <a:pt x="183" y="0"/>
                  <a:pt x="240" y="51"/>
                  <a:pt x="243" y="118"/>
                </a:cubicBezTo>
                <a:close/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2" name="任意多边形: 形状 81">
            <a:extLst>
              <a:ext uri="{FF2B5EF4-FFF2-40B4-BE49-F238E27FC236}">
                <a16:creationId xmlns:a16="http://schemas.microsoft.com/office/drawing/2014/main" id="{BC8934B2-2570-4648-963F-EFE258BBB095}"/>
              </a:ext>
            </a:extLst>
          </p:cNvPr>
          <p:cNvSpPr/>
          <p:nvPr/>
        </p:nvSpPr>
        <p:spPr bwMode="auto">
          <a:xfrm>
            <a:off x="6257561" y="2957565"/>
            <a:ext cx="768426" cy="766113"/>
          </a:xfrm>
          <a:custGeom>
            <a:avLst/>
            <a:gdLst>
              <a:gd name="T0" fmla="*/ 204 w 206"/>
              <a:gd name="T1" fmla="*/ 98 h 206"/>
              <a:gd name="T2" fmla="*/ 108 w 206"/>
              <a:gd name="T3" fmla="*/ 203 h 206"/>
              <a:gd name="T4" fmla="*/ 3 w 206"/>
              <a:gd name="T5" fmla="*/ 108 h 206"/>
              <a:gd name="T6" fmla="*/ 98 w 206"/>
              <a:gd name="T7" fmla="*/ 3 h 206"/>
              <a:gd name="T8" fmla="*/ 204 w 206"/>
              <a:gd name="T9" fmla="*/ 98 h 2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6" h="206">
                <a:moveTo>
                  <a:pt x="204" y="98"/>
                </a:moveTo>
                <a:cubicBezTo>
                  <a:pt x="206" y="153"/>
                  <a:pt x="164" y="200"/>
                  <a:pt x="108" y="203"/>
                </a:cubicBezTo>
                <a:cubicBezTo>
                  <a:pt x="53" y="206"/>
                  <a:pt x="6" y="163"/>
                  <a:pt x="3" y="108"/>
                </a:cubicBezTo>
                <a:cubicBezTo>
                  <a:pt x="0" y="52"/>
                  <a:pt x="43" y="5"/>
                  <a:pt x="98" y="3"/>
                </a:cubicBezTo>
                <a:cubicBezTo>
                  <a:pt x="154" y="0"/>
                  <a:pt x="201" y="42"/>
                  <a:pt x="204" y="98"/>
                </a:cubicBezTo>
                <a:close/>
              </a:path>
            </a:pathLst>
          </a:custGeom>
          <a:solidFill>
            <a:schemeClr val="accent1">
              <a:alpha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D5BC6508-DB1B-40F3-A0BB-B1CB24BDE530}"/>
              </a:ext>
            </a:extLst>
          </p:cNvPr>
          <p:cNvSpPr/>
          <p:nvPr/>
        </p:nvSpPr>
        <p:spPr bwMode="auto">
          <a:xfrm>
            <a:off x="6052157" y="1681481"/>
            <a:ext cx="745346" cy="740732"/>
          </a:xfrm>
          <a:custGeom>
            <a:avLst/>
            <a:gdLst>
              <a:gd name="T0" fmla="*/ 197 w 200"/>
              <a:gd name="T1" fmla="*/ 95 h 199"/>
              <a:gd name="T2" fmla="*/ 105 w 200"/>
              <a:gd name="T3" fmla="*/ 197 h 199"/>
              <a:gd name="T4" fmla="*/ 3 w 200"/>
              <a:gd name="T5" fmla="*/ 105 h 199"/>
              <a:gd name="T6" fmla="*/ 95 w 200"/>
              <a:gd name="T7" fmla="*/ 3 h 199"/>
              <a:gd name="T8" fmla="*/ 197 w 200"/>
              <a:gd name="T9" fmla="*/ 95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0" h="199">
                <a:moveTo>
                  <a:pt x="197" y="95"/>
                </a:moveTo>
                <a:cubicBezTo>
                  <a:pt x="200" y="148"/>
                  <a:pt x="158" y="194"/>
                  <a:pt x="105" y="197"/>
                </a:cubicBezTo>
                <a:cubicBezTo>
                  <a:pt x="51" y="199"/>
                  <a:pt x="6" y="158"/>
                  <a:pt x="3" y="105"/>
                </a:cubicBezTo>
                <a:cubicBezTo>
                  <a:pt x="0" y="51"/>
                  <a:pt x="42" y="5"/>
                  <a:pt x="95" y="3"/>
                </a:cubicBezTo>
                <a:cubicBezTo>
                  <a:pt x="149" y="0"/>
                  <a:pt x="194" y="41"/>
                  <a:pt x="197" y="9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4" name="任意多边形: 形状 83">
            <a:extLst>
              <a:ext uri="{FF2B5EF4-FFF2-40B4-BE49-F238E27FC236}">
                <a16:creationId xmlns:a16="http://schemas.microsoft.com/office/drawing/2014/main" id="{5D5A1B22-2C45-4057-BA49-BF1FE853B398}"/>
              </a:ext>
            </a:extLst>
          </p:cNvPr>
          <p:cNvSpPr/>
          <p:nvPr/>
        </p:nvSpPr>
        <p:spPr bwMode="auto">
          <a:xfrm>
            <a:off x="6986723" y="2149919"/>
            <a:ext cx="256141" cy="258448"/>
          </a:xfrm>
          <a:custGeom>
            <a:avLst/>
            <a:gdLst>
              <a:gd name="T0" fmla="*/ 68 w 69"/>
              <a:gd name="T1" fmla="*/ 33 h 69"/>
              <a:gd name="T2" fmla="*/ 36 w 69"/>
              <a:gd name="T3" fmla="*/ 68 h 69"/>
              <a:gd name="T4" fmla="*/ 0 w 69"/>
              <a:gd name="T5" fmla="*/ 36 h 69"/>
              <a:gd name="T6" fmla="*/ 32 w 69"/>
              <a:gd name="T7" fmla="*/ 1 h 69"/>
              <a:gd name="T8" fmla="*/ 68 w 69"/>
              <a:gd name="T9" fmla="*/ 33 h 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9" h="69">
                <a:moveTo>
                  <a:pt x="68" y="33"/>
                </a:moveTo>
                <a:cubicBezTo>
                  <a:pt x="69" y="52"/>
                  <a:pt x="54" y="67"/>
                  <a:pt x="36" y="68"/>
                </a:cubicBezTo>
                <a:cubicBezTo>
                  <a:pt x="17" y="69"/>
                  <a:pt x="1" y="55"/>
                  <a:pt x="0" y="36"/>
                </a:cubicBezTo>
                <a:cubicBezTo>
                  <a:pt x="0" y="18"/>
                  <a:pt x="14" y="2"/>
                  <a:pt x="32" y="1"/>
                </a:cubicBezTo>
                <a:cubicBezTo>
                  <a:pt x="51" y="0"/>
                  <a:pt x="67" y="14"/>
                  <a:pt x="68" y="3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5" name="任意多边形: 形状 84">
            <a:extLst>
              <a:ext uri="{FF2B5EF4-FFF2-40B4-BE49-F238E27FC236}">
                <a16:creationId xmlns:a16="http://schemas.microsoft.com/office/drawing/2014/main" id="{04B489A6-DC73-40CB-BC4B-B61DFB445138}"/>
              </a:ext>
            </a:extLst>
          </p:cNvPr>
          <p:cNvSpPr/>
          <p:nvPr/>
        </p:nvSpPr>
        <p:spPr bwMode="auto">
          <a:xfrm>
            <a:off x="4706841" y="1856856"/>
            <a:ext cx="235373" cy="237681"/>
          </a:xfrm>
          <a:custGeom>
            <a:avLst/>
            <a:gdLst>
              <a:gd name="T0" fmla="*/ 62 w 63"/>
              <a:gd name="T1" fmla="*/ 30 h 64"/>
              <a:gd name="T2" fmla="*/ 33 w 63"/>
              <a:gd name="T3" fmla="*/ 63 h 64"/>
              <a:gd name="T4" fmla="*/ 1 w 63"/>
              <a:gd name="T5" fmla="*/ 34 h 64"/>
              <a:gd name="T6" fmla="*/ 30 w 63"/>
              <a:gd name="T7" fmla="*/ 1 h 64"/>
              <a:gd name="T8" fmla="*/ 62 w 63"/>
              <a:gd name="T9" fmla="*/ 30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3" h="64">
                <a:moveTo>
                  <a:pt x="62" y="30"/>
                </a:moveTo>
                <a:cubicBezTo>
                  <a:pt x="63" y="47"/>
                  <a:pt x="50" y="62"/>
                  <a:pt x="33" y="63"/>
                </a:cubicBezTo>
                <a:cubicBezTo>
                  <a:pt x="16" y="64"/>
                  <a:pt x="1" y="51"/>
                  <a:pt x="1" y="34"/>
                </a:cubicBezTo>
                <a:cubicBezTo>
                  <a:pt x="0" y="16"/>
                  <a:pt x="13" y="2"/>
                  <a:pt x="30" y="1"/>
                </a:cubicBezTo>
                <a:cubicBezTo>
                  <a:pt x="47" y="0"/>
                  <a:pt x="62" y="13"/>
                  <a:pt x="62" y="3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6" name="任意多边形: 形状 85">
            <a:extLst>
              <a:ext uri="{FF2B5EF4-FFF2-40B4-BE49-F238E27FC236}">
                <a16:creationId xmlns:a16="http://schemas.microsoft.com/office/drawing/2014/main" id="{C56CB8A0-6E3F-4790-BCDF-59A4A5CFD462}"/>
              </a:ext>
            </a:extLst>
          </p:cNvPr>
          <p:cNvSpPr/>
          <p:nvPr/>
        </p:nvSpPr>
        <p:spPr bwMode="auto">
          <a:xfrm>
            <a:off x="6585205" y="1326115"/>
            <a:ext cx="237681" cy="239987"/>
          </a:xfrm>
          <a:custGeom>
            <a:avLst/>
            <a:gdLst>
              <a:gd name="T0" fmla="*/ 63 w 64"/>
              <a:gd name="T1" fmla="*/ 31 h 64"/>
              <a:gd name="T2" fmla="*/ 33 w 64"/>
              <a:gd name="T3" fmla="*/ 63 h 64"/>
              <a:gd name="T4" fmla="*/ 1 w 64"/>
              <a:gd name="T5" fmla="*/ 34 h 64"/>
              <a:gd name="T6" fmla="*/ 30 w 64"/>
              <a:gd name="T7" fmla="*/ 1 h 64"/>
              <a:gd name="T8" fmla="*/ 63 w 64"/>
              <a:gd name="T9" fmla="*/ 31 h 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4" h="64">
                <a:moveTo>
                  <a:pt x="63" y="31"/>
                </a:moveTo>
                <a:cubicBezTo>
                  <a:pt x="64" y="48"/>
                  <a:pt x="50" y="62"/>
                  <a:pt x="33" y="63"/>
                </a:cubicBezTo>
                <a:cubicBezTo>
                  <a:pt x="16" y="64"/>
                  <a:pt x="2" y="51"/>
                  <a:pt x="1" y="34"/>
                </a:cubicBezTo>
                <a:cubicBezTo>
                  <a:pt x="0" y="17"/>
                  <a:pt x="13" y="2"/>
                  <a:pt x="30" y="1"/>
                </a:cubicBezTo>
                <a:cubicBezTo>
                  <a:pt x="47" y="0"/>
                  <a:pt x="62" y="13"/>
                  <a:pt x="63" y="3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6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7" name="任意多边形: 形状 86">
            <a:extLst>
              <a:ext uri="{FF2B5EF4-FFF2-40B4-BE49-F238E27FC236}">
                <a16:creationId xmlns:a16="http://schemas.microsoft.com/office/drawing/2014/main" id="{95CFC155-E003-4CE4-8750-0D8CB9429A7D}"/>
              </a:ext>
            </a:extLst>
          </p:cNvPr>
          <p:cNvSpPr/>
          <p:nvPr/>
        </p:nvSpPr>
        <p:spPr bwMode="auto">
          <a:xfrm>
            <a:off x="6889805" y="2320679"/>
            <a:ext cx="55382" cy="57690"/>
          </a:xfrm>
          <a:custGeom>
            <a:avLst/>
            <a:gdLst>
              <a:gd name="T0" fmla="*/ 15 w 15"/>
              <a:gd name="T1" fmla="*/ 7 h 15"/>
              <a:gd name="T2" fmla="*/ 8 w 15"/>
              <a:gd name="T3" fmla="*/ 15 h 15"/>
              <a:gd name="T4" fmla="*/ 0 w 15"/>
              <a:gd name="T5" fmla="*/ 8 h 15"/>
              <a:gd name="T6" fmla="*/ 7 w 15"/>
              <a:gd name="T7" fmla="*/ 0 h 15"/>
              <a:gd name="T8" fmla="*/ 15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5" y="7"/>
                </a:moveTo>
                <a:cubicBezTo>
                  <a:pt x="15" y="11"/>
                  <a:pt x="12" y="15"/>
                  <a:pt x="8" y="15"/>
                </a:cubicBezTo>
                <a:cubicBezTo>
                  <a:pt x="4" y="15"/>
                  <a:pt x="0" y="12"/>
                  <a:pt x="0" y="8"/>
                </a:cubicBezTo>
                <a:cubicBezTo>
                  <a:pt x="0" y="4"/>
                  <a:pt x="3" y="1"/>
                  <a:pt x="7" y="0"/>
                </a:cubicBezTo>
                <a:cubicBezTo>
                  <a:pt x="11" y="0"/>
                  <a:pt x="14" y="3"/>
                  <a:pt x="15" y="7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8" name="任意多边形: 形状 87">
            <a:extLst>
              <a:ext uri="{FF2B5EF4-FFF2-40B4-BE49-F238E27FC236}">
                <a16:creationId xmlns:a16="http://schemas.microsoft.com/office/drawing/2014/main" id="{3310B13B-7ACA-4F50-84B2-3ECB3BF3C00C}"/>
              </a:ext>
            </a:extLst>
          </p:cNvPr>
          <p:cNvSpPr/>
          <p:nvPr/>
        </p:nvSpPr>
        <p:spPr bwMode="auto">
          <a:xfrm>
            <a:off x="7376703" y="3052179"/>
            <a:ext cx="55382" cy="55382"/>
          </a:xfrm>
          <a:custGeom>
            <a:avLst/>
            <a:gdLst>
              <a:gd name="T0" fmla="*/ 14 w 15"/>
              <a:gd name="T1" fmla="*/ 7 h 15"/>
              <a:gd name="T2" fmla="*/ 8 w 15"/>
              <a:gd name="T3" fmla="*/ 14 h 15"/>
              <a:gd name="T4" fmla="*/ 0 w 15"/>
              <a:gd name="T5" fmla="*/ 7 h 15"/>
              <a:gd name="T6" fmla="*/ 7 w 15"/>
              <a:gd name="T7" fmla="*/ 0 h 15"/>
              <a:gd name="T8" fmla="*/ 14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4" y="7"/>
                </a:moveTo>
                <a:cubicBezTo>
                  <a:pt x="15" y="11"/>
                  <a:pt x="12" y="14"/>
                  <a:pt x="8" y="14"/>
                </a:cubicBezTo>
                <a:cubicBezTo>
                  <a:pt x="3" y="15"/>
                  <a:pt x="0" y="11"/>
                  <a:pt x="0" y="7"/>
                </a:cubicBezTo>
                <a:cubicBezTo>
                  <a:pt x="0" y="3"/>
                  <a:pt x="3" y="0"/>
                  <a:pt x="7" y="0"/>
                </a:cubicBezTo>
                <a:cubicBezTo>
                  <a:pt x="11" y="0"/>
                  <a:pt x="14" y="3"/>
                  <a:pt x="14" y="7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9" name="任意多边形: 形状 88">
            <a:extLst>
              <a:ext uri="{FF2B5EF4-FFF2-40B4-BE49-F238E27FC236}">
                <a16:creationId xmlns:a16="http://schemas.microsoft.com/office/drawing/2014/main" id="{17654D35-0D0B-4852-8296-C09C4A97DD85}"/>
              </a:ext>
            </a:extLst>
          </p:cNvPr>
          <p:cNvSpPr/>
          <p:nvPr/>
        </p:nvSpPr>
        <p:spPr bwMode="auto">
          <a:xfrm>
            <a:off x="5583719" y="2076077"/>
            <a:ext cx="55382" cy="55382"/>
          </a:xfrm>
          <a:custGeom>
            <a:avLst/>
            <a:gdLst>
              <a:gd name="T0" fmla="*/ 15 w 15"/>
              <a:gd name="T1" fmla="*/ 7 h 15"/>
              <a:gd name="T2" fmla="*/ 8 w 15"/>
              <a:gd name="T3" fmla="*/ 15 h 15"/>
              <a:gd name="T4" fmla="*/ 0 w 15"/>
              <a:gd name="T5" fmla="*/ 8 h 15"/>
              <a:gd name="T6" fmla="*/ 7 w 15"/>
              <a:gd name="T7" fmla="*/ 1 h 15"/>
              <a:gd name="T8" fmla="*/ 15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5" y="7"/>
                </a:moveTo>
                <a:cubicBezTo>
                  <a:pt x="15" y="11"/>
                  <a:pt x="12" y="15"/>
                  <a:pt x="8" y="15"/>
                </a:cubicBezTo>
                <a:cubicBezTo>
                  <a:pt x="4" y="15"/>
                  <a:pt x="0" y="12"/>
                  <a:pt x="0" y="8"/>
                </a:cubicBezTo>
                <a:cubicBezTo>
                  <a:pt x="0" y="4"/>
                  <a:pt x="3" y="1"/>
                  <a:pt x="7" y="1"/>
                </a:cubicBezTo>
                <a:cubicBezTo>
                  <a:pt x="11" y="0"/>
                  <a:pt x="15" y="3"/>
                  <a:pt x="15" y="7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0" name="任意多边形: 形状 89">
            <a:extLst>
              <a:ext uri="{FF2B5EF4-FFF2-40B4-BE49-F238E27FC236}">
                <a16:creationId xmlns:a16="http://schemas.microsoft.com/office/drawing/2014/main" id="{162CF64F-5B9C-4611-BD59-9FDF70BDB9DF}"/>
              </a:ext>
            </a:extLst>
          </p:cNvPr>
          <p:cNvSpPr/>
          <p:nvPr/>
        </p:nvSpPr>
        <p:spPr bwMode="auto">
          <a:xfrm>
            <a:off x="5246813" y="1270733"/>
            <a:ext cx="57690" cy="55382"/>
          </a:xfrm>
          <a:custGeom>
            <a:avLst/>
            <a:gdLst>
              <a:gd name="T0" fmla="*/ 15 w 15"/>
              <a:gd name="T1" fmla="*/ 7 h 15"/>
              <a:gd name="T2" fmla="*/ 8 w 15"/>
              <a:gd name="T3" fmla="*/ 14 h 15"/>
              <a:gd name="T4" fmla="*/ 1 w 15"/>
              <a:gd name="T5" fmla="*/ 8 h 15"/>
              <a:gd name="T6" fmla="*/ 8 w 15"/>
              <a:gd name="T7" fmla="*/ 0 h 15"/>
              <a:gd name="T8" fmla="*/ 15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5" y="7"/>
                </a:moveTo>
                <a:cubicBezTo>
                  <a:pt x="15" y="11"/>
                  <a:pt x="12" y="14"/>
                  <a:pt x="8" y="14"/>
                </a:cubicBezTo>
                <a:cubicBezTo>
                  <a:pt x="4" y="15"/>
                  <a:pt x="1" y="12"/>
                  <a:pt x="1" y="8"/>
                </a:cubicBezTo>
                <a:cubicBezTo>
                  <a:pt x="0" y="3"/>
                  <a:pt x="4" y="0"/>
                  <a:pt x="8" y="0"/>
                </a:cubicBezTo>
                <a:cubicBezTo>
                  <a:pt x="12" y="0"/>
                  <a:pt x="15" y="3"/>
                  <a:pt x="15" y="7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1" name="任意多边形: 形状 90">
            <a:extLst>
              <a:ext uri="{FF2B5EF4-FFF2-40B4-BE49-F238E27FC236}">
                <a16:creationId xmlns:a16="http://schemas.microsoft.com/office/drawing/2014/main" id="{E2EBB68B-2660-4CD6-8ACA-512A7CAA6345}"/>
              </a:ext>
            </a:extLst>
          </p:cNvPr>
          <p:cNvSpPr/>
          <p:nvPr/>
        </p:nvSpPr>
        <p:spPr bwMode="auto">
          <a:xfrm>
            <a:off x="5043746" y="3059103"/>
            <a:ext cx="55382" cy="55382"/>
          </a:xfrm>
          <a:custGeom>
            <a:avLst/>
            <a:gdLst>
              <a:gd name="T0" fmla="*/ 15 w 15"/>
              <a:gd name="T1" fmla="*/ 7 h 15"/>
              <a:gd name="T2" fmla="*/ 8 w 15"/>
              <a:gd name="T3" fmla="*/ 15 h 15"/>
              <a:gd name="T4" fmla="*/ 0 w 15"/>
              <a:gd name="T5" fmla="*/ 8 h 15"/>
              <a:gd name="T6" fmla="*/ 7 w 15"/>
              <a:gd name="T7" fmla="*/ 0 h 15"/>
              <a:gd name="T8" fmla="*/ 15 w 15"/>
              <a:gd name="T9" fmla="*/ 7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5" h="15">
                <a:moveTo>
                  <a:pt x="15" y="7"/>
                </a:moveTo>
                <a:cubicBezTo>
                  <a:pt x="15" y="11"/>
                  <a:pt x="12" y="14"/>
                  <a:pt x="8" y="15"/>
                </a:cubicBezTo>
                <a:cubicBezTo>
                  <a:pt x="4" y="15"/>
                  <a:pt x="0" y="12"/>
                  <a:pt x="0" y="8"/>
                </a:cubicBezTo>
                <a:cubicBezTo>
                  <a:pt x="0" y="4"/>
                  <a:pt x="3" y="0"/>
                  <a:pt x="7" y="0"/>
                </a:cubicBezTo>
                <a:cubicBezTo>
                  <a:pt x="11" y="0"/>
                  <a:pt x="15" y="3"/>
                  <a:pt x="15" y="7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2" name="任意多边形: 形状 91">
            <a:extLst>
              <a:ext uri="{FF2B5EF4-FFF2-40B4-BE49-F238E27FC236}">
                <a16:creationId xmlns:a16="http://schemas.microsoft.com/office/drawing/2014/main" id="{49F13767-1CAF-4672-BAB5-7DB32A1D4502}"/>
              </a:ext>
            </a:extLst>
          </p:cNvPr>
          <p:cNvSpPr/>
          <p:nvPr/>
        </p:nvSpPr>
        <p:spPr bwMode="auto">
          <a:xfrm>
            <a:off x="5136050" y="2235299"/>
            <a:ext cx="341521" cy="346136"/>
          </a:xfrm>
          <a:custGeom>
            <a:avLst/>
            <a:gdLst>
              <a:gd name="T0" fmla="*/ 91 w 92"/>
              <a:gd name="T1" fmla="*/ 44 h 93"/>
              <a:gd name="T2" fmla="*/ 48 w 92"/>
              <a:gd name="T3" fmla="*/ 91 h 93"/>
              <a:gd name="T4" fmla="*/ 1 w 92"/>
              <a:gd name="T5" fmla="*/ 49 h 93"/>
              <a:gd name="T6" fmla="*/ 44 w 92"/>
              <a:gd name="T7" fmla="*/ 1 h 93"/>
              <a:gd name="T8" fmla="*/ 91 w 92"/>
              <a:gd name="T9" fmla="*/ 44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2" h="93">
                <a:moveTo>
                  <a:pt x="91" y="44"/>
                </a:moveTo>
                <a:cubicBezTo>
                  <a:pt x="92" y="69"/>
                  <a:pt x="73" y="90"/>
                  <a:pt x="48" y="91"/>
                </a:cubicBezTo>
                <a:cubicBezTo>
                  <a:pt x="23" y="93"/>
                  <a:pt x="2" y="73"/>
                  <a:pt x="1" y="49"/>
                </a:cubicBezTo>
                <a:cubicBezTo>
                  <a:pt x="0" y="24"/>
                  <a:pt x="19" y="3"/>
                  <a:pt x="44" y="1"/>
                </a:cubicBezTo>
                <a:cubicBezTo>
                  <a:pt x="69" y="0"/>
                  <a:pt x="90" y="19"/>
                  <a:pt x="91" y="44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lnSpcReduction="1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3" name="任意多边形: 形状 92">
            <a:extLst>
              <a:ext uri="{FF2B5EF4-FFF2-40B4-BE49-F238E27FC236}">
                <a16:creationId xmlns:a16="http://schemas.microsoft.com/office/drawing/2014/main" id="{E18B9073-B3EC-406A-8337-E57B55AC74DF}"/>
              </a:ext>
            </a:extLst>
          </p:cNvPr>
          <p:cNvSpPr/>
          <p:nvPr/>
        </p:nvSpPr>
        <p:spPr bwMode="auto">
          <a:xfrm>
            <a:off x="7067488" y="2652970"/>
            <a:ext cx="346136" cy="346136"/>
          </a:xfrm>
          <a:custGeom>
            <a:avLst/>
            <a:gdLst>
              <a:gd name="T0" fmla="*/ 92 w 93"/>
              <a:gd name="T1" fmla="*/ 44 h 93"/>
              <a:gd name="T2" fmla="*/ 49 w 93"/>
              <a:gd name="T3" fmla="*/ 91 h 93"/>
              <a:gd name="T4" fmla="*/ 2 w 93"/>
              <a:gd name="T5" fmla="*/ 49 h 93"/>
              <a:gd name="T6" fmla="*/ 44 w 93"/>
              <a:gd name="T7" fmla="*/ 1 h 93"/>
              <a:gd name="T8" fmla="*/ 92 w 93"/>
              <a:gd name="T9" fmla="*/ 44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3" h="93">
                <a:moveTo>
                  <a:pt x="92" y="44"/>
                </a:moveTo>
                <a:cubicBezTo>
                  <a:pt x="93" y="69"/>
                  <a:pt x="74" y="90"/>
                  <a:pt x="49" y="91"/>
                </a:cubicBezTo>
                <a:cubicBezTo>
                  <a:pt x="24" y="93"/>
                  <a:pt x="3" y="74"/>
                  <a:pt x="2" y="49"/>
                </a:cubicBezTo>
                <a:cubicBezTo>
                  <a:pt x="0" y="24"/>
                  <a:pt x="19" y="3"/>
                  <a:pt x="44" y="1"/>
                </a:cubicBezTo>
                <a:cubicBezTo>
                  <a:pt x="69" y="0"/>
                  <a:pt x="90" y="19"/>
                  <a:pt x="92" y="4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lnSpcReduction="1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4" name="椭圆 93">
            <a:extLst>
              <a:ext uri="{FF2B5EF4-FFF2-40B4-BE49-F238E27FC236}">
                <a16:creationId xmlns:a16="http://schemas.microsoft.com/office/drawing/2014/main" id="{727A2099-19AF-4675-9F64-30BAE7330B10}"/>
              </a:ext>
            </a:extLst>
          </p:cNvPr>
          <p:cNvSpPr/>
          <p:nvPr/>
        </p:nvSpPr>
        <p:spPr bwMode="auto">
          <a:xfrm>
            <a:off x="5352961" y="1104588"/>
            <a:ext cx="978411" cy="978410"/>
          </a:xfrm>
          <a:prstGeom prst="ellips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b="1" i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sz="16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95" name="直接连接符 94">
            <a:extLst>
              <a:ext uri="{FF2B5EF4-FFF2-40B4-BE49-F238E27FC236}">
                <a16:creationId xmlns:a16="http://schemas.microsoft.com/office/drawing/2014/main" id="{8906FFDC-E448-4386-BFFA-900B9799489F}"/>
              </a:ext>
            </a:extLst>
          </p:cNvPr>
          <p:cNvCxnSpPr/>
          <p:nvPr/>
        </p:nvCxnSpPr>
        <p:spPr>
          <a:xfrm>
            <a:off x="5166892" y="3654364"/>
            <a:ext cx="1142924" cy="414214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直接连接符 95">
            <a:extLst>
              <a:ext uri="{FF2B5EF4-FFF2-40B4-BE49-F238E27FC236}">
                <a16:creationId xmlns:a16="http://schemas.microsoft.com/office/drawing/2014/main" id="{0D383F9C-E5F9-4D19-9EC9-23FEE57E64C6}"/>
              </a:ext>
            </a:extLst>
          </p:cNvPr>
          <p:cNvCxnSpPr/>
          <p:nvPr/>
        </p:nvCxnSpPr>
        <p:spPr>
          <a:xfrm flipV="1">
            <a:off x="6325157" y="3784765"/>
            <a:ext cx="1020194" cy="276143"/>
          </a:xfrm>
          <a:prstGeom prst="line">
            <a:avLst/>
          </a:prstGeom>
          <a:ln w="571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任意多边形: 形状 96">
            <a:extLst>
              <a:ext uri="{FF2B5EF4-FFF2-40B4-BE49-F238E27FC236}">
                <a16:creationId xmlns:a16="http://schemas.microsoft.com/office/drawing/2014/main" id="{A8C10F7A-5A21-4273-803E-5A214E2BDCE5}"/>
              </a:ext>
            </a:extLst>
          </p:cNvPr>
          <p:cNvSpPr/>
          <p:nvPr/>
        </p:nvSpPr>
        <p:spPr bwMode="auto">
          <a:xfrm>
            <a:off x="5487035" y="3164099"/>
            <a:ext cx="1169940" cy="1169941"/>
          </a:xfrm>
          <a:custGeom>
            <a:avLst/>
            <a:gdLst>
              <a:gd name="T0" fmla="*/ 310 w 314"/>
              <a:gd name="T1" fmla="*/ 150 h 314"/>
              <a:gd name="T2" fmla="*/ 165 w 314"/>
              <a:gd name="T3" fmla="*/ 310 h 314"/>
              <a:gd name="T4" fmla="*/ 4 w 314"/>
              <a:gd name="T5" fmla="*/ 165 h 314"/>
              <a:gd name="T6" fmla="*/ 149 w 314"/>
              <a:gd name="T7" fmla="*/ 4 h 314"/>
              <a:gd name="T8" fmla="*/ 310 w 314"/>
              <a:gd name="T9" fmla="*/ 150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4" h="314">
                <a:moveTo>
                  <a:pt x="310" y="150"/>
                </a:moveTo>
                <a:cubicBezTo>
                  <a:pt x="314" y="234"/>
                  <a:pt x="249" y="306"/>
                  <a:pt x="165" y="310"/>
                </a:cubicBezTo>
                <a:cubicBezTo>
                  <a:pt x="80" y="314"/>
                  <a:pt x="9" y="249"/>
                  <a:pt x="4" y="165"/>
                </a:cubicBezTo>
                <a:cubicBezTo>
                  <a:pt x="0" y="80"/>
                  <a:pt x="65" y="9"/>
                  <a:pt x="149" y="4"/>
                </a:cubicBezTo>
                <a:cubicBezTo>
                  <a:pt x="234" y="0"/>
                  <a:pt x="306" y="65"/>
                  <a:pt x="310" y="150"/>
                </a:cubicBezTo>
                <a:close/>
              </a:path>
            </a:pathLst>
          </a:custGeom>
          <a:solidFill>
            <a:schemeClr val="accent1">
              <a:alpha val="1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8" name="任意多边形: 形状 97">
            <a:extLst>
              <a:ext uri="{FF2B5EF4-FFF2-40B4-BE49-F238E27FC236}">
                <a16:creationId xmlns:a16="http://schemas.microsoft.com/office/drawing/2014/main" id="{8657D9B5-14F2-42D2-9E69-759F8572672B}"/>
              </a:ext>
            </a:extLst>
          </p:cNvPr>
          <p:cNvSpPr/>
          <p:nvPr/>
        </p:nvSpPr>
        <p:spPr bwMode="auto">
          <a:xfrm>
            <a:off x="5136049" y="2302220"/>
            <a:ext cx="953029" cy="948413"/>
          </a:xfrm>
          <a:custGeom>
            <a:avLst/>
            <a:gdLst>
              <a:gd name="T0" fmla="*/ 252 w 256"/>
              <a:gd name="T1" fmla="*/ 121 h 255"/>
              <a:gd name="T2" fmla="*/ 134 w 256"/>
              <a:gd name="T3" fmla="*/ 252 h 255"/>
              <a:gd name="T4" fmla="*/ 4 w 256"/>
              <a:gd name="T5" fmla="*/ 133 h 255"/>
              <a:gd name="T6" fmla="*/ 122 w 256"/>
              <a:gd name="T7" fmla="*/ 3 h 255"/>
              <a:gd name="T8" fmla="*/ 252 w 256"/>
              <a:gd name="T9" fmla="*/ 121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6" h="255">
                <a:moveTo>
                  <a:pt x="252" y="121"/>
                </a:moveTo>
                <a:cubicBezTo>
                  <a:pt x="256" y="190"/>
                  <a:pt x="203" y="248"/>
                  <a:pt x="134" y="252"/>
                </a:cubicBezTo>
                <a:cubicBezTo>
                  <a:pt x="65" y="255"/>
                  <a:pt x="7" y="202"/>
                  <a:pt x="4" y="133"/>
                </a:cubicBezTo>
                <a:cubicBezTo>
                  <a:pt x="0" y="65"/>
                  <a:pt x="53" y="6"/>
                  <a:pt x="122" y="3"/>
                </a:cubicBezTo>
                <a:cubicBezTo>
                  <a:pt x="190" y="0"/>
                  <a:pt x="249" y="52"/>
                  <a:pt x="252" y="121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9" name="任意多边形: 形状 98">
            <a:extLst>
              <a:ext uri="{FF2B5EF4-FFF2-40B4-BE49-F238E27FC236}">
                <a16:creationId xmlns:a16="http://schemas.microsoft.com/office/drawing/2014/main" id="{447817C7-9A2F-462B-8343-186DEFB70B37}"/>
              </a:ext>
            </a:extLst>
          </p:cNvPr>
          <p:cNvSpPr/>
          <p:nvPr/>
        </p:nvSpPr>
        <p:spPr bwMode="auto">
          <a:xfrm>
            <a:off x="5016055" y="1732248"/>
            <a:ext cx="1169940" cy="1169941"/>
          </a:xfrm>
          <a:custGeom>
            <a:avLst/>
            <a:gdLst>
              <a:gd name="T0" fmla="*/ 310 w 314"/>
              <a:gd name="T1" fmla="*/ 150 h 314"/>
              <a:gd name="T2" fmla="*/ 164 w 314"/>
              <a:gd name="T3" fmla="*/ 310 h 314"/>
              <a:gd name="T4" fmla="*/ 4 w 314"/>
              <a:gd name="T5" fmla="*/ 165 h 314"/>
              <a:gd name="T6" fmla="*/ 149 w 314"/>
              <a:gd name="T7" fmla="*/ 4 h 314"/>
              <a:gd name="T8" fmla="*/ 310 w 314"/>
              <a:gd name="T9" fmla="*/ 150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14" h="314">
                <a:moveTo>
                  <a:pt x="310" y="150"/>
                </a:moveTo>
                <a:cubicBezTo>
                  <a:pt x="314" y="234"/>
                  <a:pt x="249" y="306"/>
                  <a:pt x="164" y="310"/>
                </a:cubicBezTo>
                <a:cubicBezTo>
                  <a:pt x="80" y="314"/>
                  <a:pt x="8" y="249"/>
                  <a:pt x="4" y="165"/>
                </a:cubicBezTo>
                <a:cubicBezTo>
                  <a:pt x="0" y="80"/>
                  <a:pt x="65" y="9"/>
                  <a:pt x="149" y="4"/>
                </a:cubicBezTo>
                <a:cubicBezTo>
                  <a:pt x="234" y="0"/>
                  <a:pt x="305" y="65"/>
                  <a:pt x="310" y="15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0" name="任意多边形: 形状 99">
            <a:extLst>
              <a:ext uri="{FF2B5EF4-FFF2-40B4-BE49-F238E27FC236}">
                <a16:creationId xmlns:a16="http://schemas.microsoft.com/office/drawing/2014/main" id="{A7F05190-5665-42D7-8A62-23FD99FE9150}"/>
              </a:ext>
            </a:extLst>
          </p:cNvPr>
          <p:cNvSpPr/>
          <p:nvPr/>
        </p:nvSpPr>
        <p:spPr bwMode="auto">
          <a:xfrm>
            <a:off x="6453673" y="2514516"/>
            <a:ext cx="856111" cy="856111"/>
          </a:xfrm>
          <a:custGeom>
            <a:avLst/>
            <a:gdLst>
              <a:gd name="T0" fmla="*/ 227 w 230"/>
              <a:gd name="T1" fmla="*/ 109 h 230"/>
              <a:gd name="T2" fmla="*/ 121 w 230"/>
              <a:gd name="T3" fmla="*/ 227 h 230"/>
              <a:gd name="T4" fmla="*/ 3 w 230"/>
              <a:gd name="T5" fmla="*/ 120 h 230"/>
              <a:gd name="T6" fmla="*/ 109 w 230"/>
              <a:gd name="T7" fmla="*/ 3 h 230"/>
              <a:gd name="T8" fmla="*/ 227 w 230"/>
              <a:gd name="T9" fmla="*/ 109 h 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0" h="230">
                <a:moveTo>
                  <a:pt x="227" y="109"/>
                </a:moveTo>
                <a:cubicBezTo>
                  <a:pt x="230" y="171"/>
                  <a:pt x="182" y="224"/>
                  <a:pt x="121" y="227"/>
                </a:cubicBezTo>
                <a:cubicBezTo>
                  <a:pt x="59" y="230"/>
                  <a:pt x="6" y="182"/>
                  <a:pt x="3" y="120"/>
                </a:cubicBezTo>
                <a:cubicBezTo>
                  <a:pt x="0" y="59"/>
                  <a:pt x="48" y="6"/>
                  <a:pt x="109" y="3"/>
                </a:cubicBezTo>
                <a:cubicBezTo>
                  <a:pt x="171" y="0"/>
                  <a:pt x="224" y="48"/>
                  <a:pt x="227" y="109"/>
                </a:cubicBezTo>
                <a:close/>
              </a:path>
            </a:pathLst>
          </a:custGeom>
          <a:solidFill>
            <a:schemeClr val="accent1">
              <a:alpha val="10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1" name="任意多边形: 形状 100">
            <a:extLst>
              <a:ext uri="{FF2B5EF4-FFF2-40B4-BE49-F238E27FC236}">
                <a16:creationId xmlns:a16="http://schemas.microsoft.com/office/drawing/2014/main" id="{5F31A656-7AA0-4910-8B1C-917C4CCA5EBE}"/>
              </a:ext>
            </a:extLst>
          </p:cNvPr>
          <p:cNvSpPr/>
          <p:nvPr/>
        </p:nvSpPr>
        <p:spPr bwMode="auto">
          <a:xfrm>
            <a:off x="5710636" y="2055308"/>
            <a:ext cx="1220707" cy="1220707"/>
          </a:xfrm>
          <a:custGeom>
            <a:avLst/>
            <a:gdLst>
              <a:gd name="T0" fmla="*/ 323 w 328"/>
              <a:gd name="T1" fmla="*/ 156 h 328"/>
              <a:gd name="T2" fmla="*/ 172 w 328"/>
              <a:gd name="T3" fmla="*/ 323 h 328"/>
              <a:gd name="T4" fmla="*/ 4 w 328"/>
              <a:gd name="T5" fmla="*/ 172 h 328"/>
              <a:gd name="T6" fmla="*/ 156 w 328"/>
              <a:gd name="T7" fmla="*/ 4 h 328"/>
              <a:gd name="T8" fmla="*/ 323 w 328"/>
              <a:gd name="T9" fmla="*/ 156 h 3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28" h="328">
                <a:moveTo>
                  <a:pt x="323" y="156"/>
                </a:moveTo>
                <a:cubicBezTo>
                  <a:pt x="328" y="244"/>
                  <a:pt x="260" y="319"/>
                  <a:pt x="172" y="323"/>
                </a:cubicBezTo>
                <a:cubicBezTo>
                  <a:pt x="84" y="328"/>
                  <a:pt x="9" y="260"/>
                  <a:pt x="4" y="172"/>
                </a:cubicBezTo>
                <a:cubicBezTo>
                  <a:pt x="0" y="84"/>
                  <a:pt x="68" y="9"/>
                  <a:pt x="156" y="4"/>
                </a:cubicBezTo>
                <a:cubicBezTo>
                  <a:pt x="244" y="0"/>
                  <a:pt x="319" y="68"/>
                  <a:pt x="323" y="15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anchor="ctr"/>
          <a:lstStyle/>
          <a:p>
            <a:pPr algn="ctr"/>
            <a:r>
              <a:rPr lang="en-US" altLang="zh-CN" b="1" i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sz="16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2" name="任意多边形: 形状 101">
            <a:extLst>
              <a:ext uri="{FF2B5EF4-FFF2-40B4-BE49-F238E27FC236}">
                <a16:creationId xmlns:a16="http://schemas.microsoft.com/office/drawing/2014/main" id="{6EEFF0AC-7A18-4085-A1BF-41D68E54C797}"/>
              </a:ext>
            </a:extLst>
          </p:cNvPr>
          <p:cNvSpPr/>
          <p:nvPr/>
        </p:nvSpPr>
        <p:spPr bwMode="auto">
          <a:xfrm>
            <a:off x="6968262" y="3428314"/>
            <a:ext cx="722271" cy="717656"/>
          </a:xfrm>
          <a:custGeom>
            <a:avLst/>
            <a:gdLst>
              <a:gd name="T0" fmla="*/ 192 w 194"/>
              <a:gd name="T1" fmla="*/ 93 h 193"/>
              <a:gd name="T2" fmla="*/ 101 w 194"/>
              <a:gd name="T3" fmla="*/ 192 h 193"/>
              <a:gd name="T4" fmla="*/ 55 w 194"/>
              <a:gd name="T5" fmla="*/ 183 h 193"/>
              <a:gd name="T6" fmla="*/ 40 w 194"/>
              <a:gd name="T7" fmla="*/ 174 h 193"/>
              <a:gd name="T8" fmla="*/ 6 w 194"/>
              <a:gd name="T9" fmla="*/ 127 h 193"/>
              <a:gd name="T10" fmla="*/ 1 w 194"/>
              <a:gd name="T11" fmla="*/ 109 h 193"/>
              <a:gd name="T12" fmla="*/ 1 w 194"/>
              <a:gd name="T13" fmla="*/ 101 h 193"/>
              <a:gd name="T14" fmla="*/ 18 w 194"/>
              <a:gd name="T15" fmla="*/ 43 h 193"/>
              <a:gd name="T16" fmla="*/ 48 w 194"/>
              <a:gd name="T17" fmla="*/ 14 h 193"/>
              <a:gd name="T18" fmla="*/ 92 w 194"/>
              <a:gd name="T19" fmla="*/ 1 h 193"/>
              <a:gd name="T20" fmla="*/ 179 w 194"/>
              <a:gd name="T21" fmla="*/ 48 h 193"/>
              <a:gd name="T22" fmla="*/ 179 w 194"/>
              <a:gd name="T23" fmla="*/ 48 h 193"/>
              <a:gd name="T24" fmla="*/ 192 w 194"/>
              <a:gd name="T25" fmla="*/ 93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94" h="193">
                <a:moveTo>
                  <a:pt x="192" y="93"/>
                </a:moveTo>
                <a:cubicBezTo>
                  <a:pt x="194" y="145"/>
                  <a:pt x="153" y="190"/>
                  <a:pt x="101" y="192"/>
                </a:cubicBezTo>
                <a:cubicBezTo>
                  <a:pt x="84" y="193"/>
                  <a:pt x="69" y="190"/>
                  <a:pt x="55" y="183"/>
                </a:cubicBezTo>
                <a:cubicBezTo>
                  <a:pt x="50" y="181"/>
                  <a:pt x="45" y="178"/>
                  <a:pt x="40" y="174"/>
                </a:cubicBezTo>
                <a:cubicBezTo>
                  <a:pt x="25" y="163"/>
                  <a:pt x="12" y="147"/>
                  <a:pt x="6" y="127"/>
                </a:cubicBezTo>
                <a:cubicBezTo>
                  <a:pt x="4" y="122"/>
                  <a:pt x="2" y="115"/>
                  <a:pt x="1" y="109"/>
                </a:cubicBezTo>
                <a:cubicBezTo>
                  <a:pt x="1" y="106"/>
                  <a:pt x="1" y="104"/>
                  <a:pt x="1" y="101"/>
                </a:cubicBezTo>
                <a:cubicBezTo>
                  <a:pt x="0" y="79"/>
                  <a:pt x="6" y="59"/>
                  <a:pt x="18" y="43"/>
                </a:cubicBezTo>
                <a:cubicBezTo>
                  <a:pt x="26" y="31"/>
                  <a:pt x="36" y="21"/>
                  <a:pt x="48" y="14"/>
                </a:cubicBezTo>
                <a:cubicBezTo>
                  <a:pt x="61" y="6"/>
                  <a:pt x="76" y="2"/>
                  <a:pt x="92" y="1"/>
                </a:cubicBezTo>
                <a:cubicBezTo>
                  <a:pt x="129" y="0"/>
                  <a:pt x="161" y="19"/>
                  <a:pt x="179" y="48"/>
                </a:cubicBezTo>
                <a:cubicBezTo>
                  <a:pt x="179" y="48"/>
                  <a:pt x="179" y="48"/>
                  <a:pt x="179" y="48"/>
                </a:cubicBezTo>
                <a:cubicBezTo>
                  <a:pt x="187" y="61"/>
                  <a:pt x="191" y="76"/>
                  <a:pt x="192" y="9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3" name="任意多边形: 形状 102">
            <a:extLst>
              <a:ext uri="{FF2B5EF4-FFF2-40B4-BE49-F238E27FC236}">
                <a16:creationId xmlns:a16="http://schemas.microsoft.com/office/drawing/2014/main" id="{1CEC8107-6789-41DD-988E-7B52EBE7E8F1}"/>
              </a:ext>
            </a:extLst>
          </p:cNvPr>
          <p:cNvSpPr/>
          <p:nvPr/>
        </p:nvSpPr>
        <p:spPr bwMode="auto">
          <a:xfrm>
            <a:off x="4752993" y="3209095"/>
            <a:ext cx="869955" cy="869956"/>
          </a:xfrm>
          <a:custGeom>
            <a:avLst/>
            <a:gdLst>
              <a:gd name="T0" fmla="*/ 232 w 234"/>
              <a:gd name="T1" fmla="*/ 112 h 234"/>
              <a:gd name="T2" fmla="*/ 122 w 234"/>
              <a:gd name="T3" fmla="*/ 232 h 234"/>
              <a:gd name="T4" fmla="*/ 3 w 234"/>
              <a:gd name="T5" fmla="*/ 122 h 234"/>
              <a:gd name="T6" fmla="*/ 112 w 234"/>
              <a:gd name="T7" fmla="*/ 3 h 234"/>
              <a:gd name="T8" fmla="*/ 232 w 234"/>
              <a:gd name="T9" fmla="*/ 11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34" h="234">
                <a:moveTo>
                  <a:pt x="232" y="112"/>
                </a:moveTo>
                <a:cubicBezTo>
                  <a:pt x="234" y="175"/>
                  <a:pt x="185" y="229"/>
                  <a:pt x="122" y="232"/>
                </a:cubicBezTo>
                <a:cubicBezTo>
                  <a:pt x="59" y="234"/>
                  <a:pt x="6" y="185"/>
                  <a:pt x="3" y="122"/>
                </a:cubicBezTo>
                <a:cubicBezTo>
                  <a:pt x="0" y="59"/>
                  <a:pt x="49" y="6"/>
                  <a:pt x="112" y="3"/>
                </a:cubicBezTo>
                <a:cubicBezTo>
                  <a:pt x="176" y="0"/>
                  <a:pt x="229" y="49"/>
                  <a:pt x="232" y="112"/>
                </a:cubicBezTo>
                <a:close/>
              </a:path>
            </a:pathLst>
          </a:custGeom>
          <a:solidFill>
            <a:schemeClr val="accent1"/>
          </a:solidFill>
          <a:ln w="25400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normAutofit/>
          </a:bodyPr>
          <a:lstStyle/>
          <a:p>
            <a:pPr algn="ctr"/>
            <a:r>
              <a:rPr lang="en-US" altLang="zh-CN" sz="1100" b="1" i="1" dirty="0">
                <a:solidFill>
                  <a:schemeClr val="bg1"/>
                </a:solidFill>
                <a:cs typeface="+mn-ea"/>
                <a:sym typeface="+mn-lt"/>
              </a:rPr>
              <a:t>Text</a:t>
            </a:r>
            <a:endParaRPr lang="zh-CN" altLang="en-US" sz="105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DCED10F4-7F1A-4352-A1F9-9C4B7E32C08A}"/>
              </a:ext>
            </a:extLst>
          </p:cNvPr>
          <p:cNvSpPr/>
          <p:nvPr/>
        </p:nvSpPr>
        <p:spPr bwMode="auto">
          <a:xfrm>
            <a:off x="673100" y="2297221"/>
            <a:ext cx="3210103" cy="58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9" name="文本框 68">
            <a:extLst>
              <a:ext uri="{FF2B5EF4-FFF2-40B4-BE49-F238E27FC236}">
                <a16:creationId xmlns:a16="http://schemas.microsoft.com/office/drawing/2014/main" id="{C4CDC33E-5CA3-490F-A689-0F949D605DB3}"/>
              </a:ext>
            </a:extLst>
          </p:cNvPr>
          <p:cNvSpPr txBox="1"/>
          <p:nvPr/>
        </p:nvSpPr>
        <p:spPr bwMode="auto">
          <a:xfrm>
            <a:off x="673100" y="1810842"/>
            <a:ext cx="3210103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70D15512-C13C-4670-98DF-B0951DEB0390}"/>
              </a:ext>
            </a:extLst>
          </p:cNvPr>
          <p:cNvCxnSpPr/>
          <p:nvPr/>
        </p:nvCxnSpPr>
        <p:spPr>
          <a:xfrm>
            <a:off x="673100" y="2297220"/>
            <a:ext cx="321010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任意多边形: 形状 70">
            <a:extLst>
              <a:ext uri="{FF2B5EF4-FFF2-40B4-BE49-F238E27FC236}">
                <a16:creationId xmlns:a16="http://schemas.microsoft.com/office/drawing/2014/main" id="{F2F422A9-6B80-4CD6-BAA4-A92848C3E44F}"/>
              </a:ext>
            </a:extLst>
          </p:cNvPr>
          <p:cNvSpPr/>
          <p:nvPr/>
        </p:nvSpPr>
        <p:spPr bwMode="auto">
          <a:xfrm>
            <a:off x="3546567" y="1953653"/>
            <a:ext cx="304842" cy="288904"/>
          </a:xfrm>
          <a:custGeom>
            <a:avLst/>
            <a:gdLst>
              <a:gd name="T0" fmla="*/ 3025 w 3403"/>
              <a:gd name="T1" fmla="*/ 97 h 3230"/>
              <a:gd name="T2" fmla="*/ 2115 w 3403"/>
              <a:gd name="T3" fmla="*/ 701 h 3230"/>
              <a:gd name="T4" fmla="*/ 1903 w 3403"/>
              <a:gd name="T5" fmla="*/ 468 h 3230"/>
              <a:gd name="T6" fmla="*/ 2010 w 3403"/>
              <a:gd name="T7" fmla="*/ 232 h 3230"/>
              <a:gd name="T8" fmla="*/ 1758 w 3403"/>
              <a:gd name="T9" fmla="*/ 258 h 3230"/>
              <a:gd name="T10" fmla="*/ 1402 w 3403"/>
              <a:gd name="T11" fmla="*/ 463 h 3230"/>
              <a:gd name="T12" fmla="*/ 1066 w 3403"/>
              <a:gd name="T13" fmla="*/ 281 h 3230"/>
              <a:gd name="T14" fmla="*/ 1174 w 3403"/>
              <a:gd name="T15" fmla="*/ 88 h 3230"/>
              <a:gd name="T16" fmla="*/ 808 w 3403"/>
              <a:gd name="T17" fmla="*/ 166 h 3230"/>
              <a:gd name="T18" fmla="*/ 543 w 3403"/>
              <a:gd name="T19" fmla="*/ 298 h 3230"/>
              <a:gd name="T20" fmla="*/ 88 w 3403"/>
              <a:gd name="T21" fmla="*/ 259 h 3230"/>
              <a:gd name="T22" fmla="*/ 17 w 3403"/>
              <a:gd name="T23" fmla="*/ 392 h 3230"/>
              <a:gd name="T24" fmla="*/ 1455 w 3403"/>
              <a:gd name="T25" fmla="*/ 1190 h 3230"/>
              <a:gd name="T26" fmla="*/ 675 w 3403"/>
              <a:gd name="T27" fmla="*/ 2064 h 3230"/>
              <a:gd name="T28" fmla="*/ 343 w 3403"/>
              <a:gd name="T29" fmla="*/ 2106 h 3230"/>
              <a:gd name="T30" fmla="*/ 16 w 3403"/>
              <a:gd name="T31" fmla="*/ 2229 h 3230"/>
              <a:gd name="T32" fmla="*/ 450 w 3403"/>
              <a:gd name="T33" fmla="*/ 2556 h 3230"/>
              <a:gd name="T34" fmla="*/ 751 w 3403"/>
              <a:gd name="T35" fmla="*/ 3027 h 3230"/>
              <a:gd name="T36" fmla="*/ 887 w 3403"/>
              <a:gd name="T37" fmla="*/ 2925 h 3230"/>
              <a:gd name="T38" fmla="*/ 886 w 3403"/>
              <a:gd name="T39" fmla="*/ 2682 h 3230"/>
              <a:gd name="T40" fmla="*/ 1876 w 3403"/>
              <a:gd name="T41" fmla="*/ 1694 h 3230"/>
              <a:gd name="T42" fmla="*/ 2620 w 3403"/>
              <a:gd name="T43" fmla="*/ 3058 h 3230"/>
              <a:gd name="T44" fmla="*/ 2792 w 3403"/>
              <a:gd name="T45" fmla="*/ 2914 h 3230"/>
              <a:gd name="T46" fmla="*/ 2878 w 3403"/>
              <a:gd name="T47" fmla="*/ 2564 h 3230"/>
              <a:gd name="T48" fmla="*/ 3139 w 3403"/>
              <a:gd name="T49" fmla="*/ 2303 h 3230"/>
              <a:gd name="T50" fmla="*/ 2860 w 3403"/>
              <a:gd name="T51" fmla="*/ 2224 h 3230"/>
              <a:gd name="T52" fmla="*/ 2724 w 3403"/>
              <a:gd name="T53" fmla="*/ 1988 h 3230"/>
              <a:gd name="T54" fmla="*/ 2885 w 3403"/>
              <a:gd name="T55" fmla="*/ 1735 h 3230"/>
              <a:gd name="T56" fmla="*/ 3078 w 3403"/>
              <a:gd name="T57" fmla="*/ 1530 h 3230"/>
              <a:gd name="T58" fmla="*/ 2732 w 3403"/>
              <a:gd name="T59" fmla="*/ 1409 h 3230"/>
              <a:gd name="T60" fmla="*/ 2572 w 3403"/>
              <a:gd name="T61" fmla="*/ 1228 h 3230"/>
              <a:gd name="T62" fmla="*/ 3241 w 3403"/>
              <a:gd name="T63" fmla="*/ 456 h 3230"/>
              <a:gd name="T64" fmla="*/ 3399 w 3403"/>
              <a:gd name="T65" fmla="*/ 191 h 3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03" h="3230">
                <a:moveTo>
                  <a:pt x="3231" y="22"/>
                </a:moveTo>
                <a:cubicBezTo>
                  <a:pt x="3165" y="21"/>
                  <a:pt x="3087" y="36"/>
                  <a:pt x="3025" y="97"/>
                </a:cubicBezTo>
                <a:lnTo>
                  <a:pt x="2361" y="659"/>
                </a:lnTo>
                <a:cubicBezTo>
                  <a:pt x="2300" y="711"/>
                  <a:pt x="2190" y="729"/>
                  <a:pt x="2115" y="701"/>
                </a:cubicBezTo>
                <a:lnTo>
                  <a:pt x="1956" y="639"/>
                </a:lnTo>
                <a:cubicBezTo>
                  <a:pt x="1882" y="611"/>
                  <a:pt x="1858" y="534"/>
                  <a:pt x="1903" y="468"/>
                </a:cubicBezTo>
                <a:lnTo>
                  <a:pt x="2015" y="303"/>
                </a:lnTo>
                <a:cubicBezTo>
                  <a:pt x="2037" y="272"/>
                  <a:pt x="2028" y="249"/>
                  <a:pt x="2010" y="232"/>
                </a:cubicBezTo>
                <a:cubicBezTo>
                  <a:pt x="1979" y="201"/>
                  <a:pt x="1893" y="177"/>
                  <a:pt x="1841" y="199"/>
                </a:cubicBezTo>
                <a:cubicBezTo>
                  <a:pt x="1793" y="220"/>
                  <a:pt x="1758" y="258"/>
                  <a:pt x="1758" y="258"/>
                </a:cubicBezTo>
                <a:lnTo>
                  <a:pt x="1643" y="383"/>
                </a:lnTo>
                <a:cubicBezTo>
                  <a:pt x="1588" y="442"/>
                  <a:pt x="1481" y="478"/>
                  <a:pt x="1402" y="463"/>
                </a:cubicBezTo>
                <a:lnTo>
                  <a:pt x="1131" y="413"/>
                </a:lnTo>
                <a:cubicBezTo>
                  <a:pt x="1052" y="398"/>
                  <a:pt x="1023" y="339"/>
                  <a:pt x="1066" y="281"/>
                </a:cubicBezTo>
                <a:lnTo>
                  <a:pt x="1143" y="177"/>
                </a:lnTo>
                <a:cubicBezTo>
                  <a:pt x="1170" y="141"/>
                  <a:pt x="1177" y="112"/>
                  <a:pt x="1174" y="88"/>
                </a:cubicBezTo>
                <a:cubicBezTo>
                  <a:pt x="1167" y="35"/>
                  <a:pt x="1068" y="0"/>
                  <a:pt x="1008" y="15"/>
                </a:cubicBezTo>
                <a:cubicBezTo>
                  <a:pt x="947" y="30"/>
                  <a:pt x="860" y="106"/>
                  <a:pt x="808" y="166"/>
                </a:cubicBezTo>
                <a:lnTo>
                  <a:pt x="783" y="194"/>
                </a:lnTo>
                <a:cubicBezTo>
                  <a:pt x="731" y="254"/>
                  <a:pt x="623" y="300"/>
                  <a:pt x="543" y="298"/>
                </a:cubicBezTo>
                <a:lnTo>
                  <a:pt x="315" y="289"/>
                </a:lnTo>
                <a:cubicBezTo>
                  <a:pt x="235" y="286"/>
                  <a:pt x="136" y="255"/>
                  <a:pt x="88" y="259"/>
                </a:cubicBezTo>
                <a:cubicBezTo>
                  <a:pt x="63" y="261"/>
                  <a:pt x="39" y="274"/>
                  <a:pt x="22" y="310"/>
                </a:cubicBezTo>
                <a:cubicBezTo>
                  <a:pt x="22" y="310"/>
                  <a:pt x="6" y="352"/>
                  <a:pt x="17" y="392"/>
                </a:cubicBezTo>
                <a:cubicBezTo>
                  <a:pt x="30" y="436"/>
                  <a:pt x="128" y="482"/>
                  <a:pt x="198" y="521"/>
                </a:cubicBezTo>
                <a:cubicBezTo>
                  <a:pt x="508" y="689"/>
                  <a:pt x="1174" y="1042"/>
                  <a:pt x="1455" y="1190"/>
                </a:cubicBezTo>
                <a:cubicBezTo>
                  <a:pt x="1525" y="1227"/>
                  <a:pt x="1534" y="1301"/>
                  <a:pt x="1474" y="1354"/>
                </a:cubicBezTo>
                <a:lnTo>
                  <a:pt x="675" y="2064"/>
                </a:lnTo>
                <a:cubicBezTo>
                  <a:pt x="615" y="2117"/>
                  <a:pt x="503" y="2145"/>
                  <a:pt x="426" y="2126"/>
                </a:cubicBezTo>
                <a:lnTo>
                  <a:pt x="343" y="2106"/>
                </a:lnTo>
                <a:cubicBezTo>
                  <a:pt x="265" y="2087"/>
                  <a:pt x="171" y="2068"/>
                  <a:pt x="138" y="2084"/>
                </a:cubicBezTo>
                <a:cubicBezTo>
                  <a:pt x="106" y="2100"/>
                  <a:pt x="33" y="2160"/>
                  <a:pt x="16" y="2229"/>
                </a:cubicBezTo>
                <a:cubicBezTo>
                  <a:pt x="0" y="2297"/>
                  <a:pt x="113" y="2381"/>
                  <a:pt x="187" y="2411"/>
                </a:cubicBezTo>
                <a:cubicBezTo>
                  <a:pt x="276" y="2448"/>
                  <a:pt x="384" y="2486"/>
                  <a:pt x="450" y="2556"/>
                </a:cubicBezTo>
                <a:cubicBezTo>
                  <a:pt x="534" y="2647"/>
                  <a:pt x="587" y="2760"/>
                  <a:pt x="619" y="2847"/>
                </a:cubicBezTo>
                <a:cubicBezTo>
                  <a:pt x="647" y="2922"/>
                  <a:pt x="693" y="3036"/>
                  <a:pt x="751" y="3027"/>
                </a:cubicBezTo>
                <a:cubicBezTo>
                  <a:pt x="800" y="3019"/>
                  <a:pt x="841" y="2975"/>
                  <a:pt x="841" y="2975"/>
                </a:cubicBezTo>
                <a:cubicBezTo>
                  <a:pt x="841" y="2975"/>
                  <a:pt x="861" y="2953"/>
                  <a:pt x="887" y="2925"/>
                </a:cubicBezTo>
                <a:cubicBezTo>
                  <a:pt x="912" y="2897"/>
                  <a:pt x="917" y="2812"/>
                  <a:pt x="898" y="2734"/>
                </a:cubicBezTo>
                <a:lnTo>
                  <a:pt x="886" y="2682"/>
                </a:lnTo>
                <a:cubicBezTo>
                  <a:pt x="867" y="2604"/>
                  <a:pt x="902" y="2500"/>
                  <a:pt x="963" y="2449"/>
                </a:cubicBezTo>
                <a:lnTo>
                  <a:pt x="1876" y="1694"/>
                </a:lnTo>
                <a:cubicBezTo>
                  <a:pt x="1938" y="1643"/>
                  <a:pt x="2014" y="1661"/>
                  <a:pt x="2046" y="1735"/>
                </a:cubicBezTo>
                <a:lnTo>
                  <a:pt x="2620" y="3058"/>
                </a:lnTo>
                <a:cubicBezTo>
                  <a:pt x="2652" y="3131"/>
                  <a:pt x="2767" y="3230"/>
                  <a:pt x="2792" y="3154"/>
                </a:cubicBezTo>
                <a:cubicBezTo>
                  <a:pt x="2806" y="3111"/>
                  <a:pt x="2810" y="3037"/>
                  <a:pt x="2792" y="2914"/>
                </a:cubicBezTo>
                <a:cubicBezTo>
                  <a:pt x="2792" y="2914"/>
                  <a:pt x="2786" y="2856"/>
                  <a:pt x="2779" y="2784"/>
                </a:cubicBezTo>
                <a:cubicBezTo>
                  <a:pt x="2771" y="2713"/>
                  <a:pt x="2815" y="2614"/>
                  <a:pt x="2878" y="2564"/>
                </a:cubicBezTo>
                <a:lnTo>
                  <a:pt x="3064" y="2414"/>
                </a:lnTo>
                <a:cubicBezTo>
                  <a:pt x="3064" y="2414"/>
                  <a:pt x="3118" y="2373"/>
                  <a:pt x="3139" y="2303"/>
                </a:cubicBezTo>
                <a:cubicBezTo>
                  <a:pt x="3160" y="2230"/>
                  <a:pt x="3103" y="2133"/>
                  <a:pt x="3056" y="2140"/>
                </a:cubicBezTo>
                <a:cubicBezTo>
                  <a:pt x="3009" y="2147"/>
                  <a:pt x="2924" y="2194"/>
                  <a:pt x="2860" y="2224"/>
                </a:cubicBezTo>
                <a:cubicBezTo>
                  <a:pt x="2796" y="2253"/>
                  <a:pt x="2739" y="2213"/>
                  <a:pt x="2734" y="2133"/>
                </a:cubicBezTo>
                <a:lnTo>
                  <a:pt x="2724" y="1988"/>
                </a:lnTo>
                <a:cubicBezTo>
                  <a:pt x="2719" y="1908"/>
                  <a:pt x="2769" y="1808"/>
                  <a:pt x="2837" y="1765"/>
                </a:cubicBezTo>
                <a:lnTo>
                  <a:pt x="2885" y="1735"/>
                </a:lnTo>
                <a:cubicBezTo>
                  <a:pt x="2953" y="1692"/>
                  <a:pt x="3053" y="1607"/>
                  <a:pt x="3078" y="1531"/>
                </a:cubicBezTo>
                <a:cubicBezTo>
                  <a:pt x="3078" y="1531"/>
                  <a:pt x="3078" y="1531"/>
                  <a:pt x="3078" y="1530"/>
                </a:cubicBezTo>
                <a:cubicBezTo>
                  <a:pt x="3103" y="1454"/>
                  <a:pt x="3027" y="1359"/>
                  <a:pt x="2970" y="1355"/>
                </a:cubicBezTo>
                <a:cubicBezTo>
                  <a:pt x="2914" y="1351"/>
                  <a:pt x="2809" y="1389"/>
                  <a:pt x="2732" y="1409"/>
                </a:cubicBezTo>
                <a:cubicBezTo>
                  <a:pt x="2656" y="1429"/>
                  <a:pt x="2587" y="1381"/>
                  <a:pt x="2579" y="1301"/>
                </a:cubicBezTo>
                <a:lnTo>
                  <a:pt x="2572" y="1228"/>
                </a:lnTo>
                <a:cubicBezTo>
                  <a:pt x="2564" y="1148"/>
                  <a:pt x="2605" y="1040"/>
                  <a:pt x="2664" y="985"/>
                </a:cubicBezTo>
                <a:lnTo>
                  <a:pt x="3241" y="456"/>
                </a:lnTo>
                <a:cubicBezTo>
                  <a:pt x="3300" y="402"/>
                  <a:pt x="3385" y="301"/>
                  <a:pt x="3396" y="222"/>
                </a:cubicBezTo>
                <a:cubicBezTo>
                  <a:pt x="3398" y="212"/>
                  <a:pt x="3399" y="202"/>
                  <a:pt x="3399" y="191"/>
                </a:cubicBezTo>
                <a:cubicBezTo>
                  <a:pt x="3403" y="111"/>
                  <a:pt x="3311" y="24"/>
                  <a:pt x="3231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2C099BFF-7E31-45EB-8B63-581329C687AE}"/>
              </a:ext>
            </a:extLst>
          </p:cNvPr>
          <p:cNvSpPr/>
          <p:nvPr/>
        </p:nvSpPr>
        <p:spPr bwMode="auto">
          <a:xfrm>
            <a:off x="673100" y="3589010"/>
            <a:ext cx="3210103" cy="58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5" name="文本框 64">
            <a:extLst>
              <a:ext uri="{FF2B5EF4-FFF2-40B4-BE49-F238E27FC236}">
                <a16:creationId xmlns:a16="http://schemas.microsoft.com/office/drawing/2014/main" id="{8FD7E1D0-CE78-4443-8094-41F70D2FEB9F}"/>
              </a:ext>
            </a:extLst>
          </p:cNvPr>
          <p:cNvSpPr txBox="1"/>
          <p:nvPr/>
        </p:nvSpPr>
        <p:spPr bwMode="auto">
          <a:xfrm>
            <a:off x="673100" y="3102631"/>
            <a:ext cx="3210103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66" name="直接连接符 65">
            <a:extLst>
              <a:ext uri="{FF2B5EF4-FFF2-40B4-BE49-F238E27FC236}">
                <a16:creationId xmlns:a16="http://schemas.microsoft.com/office/drawing/2014/main" id="{1FDB7D81-E4F1-4216-804A-853AA82FAE8A}"/>
              </a:ext>
            </a:extLst>
          </p:cNvPr>
          <p:cNvCxnSpPr/>
          <p:nvPr/>
        </p:nvCxnSpPr>
        <p:spPr>
          <a:xfrm>
            <a:off x="673100" y="3589009"/>
            <a:ext cx="321010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EC958F0F-0984-4B60-83D4-AA554C27E3DF}"/>
              </a:ext>
            </a:extLst>
          </p:cNvPr>
          <p:cNvSpPr/>
          <p:nvPr/>
        </p:nvSpPr>
        <p:spPr bwMode="auto">
          <a:xfrm>
            <a:off x="3546567" y="3245442"/>
            <a:ext cx="304842" cy="288904"/>
          </a:xfrm>
          <a:custGeom>
            <a:avLst/>
            <a:gdLst>
              <a:gd name="T0" fmla="*/ 3025 w 3403"/>
              <a:gd name="T1" fmla="*/ 97 h 3230"/>
              <a:gd name="T2" fmla="*/ 2115 w 3403"/>
              <a:gd name="T3" fmla="*/ 701 h 3230"/>
              <a:gd name="T4" fmla="*/ 1903 w 3403"/>
              <a:gd name="T5" fmla="*/ 468 h 3230"/>
              <a:gd name="T6" fmla="*/ 2010 w 3403"/>
              <a:gd name="T7" fmla="*/ 232 h 3230"/>
              <a:gd name="T8" fmla="*/ 1758 w 3403"/>
              <a:gd name="T9" fmla="*/ 258 h 3230"/>
              <a:gd name="T10" fmla="*/ 1402 w 3403"/>
              <a:gd name="T11" fmla="*/ 463 h 3230"/>
              <a:gd name="T12" fmla="*/ 1066 w 3403"/>
              <a:gd name="T13" fmla="*/ 281 h 3230"/>
              <a:gd name="T14" fmla="*/ 1174 w 3403"/>
              <a:gd name="T15" fmla="*/ 88 h 3230"/>
              <a:gd name="T16" fmla="*/ 808 w 3403"/>
              <a:gd name="T17" fmla="*/ 166 h 3230"/>
              <a:gd name="T18" fmla="*/ 543 w 3403"/>
              <a:gd name="T19" fmla="*/ 298 h 3230"/>
              <a:gd name="T20" fmla="*/ 88 w 3403"/>
              <a:gd name="T21" fmla="*/ 259 h 3230"/>
              <a:gd name="T22" fmla="*/ 17 w 3403"/>
              <a:gd name="T23" fmla="*/ 392 h 3230"/>
              <a:gd name="T24" fmla="*/ 1455 w 3403"/>
              <a:gd name="T25" fmla="*/ 1190 h 3230"/>
              <a:gd name="T26" fmla="*/ 675 w 3403"/>
              <a:gd name="T27" fmla="*/ 2064 h 3230"/>
              <a:gd name="T28" fmla="*/ 343 w 3403"/>
              <a:gd name="T29" fmla="*/ 2106 h 3230"/>
              <a:gd name="T30" fmla="*/ 16 w 3403"/>
              <a:gd name="T31" fmla="*/ 2229 h 3230"/>
              <a:gd name="T32" fmla="*/ 450 w 3403"/>
              <a:gd name="T33" fmla="*/ 2556 h 3230"/>
              <a:gd name="T34" fmla="*/ 751 w 3403"/>
              <a:gd name="T35" fmla="*/ 3027 h 3230"/>
              <a:gd name="T36" fmla="*/ 887 w 3403"/>
              <a:gd name="T37" fmla="*/ 2925 h 3230"/>
              <a:gd name="T38" fmla="*/ 886 w 3403"/>
              <a:gd name="T39" fmla="*/ 2682 h 3230"/>
              <a:gd name="T40" fmla="*/ 1876 w 3403"/>
              <a:gd name="T41" fmla="*/ 1694 h 3230"/>
              <a:gd name="T42" fmla="*/ 2620 w 3403"/>
              <a:gd name="T43" fmla="*/ 3058 h 3230"/>
              <a:gd name="T44" fmla="*/ 2792 w 3403"/>
              <a:gd name="T45" fmla="*/ 2914 h 3230"/>
              <a:gd name="T46" fmla="*/ 2878 w 3403"/>
              <a:gd name="T47" fmla="*/ 2564 h 3230"/>
              <a:gd name="T48" fmla="*/ 3139 w 3403"/>
              <a:gd name="T49" fmla="*/ 2303 h 3230"/>
              <a:gd name="T50" fmla="*/ 2860 w 3403"/>
              <a:gd name="T51" fmla="*/ 2224 h 3230"/>
              <a:gd name="T52" fmla="*/ 2724 w 3403"/>
              <a:gd name="T53" fmla="*/ 1988 h 3230"/>
              <a:gd name="T54" fmla="*/ 2885 w 3403"/>
              <a:gd name="T55" fmla="*/ 1735 h 3230"/>
              <a:gd name="T56" fmla="*/ 3078 w 3403"/>
              <a:gd name="T57" fmla="*/ 1530 h 3230"/>
              <a:gd name="T58" fmla="*/ 2732 w 3403"/>
              <a:gd name="T59" fmla="*/ 1409 h 3230"/>
              <a:gd name="T60" fmla="*/ 2572 w 3403"/>
              <a:gd name="T61" fmla="*/ 1228 h 3230"/>
              <a:gd name="T62" fmla="*/ 3241 w 3403"/>
              <a:gd name="T63" fmla="*/ 456 h 3230"/>
              <a:gd name="T64" fmla="*/ 3399 w 3403"/>
              <a:gd name="T65" fmla="*/ 191 h 3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03" h="3230">
                <a:moveTo>
                  <a:pt x="3231" y="22"/>
                </a:moveTo>
                <a:cubicBezTo>
                  <a:pt x="3165" y="21"/>
                  <a:pt x="3087" y="36"/>
                  <a:pt x="3025" y="97"/>
                </a:cubicBezTo>
                <a:lnTo>
                  <a:pt x="2361" y="659"/>
                </a:lnTo>
                <a:cubicBezTo>
                  <a:pt x="2300" y="711"/>
                  <a:pt x="2190" y="729"/>
                  <a:pt x="2115" y="701"/>
                </a:cubicBezTo>
                <a:lnTo>
                  <a:pt x="1956" y="639"/>
                </a:lnTo>
                <a:cubicBezTo>
                  <a:pt x="1882" y="611"/>
                  <a:pt x="1858" y="534"/>
                  <a:pt x="1903" y="468"/>
                </a:cubicBezTo>
                <a:lnTo>
                  <a:pt x="2015" y="303"/>
                </a:lnTo>
                <a:cubicBezTo>
                  <a:pt x="2037" y="272"/>
                  <a:pt x="2028" y="249"/>
                  <a:pt x="2010" y="232"/>
                </a:cubicBezTo>
                <a:cubicBezTo>
                  <a:pt x="1979" y="201"/>
                  <a:pt x="1893" y="177"/>
                  <a:pt x="1841" y="199"/>
                </a:cubicBezTo>
                <a:cubicBezTo>
                  <a:pt x="1793" y="220"/>
                  <a:pt x="1758" y="258"/>
                  <a:pt x="1758" y="258"/>
                </a:cubicBezTo>
                <a:lnTo>
                  <a:pt x="1643" y="383"/>
                </a:lnTo>
                <a:cubicBezTo>
                  <a:pt x="1588" y="442"/>
                  <a:pt x="1481" y="478"/>
                  <a:pt x="1402" y="463"/>
                </a:cubicBezTo>
                <a:lnTo>
                  <a:pt x="1131" y="413"/>
                </a:lnTo>
                <a:cubicBezTo>
                  <a:pt x="1052" y="398"/>
                  <a:pt x="1023" y="339"/>
                  <a:pt x="1066" y="281"/>
                </a:cubicBezTo>
                <a:lnTo>
                  <a:pt x="1143" y="177"/>
                </a:lnTo>
                <a:cubicBezTo>
                  <a:pt x="1170" y="141"/>
                  <a:pt x="1177" y="112"/>
                  <a:pt x="1174" y="88"/>
                </a:cubicBezTo>
                <a:cubicBezTo>
                  <a:pt x="1167" y="35"/>
                  <a:pt x="1068" y="0"/>
                  <a:pt x="1008" y="15"/>
                </a:cubicBezTo>
                <a:cubicBezTo>
                  <a:pt x="947" y="30"/>
                  <a:pt x="860" y="106"/>
                  <a:pt x="808" y="166"/>
                </a:cubicBezTo>
                <a:lnTo>
                  <a:pt x="783" y="194"/>
                </a:lnTo>
                <a:cubicBezTo>
                  <a:pt x="731" y="254"/>
                  <a:pt x="623" y="300"/>
                  <a:pt x="543" y="298"/>
                </a:cubicBezTo>
                <a:lnTo>
                  <a:pt x="315" y="289"/>
                </a:lnTo>
                <a:cubicBezTo>
                  <a:pt x="235" y="286"/>
                  <a:pt x="136" y="255"/>
                  <a:pt x="88" y="259"/>
                </a:cubicBezTo>
                <a:cubicBezTo>
                  <a:pt x="63" y="261"/>
                  <a:pt x="39" y="274"/>
                  <a:pt x="22" y="310"/>
                </a:cubicBezTo>
                <a:cubicBezTo>
                  <a:pt x="22" y="310"/>
                  <a:pt x="6" y="352"/>
                  <a:pt x="17" y="392"/>
                </a:cubicBezTo>
                <a:cubicBezTo>
                  <a:pt x="30" y="436"/>
                  <a:pt x="128" y="482"/>
                  <a:pt x="198" y="521"/>
                </a:cubicBezTo>
                <a:cubicBezTo>
                  <a:pt x="508" y="689"/>
                  <a:pt x="1174" y="1042"/>
                  <a:pt x="1455" y="1190"/>
                </a:cubicBezTo>
                <a:cubicBezTo>
                  <a:pt x="1525" y="1227"/>
                  <a:pt x="1534" y="1301"/>
                  <a:pt x="1474" y="1354"/>
                </a:cubicBezTo>
                <a:lnTo>
                  <a:pt x="675" y="2064"/>
                </a:lnTo>
                <a:cubicBezTo>
                  <a:pt x="615" y="2117"/>
                  <a:pt x="503" y="2145"/>
                  <a:pt x="426" y="2126"/>
                </a:cubicBezTo>
                <a:lnTo>
                  <a:pt x="343" y="2106"/>
                </a:lnTo>
                <a:cubicBezTo>
                  <a:pt x="265" y="2087"/>
                  <a:pt x="171" y="2068"/>
                  <a:pt x="138" y="2084"/>
                </a:cubicBezTo>
                <a:cubicBezTo>
                  <a:pt x="106" y="2100"/>
                  <a:pt x="33" y="2160"/>
                  <a:pt x="16" y="2229"/>
                </a:cubicBezTo>
                <a:cubicBezTo>
                  <a:pt x="0" y="2297"/>
                  <a:pt x="113" y="2381"/>
                  <a:pt x="187" y="2411"/>
                </a:cubicBezTo>
                <a:cubicBezTo>
                  <a:pt x="276" y="2448"/>
                  <a:pt x="384" y="2486"/>
                  <a:pt x="450" y="2556"/>
                </a:cubicBezTo>
                <a:cubicBezTo>
                  <a:pt x="534" y="2647"/>
                  <a:pt x="587" y="2760"/>
                  <a:pt x="619" y="2847"/>
                </a:cubicBezTo>
                <a:cubicBezTo>
                  <a:pt x="647" y="2922"/>
                  <a:pt x="693" y="3036"/>
                  <a:pt x="751" y="3027"/>
                </a:cubicBezTo>
                <a:cubicBezTo>
                  <a:pt x="800" y="3019"/>
                  <a:pt x="841" y="2975"/>
                  <a:pt x="841" y="2975"/>
                </a:cubicBezTo>
                <a:cubicBezTo>
                  <a:pt x="841" y="2975"/>
                  <a:pt x="861" y="2953"/>
                  <a:pt x="887" y="2925"/>
                </a:cubicBezTo>
                <a:cubicBezTo>
                  <a:pt x="912" y="2897"/>
                  <a:pt x="917" y="2812"/>
                  <a:pt x="898" y="2734"/>
                </a:cubicBezTo>
                <a:lnTo>
                  <a:pt x="886" y="2682"/>
                </a:lnTo>
                <a:cubicBezTo>
                  <a:pt x="867" y="2604"/>
                  <a:pt x="902" y="2500"/>
                  <a:pt x="963" y="2449"/>
                </a:cubicBezTo>
                <a:lnTo>
                  <a:pt x="1876" y="1694"/>
                </a:lnTo>
                <a:cubicBezTo>
                  <a:pt x="1938" y="1643"/>
                  <a:pt x="2014" y="1661"/>
                  <a:pt x="2046" y="1735"/>
                </a:cubicBezTo>
                <a:lnTo>
                  <a:pt x="2620" y="3058"/>
                </a:lnTo>
                <a:cubicBezTo>
                  <a:pt x="2652" y="3131"/>
                  <a:pt x="2767" y="3230"/>
                  <a:pt x="2792" y="3154"/>
                </a:cubicBezTo>
                <a:cubicBezTo>
                  <a:pt x="2806" y="3111"/>
                  <a:pt x="2810" y="3037"/>
                  <a:pt x="2792" y="2914"/>
                </a:cubicBezTo>
                <a:cubicBezTo>
                  <a:pt x="2792" y="2914"/>
                  <a:pt x="2786" y="2856"/>
                  <a:pt x="2779" y="2784"/>
                </a:cubicBezTo>
                <a:cubicBezTo>
                  <a:pt x="2771" y="2713"/>
                  <a:pt x="2815" y="2614"/>
                  <a:pt x="2878" y="2564"/>
                </a:cubicBezTo>
                <a:lnTo>
                  <a:pt x="3064" y="2414"/>
                </a:lnTo>
                <a:cubicBezTo>
                  <a:pt x="3064" y="2414"/>
                  <a:pt x="3118" y="2373"/>
                  <a:pt x="3139" y="2303"/>
                </a:cubicBezTo>
                <a:cubicBezTo>
                  <a:pt x="3160" y="2230"/>
                  <a:pt x="3103" y="2133"/>
                  <a:pt x="3056" y="2140"/>
                </a:cubicBezTo>
                <a:cubicBezTo>
                  <a:pt x="3009" y="2147"/>
                  <a:pt x="2924" y="2194"/>
                  <a:pt x="2860" y="2224"/>
                </a:cubicBezTo>
                <a:cubicBezTo>
                  <a:pt x="2796" y="2253"/>
                  <a:pt x="2739" y="2213"/>
                  <a:pt x="2734" y="2133"/>
                </a:cubicBezTo>
                <a:lnTo>
                  <a:pt x="2724" y="1988"/>
                </a:lnTo>
                <a:cubicBezTo>
                  <a:pt x="2719" y="1908"/>
                  <a:pt x="2769" y="1808"/>
                  <a:pt x="2837" y="1765"/>
                </a:cubicBezTo>
                <a:lnTo>
                  <a:pt x="2885" y="1735"/>
                </a:lnTo>
                <a:cubicBezTo>
                  <a:pt x="2953" y="1692"/>
                  <a:pt x="3053" y="1607"/>
                  <a:pt x="3078" y="1531"/>
                </a:cubicBezTo>
                <a:cubicBezTo>
                  <a:pt x="3078" y="1531"/>
                  <a:pt x="3078" y="1531"/>
                  <a:pt x="3078" y="1530"/>
                </a:cubicBezTo>
                <a:cubicBezTo>
                  <a:pt x="3103" y="1454"/>
                  <a:pt x="3027" y="1359"/>
                  <a:pt x="2970" y="1355"/>
                </a:cubicBezTo>
                <a:cubicBezTo>
                  <a:pt x="2914" y="1351"/>
                  <a:pt x="2809" y="1389"/>
                  <a:pt x="2732" y="1409"/>
                </a:cubicBezTo>
                <a:cubicBezTo>
                  <a:pt x="2656" y="1429"/>
                  <a:pt x="2587" y="1381"/>
                  <a:pt x="2579" y="1301"/>
                </a:cubicBezTo>
                <a:lnTo>
                  <a:pt x="2572" y="1228"/>
                </a:lnTo>
                <a:cubicBezTo>
                  <a:pt x="2564" y="1148"/>
                  <a:pt x="2605" y="1040"/>
                  <a:pt x="2664" y="985"/>
                </a:cubicBezTo>
                <a:lnTo>
                  <a:pt x="3241" y="456"/>
                </a:lnTo>
                <a:cubicBezTo>
                  <a:pt x="3300" y="402"/>
                  <a:pt x="3385" y="301"/>
                  <a:pt x="3396" y="222"/>
                </a:cubicBezTo>
                <a:cubicBezTo>
                  <a:pt x="3398" y="212"/>
                  <a:pt x="3399" y="202"/>
                  <a:pt x="3399" y="191"/>
                </a:cubicBezTo>
                <a:cubicBezTo>
                  <a:pt x="3403" y="111"/>
                  <a:pt x="3311" y="24"/>
                  <a:pt x="3231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D5AF5AF4-1F3D-4B99-8802-981C4CFF2734}"/>
              </a:ext>
            </a:extLst>
          </p:cNvPr>
          <p:cNvSpPr/>
          <p:nvPr/>
        </p:nvSpPr>
        <p:spPr bwMode="auto">
          <a:xfrm>
            <a:off x="673100" y="4880799"/>
            <a:ext cx="3210103" cy="58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CB3794A7-D09A-4A8B-978B-18E869489CBC}"/>
              </a:ext>
            </a:extLst>
          </p:cNvPr>
          <p:cNvSpPr txBox="1"/>
          <p:nvPr/>
        </p:nvSpPr>
        <p:spPr bwMode="auto">
          <a:xfrm>
            <a:off x="673100" y="4394420"/>
            <a:ext cx="3210103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23005714-AEB9-45C7-957F-A2E4DD25BC5A}"/>
              </a:ext>
            </a:extLst>
          </p:cNvPr>
          <p:cNvCxnSpPr/>
          <p:nvPr/>
        </p:nvCxnSpPr>
        <p:spPr>
          <a:xfrm>
            <a:off x="673100" y="4880798"/>
            <a:ext cx="321010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5EDAD3A8-199B-4E87-B891-8C7DACA32EE2}"/>
              </a:ext>
            </a:extLst>
          </p:cNvPr>
          <p:cNvSpPr/>
          <p:nvPr/>
        </p:nvSpPr>
        <p:spPr bwMode="auto">
          <a:xfrm>
            <a:off x="3546567" y="4537231"/>
            <a:ext cx="304842" cy="288904"/>
          </a:xfrm>
          <a:custGeom>
            <a:avLst/>
            <a:gdLst>
              <a:gd name="T0" fmla="*/ 3025 w 3403"/>
              <a:gd name="T1" fmla="*/ 97 h 3230"/>
              <a:gd name="T2" fmla="*/ 2115 w 3403"/>
              <a:gd name="T3" fmla="*/ 701 h 3230"/>
              <a:gd name="T4" fmla="*/ 1903 w 3403"/>
              <a:gd name="T5" fmla="*/ 468 h 3230"/>
              <a:gd name="T6" fmla="*/ 2010 w 3403"/>
              <a:gd name="T7" fmla="*/ 232 h 3230"/>
              <a:gd name="T8" fmla="*/ 1758 w 3403"/>
              <a:gd name="T9" fmla="*/ 258 h 3230"/>
              <a:gd name="T10" fmla="*/ 1402 w 3403"/>
              <a:gd name="T11" fmla="*/ 463 h 3230"/>
              <a:gd name="T12" fmla="*/ 1066 w 3403"/>
              <a:gd name="T13" fmla="*/ 281 h 3230"/>
              <a:gd name="T14" fmla="*/ 1174 w 3403"/>
              <a:gd name="T15" fmla="*/ 88 h 3230"/>
              <a:gd name="T16" fmla="*/ 808 w 3403"/>
              <a:gd name="T17" fmla="*/ 166 h 3230"/>
              <a:gd name="T18" fmla="*/ 543 w 3403"/>
              <a:gd name="T19" fmla="*/ 298 h 3230"/>
              <a:gd name="T20" fmla="*/ 88 w 3403"/>
              <a:gd name="T21" fmla="*/ 259 h 3230"/>
              <a:gd name="T22" fmla="*/ 17 w 3403"/>
              <a:gd name="T23" fmla="*/ 392 h 3230"/>
              <a:gd name="T24" fmla="*/ 1455 w 3403"/>
              <a:gd name="T25" fmla="*/ 1190 h 3230"/>
              <a:gd name="T26" fmla="*/ 675 w 3403"/>
              <a:gd name="T27" fmla="*/ 2064 h 3230"/>
              <a:gd name="T28" fmla="*/ 343 w 3403"/>
              <a:gd name="T29" fmla="*/ 2106 h 3230"/>
              <a:gd name="T30" fmla="*/ 16 w 3403"/>
              <a:gd name="T31" fmla="*/ 2229 h 3230"/>
              <a:gd name="T32" fmla="*/ 450 w 3403"/>
              <a:gd name="T33" fmla="*/ 2556 h 3230"/>
              <a:gd name="T34" fmla="*/ 751 w 3403"/>
              <a:gd name="T35" fmla="*/ 3027 h 3230"/>
              <a:gd name="T36" fmla="*/ 887 w 3403"/>
              <a:gd name="T37" fmla="*/ 2925 h 3230"/>
              <a:gd name="T38" fmla="*/ 886 w 3403"/>
              <a:gd name="T39" fmla="*/ 2682 h 3230"/>
              <a:gd name="T40" fmla="*/ 1876 w 3403"/>
              <a:gd name="T41" fmla="*/ 1694 h 3230"/>
              <a:gd name="T42" fmla="*/ 2620 w 3403"/>
              <a:gd name="T43" fmla="*/ 3058 h 3230"/>
              <a:gd name="T44" fmla="*/ 2792 w 3403"/>
              <a:gd name="T45" fmla="*/ 2914 h 3230"/>
              <a:gd name="T46" fmla="*/ 2878 w 3403"/>
              <a:gd name="T47" fmla="*/ 2564 h 3230"/>
              <a:gd name="T48" fmla="*/ 3139 w 3403"/>
              <a:gd name="T49" fmla="*/ 2303 h 3230"/>
              <a:gd name="T50" fmla="*/ 2860 w 3403"/>
              <a:gd name="T51" fmla="*/ 2224 h 3230"/>
              <a:gd name="T52" fmla="*/ 2724 w 3403"/>
              <a:gd name="T53" fmla="*/ 1988 h 3230"/>
              <a:gd name="T54" fmla="*/ 2885 w 3403"/>
              <a:gd name="T55" fmla="*/ 1735 h 3230"/>
              <a:gd name="T56" fmla="*/ 3078 w 3403"/>
              <a:gd name="T57" fmla="*/ 1530 h 3230"/>
              <a:gd name="T58" fmla="*/ 2732 w 3403"/>
              <a:gd name="T59" fmla="*/ 1409 h 3230"/>
              <a:gd name="T60" fmla="*/ 2572 w 3403"/>
              <a:gd name="T61" fmla="*/ 1228 h 3230"/>
              <a:gd name="T62" fmla="*/ 3241 w 3403"/>
              <a:gd name="T63" fmla="*/ 456 h 3230"/>
              <a:gd name="T64" fmla="*/ 3399 w 3403"/>
              <a:gd name="T65" fmla="*/ 191 h 3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03" h="3230">
                <a:moveTo>
                  <a:pt x="3231" y="22"/>
                </a:moveTo>
                <a:cubicBezTo>
                  <a:pt x="3165" y="21"/>
                  <a:pt x="3087" y="36"/>
                  <a:pt x="3025" y="97"/>
                </a:cubicBezTo>
                <a:lnTo>
                  <a:pt x="2361" y="659"/>
                </a:lnTo>
                <a:cubicBezTo>
                  <a:pt x="2300" y="711"/>
                  <a:pt x="2190" y="729"/>
                  <a:pt x="2115" y="701"/>
                </a:cubicBezTo>
                <a:lnTo>
                  <a:pt x="1956" y="639"/>
                </a:lnTo>
                <a:cubicBezTo>
                  <a:pt x="1882" y="611"/>
                  <a:pt x="1858" y="534"/>
                  <a:pt x="1903" y="468"/>
                </a:cubicBezTo>
                <a:lnTo>
                  <a:pt x="2015" y="303"/>
                </a:lnTo>
                <a:cubicBezTo>
                  <a:pt x="2037" y="272"/>
                  <a:pt x="2028" y="249"/>
                  <a:pt x="2010" y="232"/>
                </a:cubicBezTo>
                <a:cubicBezTo>
                  <a:pt x="1979" y="201"/>
                  <a:pt x="1893" y="177"/>
                  <a:pt x="1841" y="199"/>
                </a:cubicBezTo>
                <a:cubicBezTo>
                  <a:pt x="1793" y="220"/>
                  <a:pt x="1758" y="258"/>
                  <a:pt x="1758" y="258"/>
                </a:cubicBezTo>
                <a:lnTo>
                  <a:pt x="1643" y="383"/>
                </a:lnTo>
                <a:cubicBezTo>
                  <a:pt x="1588" y="442"/>
                  <a:pt x="1481" y="478"/>
                  <a:pt x="1402" y="463"/>
                </a:cubicBezTo>
                <a:lnTo>
                  <a:pt x="1131" y="413"/>
                </a:lnTo>
                <a:cubicBezTo>
                  <a:pt x="1052" y="398"/>
                  <a:pt x="1023" y="339"/>
                  <a:pt x="1066" y="281"/>
                </a:cubicBezTo>
                <a:lnTo>
                  <a:pt x="1143" y="177"/>
                </a:lnTo>
                <a:cubicBezTo>
                  <a:pt x="1170" y="141"/>
                  <a:pt x="1177" y="112"/>
                  <a:pt x="1174" y="88"/>
                </a:cubicBezTo>
                <a:cubicBezTo>
                  <a:pt x="1167" y="35"/>
                  <a:pt x="1068" y="0"/>
                  <a:pt x="1008" y="15"/>
                </a:cubicBezTo>
                <a:cubicBezTo>
                  <a:pt x="947" y="30"/>
                  <a:pt x="860" y="106"/>
                  <a:pt x="808" y="166"/>
                </a:cubicBezTo>
                <a:lnTo>
                  <a:pt x="783" y="194"/>
                </a:lnTo>
                <a:cubicBezTo>
                  <a:pt x="731" y="254"/>
                  <a:pt x="623" y="300"/>
                  <a:pt x="543" y="298"/>
                </a:cubicBezTo>
                <a:lnTo>
                  <a:pt x="315" y="289"/>
                </a:lnTo>
                <a:cubicBezTo>
                  <a:pt x="235" y="286"/>
                  <a:pt x="136" y="255"/>
                  <a:pt x="88" y="259"/>
                </a:cubicBezTo>
                <a:cubicBezTo>
                  <a:pt x="63" y="261"/>
                  <a:pt x="39" y="274"/>
                  <a:pt x="22" y="310"/>
                </a:cubicBezTo>
                <a:cubicBezTo>
                  <a:pt x="22" y="310"/>
                  <a:pt x="6" y="352"/>
                  <a:pt x="17" y="392"/>
                </a:cubicBezTo>
                <a:cubicBezTo>
                  <a:pt x="30" y="436"/>
                  <a:pt x="128" y="482"/>
                  <a:pt x="198" y="521"/>
                </a:cubicBezTo>
                <a:cubicBezTo>
                  <a:pt x="508" y="689"/>
                  <a:pt x="1174" y="1042"/>
                  <a:pt x="1455" y="1190"/>
                </a:cubicBezTo>
                <a:cubicBezTo>
                  <a:pt x="1525" y="1227"/>
                  <a:pt x="1534" y="1301"/>
                  <a:pt x="1474" y="1354"/>
                </a:cubicBezTo>
                <a:lnTo>
                  <a:pt x="675" y="2064"/>
                </a:lnTo>
                <a:cubicBezTo>
                  <a:pt x="615" y="2117"/>
                  <a:pt x="503" y="2145"/>
                  <a:pt x="426" y="2126"/>
                </a:cubicBezTo>
                <a:lnTo>
                  <a:pt x="343" y="2106"/>
                </a:lnTo>
                <a:cubicBezTo>
                  <a:pt x="265" y="2087"/>
                  <a:pt x="171" y="2068"/>
                  <a:pt x="138" y="2084"/>
                </a:cubicBezTo>
                <a:cubicBezTo>
                  <a:pt x="106" y="2100"/>
                  <a:pt x="33" y="2160"/>
                  <a:pt x="16" y="2229"/>
                </a:cubicBezTo>
                <a:cubicBezTo>
                  <a:pt x="0" y="2297"/>
                  <a:pt x="113" y="2381"/>
                  <a:pt x="187" y="2411"/>
                </a:cubicBezTo>
                <a:cubicBezTo>
                  <a:pt x="276" y="2448"/>
                  <a:pt x="384" y="2486"/>
                  <a:pt x="450" y="2556"/>
                </a:cubicBezTo>
                <a:cubicBezTo>
                  <a:pt x="534" y="2647"/>
                  <a:pt x="587" y="2760"/>
                  <a:pt x="619" y="2847"/>
                </a:cubicBezTo>
                <a:cubicBezTo>
                  <a:pt x="647" y="2922"/>
                  <a:pt x="693" y="3036"/>
                  <a:pt x="751" y="3027"/>
                </a:cubicBezTo>
                <a:cubicBezTo>
                  <a:pt x="800" y="3019"/>
                  <a:pt x="841" y="2975"/>
                  <a:pt x="841" y="2975"/>
                </a:cubicBezTo>
                <a:cubicBezTo>
                  <a:pt x="841" y="2975"/>
                  <a:pt x="861" y="2953"/>
                  <a:pt x="887" y="2925"/>
                </a:cubicBezTo>
                <a:cubicBezTo>
                  <a:pt x="912" y="2897"/>
                  <a:pt x="917" y="2812"/>
                  <a:pt x="898" y="2734"/>
                </a:cubicBezTo>
                <a:lnTo>
                  <a:pt x="886" y="2682"/>
                </a:lnTo>
                <a:cubicBezTo>
                  <a:pt x="867" y="2604"/>
                  <a:pt x="902" y="2500"/>
                  <a:pt x="963" y="2449"/>
                </a:cubicBezTo>
                <a:lnTo>
                  <a:pt x="1876" y="1694"/>
                </a:lnTo>
                <a:cubicBezTo>
                  <a:pt x="1938" y="1643"/>
                  <a:pt x="2014" y="1661"/>
                  <a:pt x="2046" y="1735"/>
                </a:cubicBezTo>
                <a:lnTo>
                  <a:pt x="2620" y="3058"/>
                </a:lnTo>
                <a:cubicBezTo>
                  <a:pt x="2652" y="3131"/>
                  <a:pt x="2767" y="3230"/>
                  <a:pt x="2792" y="3154"/>
                </a:cubicBezTo>
                <a:cubicBezTo>
                  <a:pt x="2806" y="3111"/>
                  <a:pt x="2810" y="3037"/>
                  <a:pt x="2792" y="2914"/>
                </a:cubicBezTo>
                <a:cubicBezTo>
                  <a:pt x="2792" y="2914"/>
                  <a:pt x="2786" y="2856"/>
                  <a:pt x="2779" y="2784"/>
                </a:cubicBezTo>
                <a:cubicBezTo>
                  <a:pt x="2771" y="2713"/>
                  <a:pt x="2815" y="2614"/>
                  <a:pt x="2878" y="2564"/>
                </a:cubicBezTo>
                <a:lnTo>
                  <a:pt x="3064" y="2414"/>
                </a:lnTo>
                <a:cubicBezTo>
                  <a:pt x="3064" y="2414"/>
                  <a:pt x="3118" y="2373"/>
                  <a:pt x="3139" y="2303"/>
                </a:cubicBezTo>
                <a:cubicBezTo>
                  <a:pt x="3160" y="2230"/>
                  <a:pt x="3103" y="2133"/>
                  <a:pt x="3056" y="2140"/>
                </a:cubicBezTo>
                <a:cubicBezTo>
                  <a:pt x="3009" y="2147"/>
                  <a:pt x="2924" y="2194"/>
                  <a:pt x="2860" y="2224"/>
                </a:cubicBezTo>
                <a:cubicBezTo>
                  <a:pt x="2796" y="2253"/>
                  <a:pt x="2739" y="2213"/>
                  <a:pt x="2734" y="2133"/>
                </a:cubicBezTo>
                <a:lnTo>
                  <a:pt x="2724" y="1988"/>
                </a:lnTo>
                <a:cubicBezTo>
                  <a:pt x="2719" y="1908"/>
                  <a:pt x="2769" y="1808"/>
                  <a:pt x="2837" y="1765"/>
                </a:cubicBezTo>
                <a:lnTo>
                  <a:pt x="2885" y="1735"/>
                </a:lnTo>
                <a:cubicBezTo>
                  <a:pt x="2953" y="1692"/>
                  <a:pt x="3053" y="1607"/>
                  <a:pt x="3078" y="1531"/>
                </a:cubicBezTo>
                <a:cubicBezTo>
                  <a:pt x="3078" y="1531"/>
                  <a:pt x="3078" y="1531"/>
                  <a:pt x="3078" y="1530"/>
                </a:cubicBezTo>
                <a:cubicBezTo>
                  <a:pt x="3103" y="1454"/>
                  <a:pt x="3027" y="1359"/>
                  <a:pt x="2970" y="1355"/>
                </a:cubicBezTo>
                <a:cubicBezTo>
                  <a:pt x="2914" y="1351"/>
                  <a:pt x="2809" y="1389"/>
                  <a:pt x="2732" y="1409"/>
                </a:cubicBezTo>
                <a:cubicBezTo>
                  <a:pt x="2656" y="1429"/>
                  <a:pt x="2587" y="1381"/>
                  <a:pt x="2579" y="1301"/>
                </a:cubicBezTo>
                <a:lnTo>
                  <a:pt x="2572" y="1228"/>
                </a:lnTo>
                <a:cubicBezTo>
                  <a:pt x="2564" y="1148"/>
                  <a:pt x="2605" y="1040"/>
                  <a:pt x="2664" y="985"/>
                </a:cubicBezTo>
                <a:lnTo>
                  <a:pt x="3241" y="456"/>
                </a:lnTo>
                <a:cubicBezTo>
                  <a:pt x="3300" y="402"/>
                  <a:pt x="3385" y="301"/>
                  <a:pt x="3396" y="222"/>
                </a:cubicBezTo>
                <a:cubicBezTo>
                  <a:pt x="3398" y="212"/>
                  <a:pt x="3399" y="202"/>
                  <a:pt x="3399" y="191"/>
                </a:cubicBezTo>
                <a:cubicBezTo>
                  <a:pt x="3403" y="111"/>
                  <a:pt x="3311" y="24"/>
                  <a:pt x="3231" y="2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720C07E2-3300-4E9A-B4B0-CF48D8A77370}"/>
              </a:ext>
            </a:extLst>
          </p:cNvPr>
          <p:cNvSpPr/>
          <p:nvPr/>
        </p:nvSpPr>
        <p:spPr bwMode="auto">
          <a:xfrm>
            <a:off x="8310385" y="2297221"/>
            <a:ext cx="3210103" cy="58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CCDA3479-977F-432C-8121-B5CB70E80043}"/>
              </a:ext>
            </a:extLst>
          </p:cNvPr>
          <p:cNvSpPr txBox="1"/>
          <p:nvPr/>
        </p:nvSpPr>
        <p:spPr bwMode="auto">
          <a:xfrm>
            <a:off x="8310385" y="1810842"/>
            <a:ext cx="3210103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3FCD3AD8-AE3F-47DA-85C1-7FDCDA2DB863}"/>
              </a:ext>
            </a:extLst>
          </p:cNvPr>
          <p:cNvCxnSpPr/>
          <p:nvPr/>
        </p:nvCxnSpPr>
        <p:spPr>
          <a:xfrm>
            <a:off x="8310385" y="2297220"/>
            <a:ext cx="321010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5EF9D9DB-78AC-430A-897F-5C6BCC1DF64B}"/>
              </a:ext>
            </a:extLst>
          </p:cNvPr>
          <p:cNvSpPr/>
          <p:nvPr/>
        </p:nvSpPr>
        <p:spPr bwMode="auto">
          <a:xfrm>
            <a:off x="8298514" y="1953653"/>
            <a:ext cx="304842" cy="288904"/>
          </a:xfrm>
          <a:custGeom>
            <a:avLst/>
            <a:gdLst>
              <a:gd name="T0" fmla="*/ 3025 w 3403"/>
              <a:gd name="T1" fmla="*/ 97 h 3230"/>
              <a:gd name="T2" fmla="*/ 2115 w 3403"/>
              <a:gd name="T3" fmla="*/ 701 h 3230"/>
              <a:gd name="T4" fmla="*/ 1903 w 3403"/>
              <a:gd name="T5" fmla="*/ 468 h 3230"/>
              <a:gd name="T6" fmla="*/ 2010 w 3403"/>
              <a:gd name="T7" fmla="*/ 232 h 3230"/>
              <a:gd name="T8" fmla="*/ 1758 w 3403"/>
              <a:gd name="T9" fmla="*/ 258 h 3230"/>
              <a:gd name="T10" fmla="*/ 1402 w 3403"/>
              <a:gd name="T11" fmla="*/ 463 h 3230"/>
              <a:gd name="T12" fmla="*/ 1066 w 3403"/>
              <a:gd name="T13" fmla="*/ 281 h 3230"/>
              <a:gd name="T14" fmla="*/ 1174 w 3403"/>
              <a:gd name="T15" fmla="*/ 88 h 3230"/>
              <a:gd name="T16" fmla="*/ 808 w 3403"/>
              <a:gd name="T17" fmla="*/ 166 h 3230"/>
              <a:gd name="T18" fmla="*/ 543 w 3403"/>
              <a:gd name="T19" fmla="*/ 298 h 3230"/>
              <a:gd name="T20" fmla="*/ 88 w 3403"/>
              <a:gd name="T21" fmla="*/ 259 h 3230"/>
              <a:gd name="T22" fmla="*/ 17 w 3403"/>
              <a:gd name="T23" fmla="*/ 392 h 3230"/>
              <a:gd name="T24" fmla="*/ 1455 w 3403"/>
              <a:gd name="T25" fmla="*/ 1190 h 3230"/>
              <a:gd name="T26" fmla="*/ 675 w 3403"/>
              <a:gd name="T27" fmla="*/ 2064 h 3230"/>
              <a:gd name="T28" fmla="*/ 343 w 3403"/>
              <a:gd name="T29" fmla="*/ 2106 h 3230"/>
              <a:gd name="T30" fmla="*/ 16 w 3403"/>
              <a:gd name="T31" fmla="*/ 2229 h 3230"/>
              <a:gd name="T32" fmla="*/ 450 w 3403"/>
              <a:gd name="T33" fmla="*/ 2556 h 3230"/>
              <a:gd name="T34" fmla="*/ 751 w 3403"/>
              <a:gd name="T35" fmla="*/ 3027 h 3230"/>
              <a:gd name="T36" fmla="*/ 887 w 3403"/>
              <a:gd name="T37" fmla="*/ 2925 h 3230"/>
              <a:gd name="T38" fmla="*/ 886 w 3403"/>
              <a:gd name="T39" fmla="*/ 2682 h 3230"/>
              <a:gd name="T40" fmla="*/ 1876 w 3403"/>
              <a:gd name="T41" fmla="*/ 1694 h 3230"/>
              <a:gd name="T42" fmla="*/ 2620 w 3403"/>
              <a:gd name="T43" fmla="*/ 3058 h 3230"/>
              <a:gd name="T44" fmla="*/ 2792 w 3403"/>
              <a:gd name="T45" fmla="*/ 2914 h 3230"/>
              <a:gd name="T46" fmla="*/ 2878 w 3403"/>
              <a:gd name="T47" fmla="*/ 2564 h 3230"/>
              <a:gd name="T48" fmla="*/ 3139 w 3403"/>
              <a:gd name="T49" fmla="*/ 2303 h 3230"/>
              <a:gd name="T50" fmla="*/ 2860 w 3403"/>
              <a:gd name="T51" fmla="*/ 2224 h 3230"/>
              <a:gd name="T52" fmla="*/ 2724 w 3403"/>
              <a:gd name="T53" fmla="*/ 1988 h 3230"/>
              <a:gd name="T54" fmla="*/ 2885 w 3403"/>
              <a:gd name="T55" fmla="*/ 1735 h 3230"/>
              <a:gd name="T56" fmla="*/ 3078 w 3403"/>
              <a:gd name="T57" fmla="*/ 1530 h 3230"/>
              <a:gd name="T58" fmla="*/ 2732 w 3403"/>
              <a:gd name="T59" fmla="*/ 1409 h 3230"/>
              <a:gd name="T60" fmla="*/ 2572 w 3403"/>
              <a:gd name="T61" fmla="*/ 1228 h 3230"/>
              <a:gd name="T62" fmla="*/ 3241 w 3403"/>
              <a:gd name="T63" fmla="*/ 456 h 3230"/>
              <a:gd name="T64" fmla="*/ 3399 w 3403"/>
              <a:gd name="T65" fmla="*/ 191 h 3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03" h="3230">
                <a:moveTo>
                  <a:pt x="3231" y="22"/>
                </a:moveTo>
                <a:cubicBezTo>
                  <a:pt x="3165" y="21"/>
                  <a:pt x="3087" y="36"/>
                  <a:pt x="3025" y="97"/>
                </a:cubicBezTo>
                <a:lnTo>
                  <a:pt x="2361" y="659"/>
                </a:lnTo>
                <a:cubicBezTo>
                  <a:pt x="2300" y="711"/>
                  <a:pt x="2190" y="729"/>
                  <a:pt x="2115" y="701"/>
                </a:cubicBezTo>
                <a:lnTo>
                  <a:pt x="1956" y="639"/>
                </a:lnTo>
                <a:cubicBezTo>
                  <a:pt x="1882" y="611"/>
                  <a:pt x="1858" y="534"/>
                  <a:pt x="1903" y="468"/>
                </a:cubicBezTo>
                <a:lnTo>
                  <a:pt x="2015" y="303"/>
                </a:lnTo>
                <a:cubicBezTo>
                  <a:pt x="2037" y="272"/>
                  <a:pt x="2028" y="249"/>
                  <a:pt x="2010" y="232"/>
                </a:cubicBezTo>
                <a:cubicBezTo>
                  <a:pt x="1979" y="201"/>
                  <a:pt x="1893" y="177"/>
                  <a:pt x="1841" y="199"/>
                </a:cubicBezTo>
                <a:cubicBezTo>
                  <a:pt x="1793" y="220"/>
                  <a:pt x="1758" y="258"/>
                  <a:pt x="1758" y="258"/>
                </a:cubicBezTo>
                <a:lnTo>
                  <a:pt x="1643" y="383"/>
                </a:lnTo>
                <a:cubicBezTo>
                  <a:pt x="1588" y="442"/>
                  <a:pt x="1481" y="478"/>
                  <a:pt x="1402" y="463"/>
                </a:cubicBezTo>
                <a:lnTo>
                  <a:pt x="1131" y="413"/>
                </a:lnTo>
                <a:cubicBezTo>
                  <a:pt x="1052" y="398"/>
                  <a:pt x="1023" y="339"/>
                  <a:pt x="1066" y="281"/>
                </a:cubicBezTo>
                <a:lnTo>
                  <a:pt x="1143" y="177"/>
                </a:lnTo>
                <a:cubicBezTo>
                  <a:pt x="1170" y="141"/>
                  <a:pt x="1177" y="112"/>
                  <a:pt x="1174" y="88"/>
                </a:cubicBezTo>
                <a:cubicBezTo>
                  <a:pt x="1167" y="35"/>
                  <a:pt x="1068" y="0"/>
                  <a:pt x="1008" y="15"/>
                </a:cubicBezTo>
                <a:cubicBezTo>
                  <a:pt x="947" y="30"/>
                  <a:pt x="860" y="106"/>
                  <a:pt x="808" y="166"/>
                </a:cubicBezTo>
                <a:lnTo>
                  <a:pt x="783" y="194"/>
                </a:lnTo>
                <a:cubicBezTo>
                  <a:pt x="731" y="254"/>
                  <a:pt x="623" y="300"/>
                  <a:pt x="543" y="298"/>
                </a:cubicBezTo>
                <a:lnTo>
                  <a:pt x="315" y="289"/>
                </a:lnTo>
                <a:cubicBezTo>
                  <a:pt x="235" y="286"/>
                  <a:pt x="136" y="255"/>
                  <a:pt x="88" y="259"/>
                </a:cubicBezTo>
                <a:cubicBezTo>
                  <a:pt x="63" y="261"/>
                  <a:pt x="39" y="274"/>
                  <a:pt x="22" y="310"/>
                </a:cubicBezTo>
                <a:cubicBezTo>
                  <a:pt x="22" y="310"/>
                  <a:pt x="6" y="352"/>
                  <a:pt x="17" y="392"/>
                </a:cubicBezTo>
                <a:cubicBezTo>
                  <a:pt x="30" y="436"/>
                  <a:pt x="128" y="482"/>
                  <a:pt x="198" y="521"/>
                </a:cubicBezTo>
                <a:cubicBezTo>
                  <a:pt x="508" y="689"/>
                  <a:pt x="1174" y="1042"/>
                  <a:pt x="1455" y="1190"/>
                </a:cubicBezTo>
                <a:cubicBezTo>
                  <a:pt x="1525" y="1227"/>
                  <a:pt x="1534" y="1301"/>
                  <a:pt x="1474" y="1354"/>
                </a:cubicBezTo>
                <a:lnTo>
                  <a:pt x="675" y="2064"/>
                </a:lnTo>
                <a:cubicBezTo>
                  <a:pt x="615" y="2117"/>
                  <a:pt x="503" y="2145"/>
                  <a:pt x="426" y="2126"/>
                </a:cubicBezTo>
                <a:lnTo>
                  <a:pt x="343" y="2106"/>
                </a:lnTo>
                <a:cubicBezTo>
                  <a:pt x="265" y="2087"/>
                  <a:pt x="171" y="2068"/>
                  <a:pt x="138" y="2084"/>
                </a:cubicBezTo>
                <a:cubicBezTo>
                  <a:pt x="106" y="2100"/>
                  <a:pt x="33" y="2160"/>
                  <a:pt x="16" y="2229"/>
                </a:cubicBezTo>
                <a:cubicBezTo>
                  <a:pt x="0" y="2297"/>
                  <a:pt x="113" y="2381"/>
                  <a:pt x="187" y="2411"/>
                </a:cubicBezTo>
                <a:cubicBezTo>
                  <a:pt x="276" y="2448"/>
                  <a:pt x="384" y="2486"/>
                  <a:pt x="450" y="2556"/>
                </a:cubicBezTo>
                <a:cubicBezTo>
                  <a:pt x="534" y="2647"/>
                  <a:pt x="587" y="2760"/>
                  <a:pt x="619" y="2847"/>
                </a:cubicBezTo>
                <a:cubicBezTo>
                  <a:pt x="647" y="2922"/>
                  <a:pt x="693" y="3036"/>
                  <a:pt x="751" y="3027"/>
                </a:cubicBezTo>
                <a:cubicBezTo>
                  <a:pt x="800" y="3019"/>
                  <a:pt x="841" y="2975"/>
                  <a:pt x="841" y="2975"/>
                </a:cubicBezTo>
                <a:cubicBezTo>
                  <a:pt x="841" y="2975"/>
                  <a:pt x="861" y="2953"/>
                  <a:pt x="887" y="2925"/>
                </a:cubicBezTo>
                <a:cubicBezTo>
                  <a:pt x="912" y="2897"/>
                  <a:pt x="917" y="2812"/>
                  <a:pt x="898" y="2734"/>
                </a:cubicBezTo>
                <a:lnTo>
                  <a:pt x="886" y="2682"/>
                </a:lnTo>
                <a:cubicBezTo>
                  <a:pt x="867" y="2604"/>
                  <a:pt x="902" y="2500"/>
                  <a:pt x="963" y="2449"/>
                </a:cubicBezTo>
                <a:lnTo>
                  <a:pt x="1876" y="1694"/>
                </a:lnTo>
                <a:cubicBezTo>
                  <a:pt x="1938" y="1643"/>
                  <a:pt x="2014" y="1661"/>
                  <a:pt x="2046" y="1735"/>
                </a:cubicBezTo>
                <a:lnTo>
                  <a:pt x="2620" y="3058"/>
                </a:lnTo>
                <a:cubicBezTo>
                  <a:pt x="2652" y="3131"/>
                  <a:pt x="2767" y="3230"/>
                  <a:pt x="2792" y="3154"/>
                </a:cubicBezTo>
                <a:cubicBezTo>
                  <a:pt x="2806" y="3111"/>
                  <a:pt x="2810" y="3037"/>
                  <a:pt x="2792" y="2914"/>
                </a:cubicBezTo>
                <a:cubicBezTo>
                  <a:pt x="2792" y="2914"/>
                  <a:pt x="2786" y="2856"/>
                  <a:pt x="2779" y="2784"/>
                </a:cubicBezTo>
                <a:cubicBezTo>
                  <a:pt x="2771" y="2713"/>
                  <a:pt x="2815" y="2614"/>
                  <a:pt x="2878" y="2564"/>
                </a:cubicBezTo>
                <a:lnTo>
                  <a:pt x="3064" y="2414"/>
                </a:lnTo>
                <a:cubicBezTo>
                  <a:pt x="3064" y="2414"/>
                  <a:pt x="3118" y="2373"/>
                  <a:pt x="3139" y="2303"/>
                </a:cubicBezTo>
                <a:cubicBezTo>
                  <a:pt x="3160" y="2230"/>
                  <a:pt x="3103" y="2133"/>
                  <a:pt x="3056" y="2140"/>
                </a:cubicBezTo>
                <a:cubicBezTo>
                  <a:pt x="3009" y="2147"/>
                  <a:pt x="2924" y="2194"/>
                  <a:pt x="2860" y="2224"/>
                </a:cubicBezTo>
                <a:cubicBezTo>
                  <a:pt x="2796" y="2253"/>
                  <a:pt x="2739" y="2213"/>
                  <a:pt x="2734" y="2133"/>
                </a:cubicBezTo>
                <a:lnTo>
                  <a:pt x="2724" y="1988"/>
                </a:lnTo>
                <a:cubicBezTo>
                  <a:pt x="2719" y="1908"/>
                  <a:pt x="2769" y="1808"/>
                  <a:pt x="2837" y="1765"/>
                </a:cubicBezTo>
                <a:lnTo>
                  <a:pt x="2885" y="1735"/>
                </a:lnTo>
                <a:cubicBezTo>
                  <a:pt x="2953" y="1692"/>
                  <a:pt x="3053" y="1607"/>
                  <a:pt x="3078" y="1531"/>
                </a:cubicBezTo>
                <a:cubicBezTo>
                  <a:pt x="3078" y="1531"/>
                  <a:pt x="3078" y="1531"/>
                  <a:pt x="3078" y="1530"/>
                </a:cubicBezTo>
                <a:cubicBezTo>
                  <a:pt x="3103" y="1454"/>
                  <a:pt x="3027" y="1359"/>
                  <a:pt x="2970" y="1355"/>
                </a:cubicBezTo>
                <a:cubicBezTo>
                  <a:pt x="2914" y="1351"/>
                  <a:pt x="2809" y="1389"/>
                  <a:pt x="2732" y="1409"/>
                </a:cubicBezTo>
                <a:cubicBezTo>
                  <a:pt x="2656" y="1429"/>
                  <a:pt x="2587" y="1381"/>
                  <a:pt x="2579" y="1301"/>
                </a:cubicBezTo>
                <a:lnTo>
                  <a:pt x="2572" y="1228"/>
                </a:lnTo>
                <a:cubicBezTo>
                  <a:pt x="2564" y="1148"/>
                  <a:pt x="2605" y="1040"/>
                  <a:pt x="2664" y="985"/>
                </a:cubicBezTo>
                <a:lnTo>
                  <a:pt x="3241" y="456"/>
                </a:lnTo>
                <a:cubicBezTo>
                  <a:pt x="3300" y="402"/>
                  <a:pt x="3385" y="301"/>
                  <a:pt x="3396" y="222"/>
                </a:cubicBezTo>
                <a:cubicBezTo>
                  <a:pt x="3398" y="212"/>
                  <a:pt x="3399" y="202"/>
                  <a:pt x="3399" y="191"/>
                </a:cubicBezTo>
                <a:cubicBezTo>
                  <a:pt x="3403" y="111"/>
                  <a:pt x="3311" y="24"/>
                  <a:pt x="3231" y="2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F4970718-FE64-452A-95A7-635567DBA994}"/>
              </a:ext>
            </a:extLst>
          </p:cNvPr>
          <p:cNvSpPr/>
          <p:nvPr/>
        </p:nvSpPr>
        <p:spPr bwMode="auto">
          <a:xfrm>
            <a:off x="8310385" y="3589010"/>
            <a:ext cx="3210103" cy="58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20289BAE-9A69-4102-B34F-0603DF10EFF0}"/>
              </a:ext>
            </a:extLst>
          </p:cNvPr>
          <p:cNvSpPr txBox="1"/>
          <p:nvPr/>
        </p:nvSpPr>
        <p:spPr bwMode="auto">
          <a:xfrm>
            <a:off x="8310385" y="3102631"/>
            <a:ext cx="3210103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F07F5826-BF52-44C9-8E83-CC30477C7240}"/>
              </a:ext>
            </a:extLst>
          </p:cNvPr>
          <p:cNvCxnSpPr/>
          <p:nvPr/>
        </p:nvCxnSpPr>
        <p:spPr>
          <a:xfrm>
            <a:off x="8310385" y="3589009"/>
            <a:ext cx="321010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7FE5D3DF-CE90-4407-A7DC-926FCD7B6C6D}"/>
              </a:ext>
            </a:extLst>
          </p:cNvPr>
          <p:cNvSpPr/>
          <p:nvPr/>
        </p:nvSpPr>
        <p:spPr bwMode="auto">
          <a:xfrm>
            <a:off x="8298514" y="3245442"/>
            <a:ext cx="304842" cy="288904"/>
          </a:xfrm>
          <a:custGeom>
            <a:avLst/>
            <a:gdLst>
              <a:gd name="T0" fmla="*/ 3025 w 3403"/>
              <a:gd name="T1" fmla="*/ 97 h 3230"/>
              <a:gd name="T2" fmla="*/ 2115 w 3403"/>
              <a:gd name="T3" fmla="*/ 701 h 3230"/>
              <a:gd name="T4" fmla="*/ 1903 w 3403"/>
              <a:gd name="T5" fmla="*/ 468 h 3230"/>
              <a:gd name="T6" fmla="*/ 2010 w 3403"/>
              <a:gd name="T7" fmla="*/ 232 h 3230"/>
              <a:gd name="T8" fmla="*/ 1758 w 3403"/>
              <a:gd name="T9" fmla="*/ 258 h 3230"/>
              <a:gd name="T10" fmla="*/ 1402 w 3403"/>
              <a:gd name="T11" fmla="*/ 463 h 3230"/>
              <a:gd name="T12" fmla="*/ 1066 w 3403"/>
              <a:gd name="T13" fmla="*/ 281 h 3230"/>
              <a:gd name="T14" fmla="*/ 1174 w 3403"/>
              <a:gd name="T15" fmla="*/ 88 h 3230"/>
              <a:gd name="T16" fmla="*/ 808 w 3403"/>
              <a:gd name="T17" fmla="*/ 166 h 3230"/>
              <a:gd name="T18" fmla="*/ 543 w 3403"/>
              <a:gd name="T19" fmla="*/ 298 h 3230"/>
              <a:gd name="T20" fmla="*/ 88 w 3403"/>
              <a:gd name="T21" fmla="*/ 259 h 3230"/>
              <a:gd name="T22" fmla="*/ 17 w 3403"/>
              <a:gd name="T23" fmla="*/ 392 h 3230"/>
              <a:gd name="T24" fmla="*/ 1455 w 3403"/>
              <a:gd name="T25" fmla="*/ 1190 h 3230"/>
              <a:gd name="T26" fmla="*/ 675 w 3403"/>
              <a:gd name="T27" fmla="*/ 2064 h 3230"/>
              <a:gd name="T28" fmla="*/ 343 w 3403"/>
              <a:gd name="T29" fmla="*/ 2106 h 3230"/>
              <a:gd name="T30" fmla="*/ 16 w 3403"/>
              <a:gd name="T31" fmla="*/ 2229 h 3230"/>
              <a:gd name="T32" fmla="*/ 450 w 3403"/>
              <a:gd name="T33" fmla="*/ 2556 h 3230"/>
              <a:gd name="T34" fmla="*/ 751 w 3403"/>
              <a:gd name="T35" fmla="*/ 3027 h 3230"/>
              <a:gd name="T36" fmla="*/ 887 w 3403"/>
              <a:gd name="T37" fmla="*/ 2925 h 3230"/>
              <a:gd name="T38" fmla="*/ 886 w 3403"/>
              <a:gd name="T39" fmla="*/ 2682 h 3230"/>
              <a:gd name="T40" fmla="*/ 1876 w 3403"/>
              <a:gd name="T41" fmla="*/ 1694 h 3230"/>
              <a:gd name="T42" fmla="*/ 2620 w 3403"/>
              <a:gd name="T43" fmla="*/ 3058 h 3230"/>
              <a:gd name="T44" fmla="*/ 2792 w 3403"/>
              <a:gd name="T45" fmla="*/ 2914 h 3230"/>
              <a:gd name="T46" fmla="*/ 2878 w 3403"/>
              <a:gd name="T47" fmla="*/ 2564 h 3230"/>
              <a:gd name="T48" fmla="*/ 3139 w 3403"/>
              <a:gd name="T49" fmla="*/ 2303 h 3230"/>
              <a:gd name="T50" fmla="*/ 2860 w 3403"/>
              <a:gd name="T51" fmla="*/ 2224 h 3230"/>
              <a:gd name="T52" fmla="*/ 2724 w 3403"/>
              <a:gd name="T53" fmla="*/ 1988 h 3230"/>
              <a:gd name="T54" fmla="*/ 2885 w 3403"/>
              <a:gd name="T55" fmla="*/ 1735 h 3230"/>
              <a:gd name="T56" fmla="*/ 3078 w 3403"/>
              <a:gd name="T57" fmla="*/ 1530 h 3230"/>
              <a:gd name="T58" fmla="*/ 2732 w 3403"/>
              <a:gd name="T59" fmla="*/ 1409 h 3230"/>
              <a:gd name="T60" fmla="*/ 2572 w 3403"/>
              <a:gd name="T61" fmla="*/ 1228 h 3230"/>
              <a:gd name="T62" fmla="*/ 3241 w 3403"/>
              <a:gd name="T63" fmla="*/ 456 h 3230"/>
              <a:gd name="T64" fmla="*/ 3399 w 3403"/>
              <a:gd name="T65" fmla="*/ 191 h 3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03" h="3230">
                <a:moveTo>
                  <a:pt x="3231" y="22"/>
                </a:moveTo>
                <a:cubicBezTo>
                  <a:pt x="3165" y="21"/>
                  <a:pt x="3087" y="36"/>
                  <a:pt x="3025" y="97"/>
                </a:cubicBezTo>
                <a:lnTo>
                  <a:pt x="2361" y="659"/>
                </a:lnTo>
                <a:cubicBezTo>
                  <a:pt x="2300" y="711"/>
                  <a:pt x="2190" y="729"/>
                  <a:pt x="2115" y="701"/>
                </a:cubicBezTo>
                <a:lnTo>
                  <a:pt x="1956" y="639"/>
                </a:lnTo>
                <a:cubicBezTo>
                  <a:pt x="1882" y="611"/>
                  <a:pt x="1858" y="534"/>
                  <a:pt x="1903" y="468"/>
                </a:cubicBezTo>
                <a:lnTo>
                  <a:pt x="2015" y="303"/>
                </a:lnTo>
                <a:cubicBezTo>
                  <a:pt x="2037" y="272"/>
                  <a:pt x="2028" y="249"/>
                  <a:pt x="2010" y="232"/>
                </a:cubicBezTo>
                <a:cubicBezTo>
                  <a:pt x="1979" y="201"/>
                  <a:pt x="1893" y="177"/>
                  <a:pt x="1841" y="199"/>
                </a:cubicBezTo>
                <a:cubicBezTo>
                  <a:pt x="1793" y="220"/>
                  <a:pt x="1758" y="258"/>
                  <a:pt x="1758" y="258"/>
                </a:cubicBezTo>
                <a:lnTo>
                  <a:pt x="1643" y="383"/>
                </a:lnTo>
                <a:cubicBezTo>
                  <a:pt x="1588" y="442"/>
                  <a:pt x="1481" y="478"/>
                  <a:pt x="1402" y="463"/>
                </a:cubicBezTo>
                <a:lnTo>
                  <a:pt x="1131" y="413"/>
                </a:lnTo>
                <a:cubicBezTo>
                  <a:pt x="1052" y="398"/>
                  <a:pt x="1023" y="339"/>
                  <a:pt x="1066" y="281"/>
                </a:cubicBezTo>
                <a:lnTo>
                  <a:pt x="1143" y="177"/>
                </a:lnTo>
                <a:cubicBezTo>
                  <a:pt x="1170" y="141"/>
                  <a:pt x="1177" y="112"/>
                  <a:pt x="1174" y="88"/>
                </a:cubicBezTo>
                <a:cubicBezTo>
                  <a:pt x="1167" y="35"/>
                  <a:pt x="1068" y="0"/>
                  <a:pt x="1008" y="15"/>
                </a:cubicBezTo>
                <a:cubicBezTo>
                  <a:pt x="947" y="30"/>
                  <a:pt x="860" y="106"/>
                  <a:pt x="808" y="166"/>
                </a:cubicBezTo>
                <a:lnTo>
                  <a:pt x="783" y="194"/>
                </a:lnTo>
                <a:cubicBezTo>
                  <a:pt x="731" y="254"/>
                  <a:pt x="623" y="300"/>
                  <a:pt x="543" y="298"/>
                </a:cubicBezTo>
                <a:lnTo>
                  <a:pt x="315" y="289"/>
                </a:lnTo>
                <a:cubicBezTo>
                  <a:pt x="235" y="286"/>
                  <a:pt x="136" y="255"/>
                  <a:pt x="88" y="259"/>
                </a:cubicBezTo>
                <a:cubicBezTo>
                  <a:pt x="63" y="261"/>
                  <a:pt x="39" y="274"/>
                  <a:pt x="22" y="310"/>
                </a:cubicBezTo>
                <a:cubicBezTo>
                  <a:pt x="22" y="310"/>
                  <a:pt x="6" y="352"/>
                  <a:pt x="17" y="392"/>
                </a:cubicBezTo>
                <a:cubicBezTo>
                  <a:pt x="30" y="436"/>
                  <a:pt x="128" y="482"/>
                  <a:pt x="198" y="521"/>
                </a:cubicBezTo>
                <a:cubicBezTo>
                  <a:pt x="508" y="689"/>
                  <a:pt x="1174" y="1042"/>
                  <a:pt x="1455" y="1190"/>
                </a:cubicBezTo>
                <a:cubicBezTo>
                  <a:pt x="1525" y="1227"/>
                  <a:pt x="1534" y="1301"/>
                  <a:pt x="1474" y="1354"/>
                </a:cubicBezTo>
                <a:lnTo>
                  <a:pt x="675" y="2064"/>
                </a:lnTo>
                <a:cubicBezTo>
                  <a:pt x="615" y="2117"/>
                  <a:pt x="503" y="2145"/>
                  <a:pt x="426" y="2126"/>
                </a:cubicBezTo>
                <a:lnTo>
                  <a:pt x="343" y="2106"/>
                </a:lnTo>
                <a:cubicBezTo>
                  <a:pt x="265" y="2087"/>
                  <a:pt x="171" y="2068"/>
                  <a:pt x="138" y="2084"/>
                </a:cubicBezTo>
                <a:cubicBezTo>
                  <a:pt x="106" y="2100"/>
                  <a:pt x="33" y="2160"/>
                  <a:pt x="16" y="2229"/>
                </a:cubicBezTo>
                <a:cubicBezTo>
                  <a:pt x="0" y="2297"/>
                  <a:pt x="113" y="2381"/>
                  <a:pt x="187" y="2411"/>
                </a:cubicBezTo>
                <a:cubicBezTo>
                  <a:pt x="276" y="2448"/>
                  <a:pt x="384" y="2486"/>
                  <a:pt x="450" y="2556"/>
                </a:cubicBezTo>
                <a:cubicBezTo>
                  <a:pt x="534" y="2647"/>
                  <a:pt x="587" y="2760"/>
                  <a:pt x="619" y="2847"/>
                </a:cubicBezTo>
                <a:cubicBezTo>
                  <a:pt x="647" y="2922"/>
                  <a:pt x="693" y="3036"/>
                  <a:pt x="751" y="3027"/>
                </a:cubicBezTo>
                <a:cubicBezTo>
                  <a:pt x="800" y="3019"/>
                  <a:pt x="841" y="2975"/>
                  <a:pt x="841" y="2975"/>
                </a:cubicBezTo>
                <a:cubicBezTo>
                  <a:pt x="841" y="2975"/>
                  <a:pt x="861" y="2953"/>
                  <a:pt x="887" y="2925"/>
                </a:cubicBezTo>
                <a:cubicBezTo>
                  <a:pt x="912" y="2897"/>
                  <a:pt x="917" y="2812"/>
                  <a:pt x="898" y="2734"/>
                </a:cubicBezTo>
                <a:lnTo>
                  <a:pt x="886" y="2682"/>
                </a:lnTo>
                <a:cubicBezTo>
                  <a:pt x="867" y="2604"/>
                  <a:pt x="902" y="2500"/>
                  <a:pt x="963" y="2449"/>
                </a:cubicBezTo>
                <a:lnTo>
                  <a:pt x="1876" y="1694"/>
                </a:lnTo>
                <a:cubicBezTo>
                  <a:pt x="1938" y="1643"/>
                  <a:pt x="2014" y="1661"/>
                  <a:pt x="2046" y="1735"/>
                </a:cubicBezTo>
                <a:lnTo>
                  <a:pt x="2620" y="3058"/>
                </a:lnTo>
                <a:cubicBezTo>
                  <a:pt x="2652" y="3131"/>
                  <a:pt x="2767" y="3230"/>
                  <a:pt x="2792" y="3154"/>
                </a:cubicBezTo>
                <a:cubicBezTo>
                  <a:pt x="2806" y="3111"/>
                  <a:pt x="2810" y="3037"/>
                  <a:pt x="2792" y="2914"/>
                </a:cubicBezTo>
                <a:cubicBezTo>
                  <a:pt x="2792" y="2914"/>
                  <a:pt x="2786" y="2856"/>
                  <a:pt x="2779" y="2784"/>
                </a:cubicBezTo>
                <a:cubicBezTo>
                  <a:pt x="2771" y="2713"/>
                  <a:pt x="2815" y="2614"/>
                  <a:pt x="2878" y="2564"/>
                </a:cubicBezTo>
                <a:lnTo>
                  <a:pt x="3064" y="2414"/>
                </a:lnTo>
                <a:cubicBezTo>
                  <a:pt x="3064" y="2414"/>
                  <a:pt x="3118" y="2373"/>
                  <a:pt x="3139" y="2303"/>
                </a:cubicBezTo>
                <a:cubicBezTo>
                  <a:pt x="3160" y="2230"/>
                  <a:pt x="3103" y="2133"/>
                  <a:pt x="3056" y="2140"/>
                </a:cubicBezTo>
                <a:cubicBezTo>
                  <a:pt x="3009" y="2147"/>
                  <a:pt x="2924" y="2194"/>
                  <a:pt x="2860" y="2224"/>
                </a:cubicBezTo>
                <a:cubicBezTo>
                  <a:pt x="2796" y="2253"/>
                  <a:pt x="2739" y="2213"/>
                  <a:pt x="2734" y="2133"/>
                </a:cubicBezTo>
                <a:lnTo>
                  <a:pt x="2724" y="1988"/>
                </a:lnTo>
                <a:cubicBezTo>
                  <a:pt x="2719" y="1908"/>
                  <a:pt x="2769" y="1808"/>
                  <a:pt x="2837" y="1765"/>
                </a:cubicBezTo>
                <a:lnTo>
                  <a:pt x="2885" y="1735"/>
                </a:lnTo>
                <a:cubicBezTo>
                  <a:pt x="2953" y="1692"/>
                  <a:pt x="3053" y="1607"/>
                  <a:pt x="3078" y="1531"/>
                </a:cubicBezTo>
                <a:cubicBezTo>
                  <a:pt x="3078" y="1531"/>
                  <a:pt x="3078" y="1531"/>
                  <a:pt x="3078" y="1530"/>
                </a:cubicBezTo>
                <a:cubicBezTo>
                  <a:pt x="3103" y="1454"/>
                  <a:pt x="3027" y="1359"/>
                  <a:pt x="2970" y="1355"/>
                </a:cubicBezTo>
                <a:cubicBezTo>
                  <a:pt x="2914" y="1351"/>
                  <a:pt x="2809" y="1389"/>
                  <a:pt x="2732" y="1409"/>
                </a:cubicBezTo>
                <a:cubicBezTo>
                  <a:pt x="2656" y="1429"/>
                  <a:pt x="2587" y="1381"/>
                  <a:pt x="2579" y="1301"/>
                </a:cubicBezTo>
                <a:lnTo>
                  <a:pt x="2572" y="1228"/>
                </a:lnTo>
                <a:cubicBezTo>
                  <a:pt x="2564" y="1148"/>
                  <a:pt x="2605" y="1040"/>
                  <a:pt x="2664" y="985"/>
                </a:cubicBezTo>
                <a:lnTo>
                  <a:pt x="3241" y="456"/>
                </a:lnTo>
                <a:cubicBezTo>
                  <a:pt x="3300" y="402"/>
                  <a:pt x="3385" y="301"/>
                  <a:pt x="3396" y="222"/>
                </a:cubicBezTo>
                <a:cubicBezTo>
                  <a:pt x="3398" y="212"/>
                  <a:pt x="3399" y="202"/>
                  <a:pt x="3399" y="191"/>
                </a:cubicBezTo>
                <a:cubicBezTo>
                  <a:pt x="3403" y="111"/>
                  <a:pt x="3311" y="24"/>
                  <a:pt x="3231" y="2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1049E88D-003A-4BD9-9595-C9EE953F64B6}"/>
              </a:ext>
            </a:extLst>
          </p:cNvPr>
          <p:cNvSpPr/>
          <p:nvPr/>
        </p:nvSpPr>
        <p:spPr bwMode="auto">
          <a:xfrm>
            <a:off x="8310385" y="4880799"/>
            <a:ext cx="3210103" cy="585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50006C7D-7016-4579-9FB8-3A385796680C}"/>
              </a:ext>
            </a:extLst>
          </p:cNvPr>
          <p:cNvSpPr txBox="1"/>
          <p:nvPr/>
        </p:nvSpPr>
        <p:spPr bwMode="auto">
          <a:xfrm>
            <a:off x="8310385" y="4394420"/>
            <a:ext cx="3210103" cy="486378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50" name="直接连接符 49">
            <a:extLst>
              <a:ext uri="{FF2B5EF4-FFF2-40B4-BE49-F238E27FC236}">
                <a16:creationId xmlns:a16="http://schemas.microsoft.com/office/drawing/2014/main" id="{BDBC18E5-2745-4FDB-8257-03D9F9200A2B}"/>
              </a:ext>
            </a:extLst>
          </p:cNvPr>
          <p:cNvCxnSpPr/>
          <p:nvPr/>
        </p:nvCxnSpPr>
        <p:spPr>
          <a:xfrm>
            <a:off x="8310385" y="4880798"/>
            <a:ext cx="321010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F198D150-F647-487F-AB45-41A3BD652B9F}"/>
              </a:ext>
            </a:extLst>
          </p:cNvPr>
          <p:cNvSpPr/>
          <p:nvPr/>
        </p:nvSpPr>
        <p:spPr bwMode="auto">
          <a:xfrm>
            <a:off x="8298514" y="4537231"/>
            <a:ext cx="304842" cy="288904"/>
          </a:xfrm>
          <a:custGeom>
            <a:avLst/>
            <a:gdLst>
              <a:gd name="T0" fmla="*/ 3025 w 3403"/>
              <a:gd name="T1" fmla="*/ 97 h 3230"/>
              <a:gd name="T2" fmla="*/ 2115 w 3403"/>
              <a:gd name="T3" fmla="*/ 701 h 3230"/>
              <a:gd name="T4" fmla="*/ 1903 w 3403"/>
              <a:gd name="T5" fmla="*/ 468 h 3230"/>
              <a:gd name="T6" fmla="*/ 2010 w 3403"/>
              <a:gd name="T7" fmla="*/ 232 h 3230"/>
              <a:gd name="T8" fmla="*/ 1758 w 3403"/>
              <a:gd name="T9" fmla="*/ 258 h 3230"/>
              <a:gd name="T10" fmla="*/ 1402 w 3403"/>
              <a:gd name="T11" fmla="*/ 463 h 3230"/>
              <a:gd name="T12" fmla="*/ 1066 w 3403"/>
              <a:gd name="T13" fmla="*/ 281 h 3230"/>
              <a:gd name="T14" fmla="*/ 1174 w 3403"/>
              <a:gd name="T15" fmla="*/ 88 h 3230"/>
              <a:gd name="T16" fmla="*/ 808 w 3403"/>
              <a:gd name="T17" fmla="*/ 166 h 3230"/>
              <a:gd name="T18" fmla="*/ 543 w 3403"/>
              <a:gd name="T19" fmla="*/ 298 h 3230"/>
              <a:gd name="T20" fmla="*/ 88 w 3403"/>
              <a:gd name="T21" fmla="*/ 259 h 3230"/>
              <a:gd name="T22" fmla="*/ 17 w 3403"/>
              <a:gd name="T23" fmla="*/ 392 h 3230"/>
              <a:gd name="T24" fmla="*/ 1455 w 3403"/>
              <a:gd name="T25" fmla="*/ 1190 h 3230"/>
              <a:gd name="T26" fmla="*/ 675 w 3403"/>
              <a:gd name="T27" fmla="*/ 2064 h 3230"/>
              <a:gd name="T28" fmla="*/ 343 w 3403"/>
              <a:gd name="T29" fmla="*/ 2106 h 3230"/>
              <a:gd name="T30" fmla="*/ 16 w 3403"/>
              <a:gd name="T31" fmla="*/ 2229 h 3230"/>
              <a:gd name="T32" fmla="*/ 450 w 3403"/>
              <a:gd name="T33" fmla="*/ 2556 h 3230"/>
              <a:gd name="T34" fmla="*/ 751 w 3403"/>
              <a:gd name="T35" fmla="*/ 3027 h 3230"/>
              <a:gd name="T36" fmla="*/ 887 w 3403"/>
              <a:gd name="T37" fmla="*/ 2925 h 3230"/>
              <a:gd name="T38" fmla="*/ 886 w 3403"/>
              <a:gd name="T39" fmla="*/ 2682 h 3230"/>
              <a:gd name="T40" fmla="*/ 1876 w 3403"/>
              <a:gd name="T41" fmla="*/ 1694 h 3230"/>
              <a:gd name="T42" fmla="*/ 2620 w 3403"/>
              <a:gd name="T43" fmla="*/ 3058 h 3230"/>
              <a:gd name="T44" fmla="*/ 2792 w 3403"/>
              <a:gd name="T45" fmla="*/ 2914 h 3230"/>
              <a:gd name="T46" fmla="*/ 2878 w 3403"/>
              <a:gd name="T47" fmla="*/ 2564 h 3230"/>
              <a:gd name="T48" fmla="*/ 3139 w 3403"/>
              <a:gd name="T49" fmla="*/ 2303 h 3230"/>
              <a:gd name="T50" fmla="*/ 2860 w 3403"/>
              <a:gd name="T51" fmla="*/ 2224 h 3230"/>
              <a:gd name="T52" fmla="*/ 2724 w 3403"/>
              <a:gd name="T53" fmla="*/ 1988 h 3230"/>
              <a:gd name="T54" fmla="*/ 2885 w 3403"/>
              <a:gd name="T55" fmla="*/ 1735 h 3230"/>
              <a:gd name="T56" fmla="*/ 3078 w 3403"/>
              <a:gd name="T57" fmla="*/ 1530 h 3230"/>
              <a:gd name="T58" fmla="*/ 2732 w 3403"/>
              <a:gd name="T59" fmla="*/ 1409 h 3230"/>
              <a:gd name="T60" fmla="*/ 2572 w 3403"/>
              <a:gd name="T61" fmla="*/ 1228 h 3230"/>
              <a:gd name="T62" fmla="*/ 3241 w 3403"/>
              <a:gd name="T63" fmla="*/ 456 h 3230"/>
              <a:gd name="T64" fmla="*/ 3399 w 3403"/>
              <a:gd name="T65" fmla="*/ 191 h 32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3403" h="3230">
                <a:moveTo>
                  <a:pt x="3231" y="22"/>
                </a:moveTo>
                <a:cubicBezTo>
                  <a:pt x="3165" y="21"/>
                  <a:pt x="3087" y="36"/>
                  <a:pt x="3025" y="97"/>
                </a:cubicBezTo>
                <a:lnTo>
                  <a:pt x="2361" y="659"/>
                </a:lnTo>
                <a:cubicBezTo>
                  <a:pt x="2300" y="711"/>
                  <a:pt x="2190" y="729"/>
                  <a:pt x="2115" y="701"/>
                </a:cubicBezTo>
                <a:lnTo>
                  <a:pt x="1956" y="639"/>
                </a:lnTo>
                <a:cubicBezTo>
                  <a:pt x="1882" y="611"/>
                  <a:pt x="1858" y="534"/>
                  <a:pt x="1903" y="468"/>
                </a:cubicBezTo>
                <a:lnTo>
                  <a:pt x="2015" y="303"/>
                </a:lnTo>
                <a:cubicBezTo>
                  <a:pt x="2037" y="272"/>
                  <a:pt x="2028" y="249"/>
                  <a:pt x="2010" y="232"/>
                </a:cubicBezTo>
                <a:cubicBezTo>
                  <a:pt x="1979" y="201"/>
                  <a:pt x="1893" y="177"/>
                  <a:pt x="1841" y="199"/>
                </a:cubicBezTo>
                <a:cubicBezTo>
                  <a:pt x="1793" y="220"/>
                  <a:pt x="1758" y="258"/>
                  <a:pt x="1758" y="258"/>
                </a:cubicBezTo>
                <a:lnTo>
                  <a:pt x="1643" y="383"/>
                </a:lnTo>
                <a:cubicBezTo>
                  <a:pt x="1588" y="442"/>
                  <a:pt x="1481" y="478"/>
                  <a:pt x="1402" y="463"/>
                </a:cubicBezTo>
                <a:lnTo>
                  <a:pt x="1131" y="413"/>
                </a:lnTo>
                <a:cubicBezTo>
                  <a:pt x="1052" y="398"/>
                  <a:pt x="1023" y="339"/>
                  <a:pt x="1066" y="281"/>
                </a:cubicBezTo>
                <a:lnTo>
                  <a:pt x="1143" y="177"/>
                </a:lnTo>
                <a:cubicBezTo>
                  <a:pt x="1170" y="141"/>
                  <a:pt x="1177" y="112"/>
                  <a:pt x="1174" y="88"/>
                </a:cubicBezTo>
                <a:cubicBezTo>
                  <a:pt x="1167" y="35"/>
                  <a:pt x="1068" y="0"/>
                  <a:pt x="1008" y="15"/>
                </a:cubicBezTo>
                <a:cubicBezTo>
                  <a:pt x="947" y="30"/>
                  <a:pt x="860" y="106"/>
                  <a:pt x="808" y="166"/>
                </a:cubicBezTo>
                <a:lnTo>
                  <a:pt x="783" y="194"/>
                </a:lnTo>
                <a:cubicBezTo>
                  <a:pt x="731" y="254"/>
                  <a:pt x="623" y="300"/>
                  <a:pt x="543" y="298"/>
                </a:cubicBezTo>
                <a:lnTo>
                  <a:pt x="315" y="289"/>
                </a:lnTo>
                <a:cubicBezTo>
                  <a:pt x="235" y="286"/>
                  <a:pt x="136" y="255"/>
                  <a:pt x="88" y="259"/>
                </a:cubicBezTo>
                <a:cubicBezTo>
                  <a:pt x="63" y="261"/>
                  <a:pt x="39" y="274"/>
                  <a:pt x="22" y="310"/>
                </a:cubicBezTo>
                <a:cubicBezTo>
                  <a:pt x="22" y="310"/>
                  <a:pt x="6" y="352"/>
                  <a:pt x="17" y="392"/>
                </a:cubicBezTo>
                <a:cubicBezTo>
                  <a:pt x="30" y="436"/>
                  <a:pt x="128" y="482"/>
                  <a:pt x="198" y="521"/>
                </a:cubicBezTo>
                <a:cubicBezTo>
                  <a:pt x="508" y="689"/>
                  <a:pt x="1174" y="1042"/>
                  <a:pt x="1455" y="1190"/>
                </a:cubicBezTo>
                <a:cubicBezTo>
                  <a:pt x="1525" y="1227"/>
                  <a:pt x="1534" y="1301"/>
                  <a:pt x="1474" y="1354"/>
                </a:cubicBezTo>
                <a:lnTo>
                  <a:pt x="675" y="2064"/>
                </a:lnTo>
                <a:cubicBezTo>
                  <a:pt x="615" y="2117"/>
                  <a:pt x="503" y="2145"/>
                  <a:pt x="426" y="2126"/>
                </a:cubicBezTo>
                <a:lnTo>
                  <a:pt x="343" y="2106"/>
                </a:lnTo>
                <a:cubicBezTo>
                  <a:pt x="265" y="2087"/>
                  <a:pt x="171" y="2068"/>
                  <a:pt x="138" y="2084"/>
                </a:cubicBezTo>
                <a:cubicBezTo>
                  <a:pt x="106" y="2100"/>
                  <a:pt x="33" y="2160"/>
                  <a:pt x="16" y="2229"/>
                </a:cubicBezTo>
                <a:cubicBezTo>
                  <a:pt x="0" y="2297"/>
                  <a:pt x="113" y="2381"/>
                  <a:pt x="187" y="2411"/>
                </a:cubicBezTo>
                <a:cubicBezTo>
                  <a:pt x="276" y="2448"/>
                  <a:pt x="384" y="2486"/>
                  <a:pt x="450" y="2556"/>
                </a:cubicBezTo>
                <a:cubicBezTo>
                  <a:pt x="534" y="2647"/>
                  <a:pt x="587" y="2760"/>
                  <a:pt x="619" y="2847"/>
                </a:cubicBezTo>
                <a:cubicBezTo>
                  <a:pt x="647" y="2922"/>
                  <a:pt x="693" y="3036"/>
                  <a:pt x="751" y="3027"/>
                </a:cubicBezTo>
                <a:cubicBezTo>
                  <a:pt x="800" y="3019"/>
                  <a:pt x="841" y="2975"/>
                  <a:pt x="841" y="2975"/>
                </a:cubicBezTo>
                <a:cubicBezTo>
                  <a:pt x="841" y="2975"/>
                  <a:pt x="861" y="2953"/>
                  <a:pt x="887" y="2925"/>
                </a:cubicBezTo>
                <a:cubicBezTo>
                  <a:pt x="912" y="2897"/>
                  <a:pt x="917" y="2812"/>
                  <a:pt x="898" y="2734"/>
                </a:cubicBezTo>
                <a:lnTo>
                  <a:pt x="886" y="2682"/>
                </a:lnTo>
                <a:cubicBezTo>
                  <a:pt x="867" y="2604"/>
                  <a:pt x="902" y="2500"/>
                  <a:pt x="963" y="2449"/>
                </a:cubicBezTo>
                <a:lnTo>
                  <a:pt x="1876" y="1694"/>
                </a:lnTo>
                <a:cubicBezTo>
                  <a:pt x="1938" y="1643"/>
                  <a:pt x="2014" y="1661"/>
                  <a:pt x="2046" y="1735"/>
                </a:cubicBezTo>
                <a:lnTo>
                  <a:pt x="2620" y="3058"/>
                </a:lnTo>
                <a:cubicBezTo>
                  <a:pt x="2652" y="3131"/>
                  <a:pt x="2767" y="3230"/>
                  <a:pt x="2792" y="3154"/>
                </a:cubicBezTo>
                <a:cubicBezTo>
                  <a:pt x="2806" y="3111"/>
                  <a:pt x="2810" y="3037"/>
                  <a:pt x="2792" y="2914"/>
                </a:cubicBezTo>
                <a:cubicBezTo>
                  <a:pt x="2792" y="2914"/>
                  <a:pt x="2786" y="2856"/>
                  <a:pt x="2779" y="2784"/>
                </a:cubicBezTo>
                <a:cubicBezTo>
                  <a:pt x="2771" y="2713"/>
                  <a:pt x="2815" y="2614"/>
                  <a:pt x="2878" y="2564"/>
                </a:cubicBezTo>
                <a:lnTo>
                  <a:pt x="3064" y="2414"/>
                </a:lnTo>
                <a:cubicBezTo>
                  <a:pt x="3064" y="2414"/>
                  <a:pt x="3118" y="2373"/>
                  <a:pt x="3139" y="2303"/>
                </a:cubicBezTo>
                <a:cubicBezTo>
                  <a:pt x="3160" y="2230"/>
                  <a:pt x="3103" y="2133"/>
                  <a:pt x="3056" y="2140"/>
                </a:cubicBezTo>
                <a:cubicBezTo>
                  <a:pt x="3009" y="2147"/>
                  <a:pt x="2924" y="2194"/>
                  <a:pt x="2860" y="2224"/>
                </a:cubicBezTo>
                <a:cubicBezTo>
                  <a:pt x="2796" y="2253"/>
                  <a:pt x="2739" y="2213"/>
                  <a:pt x="2734" y="2133"/>
                </a:cubicBezTo>
                <a:lnTo>
                  <a:pt x="2724" y="1988"/>
                </a:lnTo>
                <a:cubicBezTo>
                  <a:pt x="2719" y="1908"/>
                  <a:pt x="2769" y="1808"/>
                  <a:pt x="2837" y="1765"/>
                </a:cubicBezTo>
                <a:lnTo>
                  <a:pt x="2885" y="1735"/>
                </a:lnTo>
                <a:cubicBezTo>
                  <a:pt x="2953" y="1692"/>
                  <a:pt x="3053" y="1607"/>
                  <a:pt x="3078" y="1531"/>
                </a:cubicBezTo>
                <a:cubicBezTo>
                  <a:pt x="3078" y="1531"/>
                  <a:pt x="3078" y="1531"/>
                  <a:pt x="3078" y="1530"/>
                </a:cubicBezTo>
                <a:cubicBezTo>
                  <a:pt x="3103" y="1454"/>
                  <a:pt x="3027" y="1359"/>
                  <a:pt x="2970" y="1355"/>
                </a:cubicBezTo>
                <a:cubicBezTo>
                  <a:pt x="2914" y="1351"/>
                  <a:pt x="2809" y="1389"/>
                  <a:pt x="2732" y="1409"/>
                </a:cubicBezTo>
                <a:cubicBezTo>
                  <a:pt x="2656" y="1429"/>
                  <a:pt x="2587" y="1381"/>
                  <a:pt x="2579" y="1301"/>
                </a:cubicBezTo>
                <a:lnTo>
                  <a:pt x="2572" y="1228"/>
                </a:lnTo>
                <a:cubicBezTo>
                  <a:pt x="2564" y="1148"/>
                  <a:pt x="2605" y="1040"/>
                  <a:pt x="2664" y="985"/>
                </a:cubicBezTo>
                <a:lnTo>
                  <a:pt x="3241" y="456"/>
                </a:lnTo>
                <a:cubicBezTo>
                  <a:pt x="3300" y="402"/>
                  <a:pt x="3385" y="301"/>
                  <a:pt x="3396" y="222"/>
                </a:cubicBezTo>
                <a:cubicBezTo>
                  <a:pt x="3398" y="212"/>
                  <a:pt x="3399" y="202"/>
                  <a:pt x="3399" y="191"/>
                </a:cubicBezTo>
                <a:cubicBezTo>
                  <a:pt x="3403" y="111"/>
                  <a:pt x="3311" y="24"/>
                  <a:pt x="3231" y="2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1956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00" name="直接连接符 99">
            <a:extLst>
              <a:ext uri="{FF2B5EF4-FFF2-40B4-BE49-F238E27FC236}">
                <a16:creationId xmlns:a16="http://schemas.microsoft.com/office/drawing/2014/main" id="{8B9F0158-0E36-4778-96C2-9682746F5112}"/>
              </a:ext>
            </a:extLst>
          </p:cNvPr>
          <p:cNvCxnSpPr>
            <a:stCxn id="107" idx="2"/>
          </p:cNvCxnSpPr>
          <p:nvPr/>
        </p:nvCxnSpPr>
        <p:spPr>
          <a:xfrm>
            <a:off x="1295658" y="4817523"/>
            <a:ext cx="1022319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EBA3EC4A-DB2E-44F4-AE2D-9110E7C6E94A}"/>
              </a:ext>
            </a:extLst>
          </p:cNvPr>
          <p:cNvGrpSpPr/>
          <p:nvPr/>
        </p:nvGrpSpPr>
        <p:grpSpPr>
          <a:xfrm>
            <a:off x="1918170" y="3379126"/>
            <a:ext cx="9602318" cy="958544"/>
            <a:chOff x="1918170" y="2026576"/>
            <a:chExt cx="9602318" cy="958544"/>
          </a:xfrm>
        </p:grpSpPr>
        <p:cxnSp>
          <p:nvCxnSpPr>
            <p:cNvPr id="173" name="直接连接符 172">
              <a:extLst>
                <a:ext uri="{FF2B5EF4-FFF2-40B4-BE49-F238E27FC236}">
                  <a16:creationId xmlns:a16="http://schemas.microsoft.com/office/drawing/2014/main" id="{FD5305EF-11AE-453E-9483-EB0DC81D14CD}"/>
                </a:ext>
              </a:extLst>
            </p:cNvPr>
            <p:cNvCxnSpPr/>
            <p:nvPr/>
          </p:nvCxnSpPr>
          <p:spPr>
            <a:xfrm>
              <a:off x="1918170" y="2026576"/>
              <a:ext cx="960068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直接连接符 173">
              <a:extLst>
                <a:ext uri="{FF2B5EF4-FFF2-40B4-BE49-F238E27FC236}">
                  <a16:creationId xmlns:a16="http://schemas.microsoft.com/office/drawing/2014/main" id="{F35425E2-A61B-406B-B503-B3AEDD3570EE}"/>
                </a:ext>
              </a:extLst>
            </p:cNvPr>
            <p:cNvCxnSpPr/>
            <p:nvPr/>
          </p:nvCxnSpPr>
          <p:spPr>
            <a:xfrm>
              <a:off x="1918170" y="2505267"/>
              <a:ext cx="960231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5" name="直接连接符 174">
              <a:extLst>
                <a:ext uri="{FF2B5EF4-FFF2-40B4-BE49-F238E27FC236}">
                  <a16:creationId xmlns:a16="http://schemas.microsoft.com/office/drawing/2014/main" id="{6526E0C0-CFE1-4220-B182-492E74E150DA}"/>
                </a:ext>
              </a:extLst>
            </p:cNvPr>
            <p:cNvCxnSpPr/>
            <p:nvPr/>
          </p:nvCxnSpPr>
          <p:spPr>
            <a:xfrm>
              <a:off x="1918170" y="2985120"/>
              <a:ext cx="960068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" name="组合 101">
            <a:extLst>
              <a:ext uri="{FF2B5EF4-FFF2-40B4-BE49-F238E27FC236}">
                <a16:creationId xmlns:a16="http://schemas.microsoft.com/office/drawing/2014/main" id="{6C6787D4-AE19-4926-B503-26D89C7F0619}"/>
              </a:ext>
            </a:extLst>
          </p:cNvPr>
          <p:cNvGrpSpPr/>
          <p:nvPr/>
        </p:nvGrpSpPr>
        <p:grpSpPr>
          <a:xfrm>
            <a:off x="2227829" y="2692452"/>
            <a:ext cx="9292659" cy="2125071"/>
            <a:chOff x="2227829" y="1339902"/>
            <a:chExt cx="9292659" cy="2125071"/>
          </a:xfrm>
        </p:grpSpPr>
        <p:cxnSp>
          <p:nvCxnSpPr>
            <p:cNvPr id="142" name="直接连接符 141">
              <a:extLst>
                <a:ext uri="{FF2B5EF4-FFF2-40B4-BE49-F238E27FC236}">
                  <a16:creationId xmlns:a16="http://schemas.microsoft.com/office/drawing/2014/main" id="{810F5EB1-841D-4FD5-8710-7EB802365519}"/>
                </a:ext>
              </a:extLst>
            </p:cNvPr>
            <p:cNvCxnSpPr>
              <a:stCxn id="130" idx="3"/>
            </p:cNvCxnSpPr>
            <p:nvPr/>
          </p:nvCxnSpPr>
          <p:spPr>
            <a:xfrm>
              <a:off x="2227829" y="1339902"/>
              <a:ext cx="0" cy="212507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直接连接符 142">
              <a:extLst>
                <a:ext uri="{FF2B5EF4-FFF2-40B4-BE49-F238E27FC236}">
                  <a16:creationId xmlns:a16="http://schemas.microsoft.com/office/drawing/2014/main" id="{9A700963-DFB8-42E4-AE61-39670476B08B}"/>
                </a:ext>
              </a:extLst>
            </p:cNvPr>
            <p:cNvCxnSpPr>
              <a:stCxn id="129" idx="3"/>
            </p:cNvCxnSpPr>
            <p:nvPr/>
          </p:nvCxnSpPr>
          <p:spPr>
            <a:xfrm>
              <a:off x="2537488" y="1339902"/>
              <a:ext cx="0" cy="212507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直接连接符 143">
              <a:extLst>
                <a:ext uri="{FF2B5EF4-FFF2-40B4-BE49-F238E27FC236}">
                  <a16:creationId xmlns:a16="http://schemas.microsoft.com/office/drawing/2014/main" id="{BCB1E661-6DE9-4E3D-981C-C71244FCDB0E}"/>
                </a:ext>
              </a:extLst>
            </p:cNvPr>
            <p:cNvCxnSpPr>
              <a:stCxn id="128" idx="3"/>
            </p:cNvCxnSpPr>
            <p:nvPr/>
          </p:nvCxnSpPr>
          <p:spPr>
            <a:xfrm>
              <a:off x="2847147" y="1339902"/>
              <a:ext cx="0" cy="2125071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直接连接符 144">
              <a:extLst>
                <a:ext uri="{FF2B5EF4-FFF2-40B4-BE49-F238E27FC236}">
                  <a16:creationId xmlns:a16="http://schemas.microsoft.com/office/drawing/2014/main" id="{1F79393F-78D7-4B4F-83BE-9A3A962AEBD3}"/>
                </a:ext>
              </a:extLst>
            </p:cNvPr>
            <p:cNvCxnSpPr>
              <a:stCxn id="127" idx="3"/>
            </p:cNvCxnSpPr>
            <p:nvPr/>
          </p:nvCxnSpPr>
          <p:spPr>
            <a:xfrm>
              <a:off x="3156807" y="1340597"/>
              <a:ext cx="0" cy="21243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6" name="直接连接符 145">
              <a:extLst>
                <a:ext uri="{FF2B5EF4-FFF2-40B4-BE49-F238E27FC236}">
                  <a16:creationId xmlns:a16="http://schemas.microsoft.com/office/drawing/2014/main" id="{1D38302E-BB85-47B1-B268-77E46B9C9A6C}"/>
                </a:ext>
              </a:extLst>
            </p:cNvPr>
            <p:cNvCxnSpPr>
              <a:stCxn id="126" idx="3"/>
            </p:cNvCxnSpPr>
            <p:nvPr/>
          </p:nvCxnSpPr>
          <p:spPr>
            <a:xfrm>
              <a:off x="3466466" y="1340597"/>
              <a:ext cx="0" cy="21243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直接连接符 146">
              <a:extLst>
                <a:ext uri="{FF2B5EF4-FFF2-40B4-BE49-F238E27FC236}">
                  <a16:creationId xmlns:a16="http://schemas.microsoft.com/office/drawing/2014/main" id="{2588CBF9-3B67-48C3-9CFD-FE3FAAD7C9CD}"/>
                </a:ext>
              </a:extLst>
            </p:cNvPr>
            <p:cNvCxnSpPr>
              <a:stCxn id="123" idx="1"/>
            </p:cNvCxnSpPr>
            <p:nvPr/>
          </p:nvCxnSpPr>
          <p:spPr>
            <a:xfrm flipH="1">
              <a:off x="3776125" y="1340597"/>
              <a:ext cx="4" cy="21243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8" name="直接连接符 147">
              <a:extLst>
                <a:ext uri="{FF2B5EF4-FFF2-40B4-BE49-F238E27FC236}">
                  <a16:creationId xmlns:a16="http://schemas.microsoft.com/office/drawing/2014/main" id="{6E34039C-E6C6-4D09-9A15-0F6DB66DCE3E}"/>
                </a:ext>
              </a:extLst>
            </p:cNvPr>
            <p:cNvCxnSpPr>
              <a:stCxn id="123" idx="3"/>
            </p:cNvCxnSpPr>
            <p:nvPr/>
          </p:nvCxnSpPr>
          <p:spPr>
            <a:xfrm>
              <a:off x="4085787" y="1340597"/>
              <a:ext cx="1243" cy="21243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9" name="直接连接符 148">
              <a:extLst>
                <a:ext uri="{FF2B5EF4-FFF2-40B4-BE49-F238E27FC236}">
                  <a16:creationId xmlns:a16="http://schemas.microsoft.com/office/drawing/2014/main" id="{EA675789-9873-4111-98FA-5B4E2233DE6B}"/>
                </a:ext>
              </a:extLst>
            </p:cNvPr>
            <p:cNvCxnSpPr>
              <a:stCxn id="122" idx="3"/>
            </p:cNvCxnSpPr>
            <p:nvPr/>
          </p:nvCxnSpPr>
          <p:spPr>
            <a:xfrm>
              <a:off x="4395446" y="1340597"/>
              <a:ext cx="1244" cy="212437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直接连接符 149">
              <a:extLst>
                <a:ext uri="{FF2B5EF4-FFF2-40B4-BE49-F238E27FC236}">
                  <a16:creationId xmlns:a16="http://schemas.microsoft.com/office/drawing/2014/main" id="{F8BEFDC4-4E6C-4680-9434-E3648D6858F8}"/>
                </a:ext>
              </a:extLst>
            </p:cNvPr>
            <p:cNvCxnSpPr>
              <a:stCxn id="121" idx="3"/>
            </p:cNvCxnSpPr>
            <p:nvPr/>
          </p:nvCxnSpPr>
          <p:spPr>
            <a:xfrm>
              <a:off x="4705105" y="1340597"/>
              <a:ext cx="1244" cy="2124373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直接连接符 150">
              <a:extLst>
                <a:ext uri="{FF2B5EF4-FFF2-40B4-BE49-F238E27FC236}">
                  <a16:creationId xmlns:a16="http://schemas.microsoft.com/office/drawing/2014/main" id="{6C822939-66F1-4997-9830-165A8843C58F}"/>
                </a:ext>
              </a:extLst>
            </p:cNvPr>
            <p:cNvCxnSpPr>
              <a:stCxn id="120" idx="3"/>
            </p:cNvCxnSpPr>
            <p:nvPr/>
          </p:nvCxnSpPr>
          <p:spPr>
            <a:xfrm flipH="1">
              <a:off x="5009620" y="1341291"/>
              <a:ext cx="5144" cy="212367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直接连接符 151">
              <a:extLst>
                <a:ext uri="{FF2B5EF4-FFF2-40B4-BE49-F238E27FC236}">
                  <a16:creationId xmlns:a16="http://schemas.microsoft.com/office/drawing/2014/main" id="{787D5C2F-30C4-46EA-83B9-982B9DCA1F29}"/>
                </a:ext>
              </a:extLst>
            </p:cNvPr>
            <p:cNvCxnSpPr>
              <a:stCxn id="119" idx="3"/>
            </p:cNvCxnSpPr>
            <p:nvPr/>
          </p:nvCxnSpPr>
          <p:spPr>
            <a:xfrm>
              <a:off x="5324423" y="1341291"/>
              <a:ext cx="1245" cy="21236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直接连接符 152">
              <a:extLst>
                <a:ext uri="{FF2B5EF4-FFF2-40B4-BE49-F238E27FC236}">
                  <a16:creationId xmlns:a16="http://schemas.microsoft.com/office/drawing/2014/main" id="{95F2CC02-0D71-4F2F-BC5E-A22F9FAEE024}"/>
                </a:ext>
              </a:extLst>
            </p:cNvPr>
            <p:cNvCxnSpPr>
              <a:stCxn id="118" idx="3"/>
            </p:cNvCxnSpPr>
            <p:nvPr/>
          </p:nvCxnSpPr>
          <p:spPr>
            <a:xfrm>
              <a:off x="5634083" y="1341291"/>
              <a:ext cx="1244" cy="21236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直接连接符 153">
              <a:extLst>
                <a:ext uri="{FF2B5EF4-FFF2-40B4-BE49-F238E27FC236}">
                  <a16:creationId xmlns:a16="http://schemas.microsoft.com/office/drawing/2014/main" id="{83D3304F-C277-49F8-80BE-8D5EE259C241}"/>
                </a:ext>
              </a:extLst>
            </p:cNvPr>
            <p:cNvCxnSpPr>
              <a:stCxn id="117" idx="3"/>
            </p:cNvCxnSpPr>
            <p:nvPr/>
          </p:nvCxnSpPr>
          <p:spPr>
            <a:xfrm flipH="1">
              <a:off x="5938598" y="1341291"/>
              <a:ext cx="5144" cy="21236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直接连接符 154">
              <a:extLst>
                <a:ext uri="{FF2B5EF4-FFF2-40B4-BE49-F238E27FC236}">
                  <a16:creationId xmlns:a16="http://schemas.microsoft.com/office/drawing/2014/main" id="{7702E0C0-1559-4521-A13F-BD027D56FC73}"/>
                </a:ext>
              </a:extLst>
            </p:cNvPr>
            <p:cNvCxnSpPr>
              <a:stCxn id="115" idx="1"/>
            </p:cNvCxnSpPr>
            <p:nvPr/>
          </p:nvCxnSpPr>
          <p:spPr>
            <a:xfrm>
              <a:off x="6253403" y="1340597"/>
              <a:ext cx="1243" cy="212436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直接连接符 155">
              <a:extLst>
                <a:ext uri="{FF2B5EF4-FFF2-40B4-BE49-F238E27FC236}">
                  <a16:creationId xmlns:a16="http://schemas.microsoft.com/office/drawing/2014/main" id="{274F2960-3573-43BD-BB6D-EC03B533D5C4}"/>
                </a:ext>
              </a:extLst>
            </p:cNvPr>
            <p:cNvCxnSpPr>
              <a:stCxn id="115" idx="3"/>
            </p:cNvCxnSpPr>
            <p:nvPr/>
          </p:nvCxnSpPr>
          <p:spPr>
            <a:xfrm flipH="1">
              <a:off x="6561815" y="1340597"/>
              <a:ext cx="1246" cy="21236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直接连接符 156">
              <a:extLst>
                <a:ext uri="{FF2B5EF4-FFF2-40B4-BE49-F238E27FC236}">
                  <a16:creationId xmlns:a16="http://schemas.microsoft.com/office/drawing/2014/main" id="{8EFA08C0-9C96-4B0A-824F-E8C133970153}"/>
                </a:ext>
              </a:extLst>
            </p:cNvPr>
            <p:cNvCxnSpPr>
              <a:stCxn id="114" idx="3"/>
            </p:cNvCxnSpPr>
            <p:nvPr/>
          </p:nvCxnSpPr>
          <p:spPr>
            <a:xfrm flipH="1">
              <a:off x="6871473" y="1340597"/>
              <a:ext cx="1247" cy="212367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直接连接符 157">
              <a:extLst>
                <a:ext uri="{FF2B5EF4-FFF2-40B4-BE49-F238E27FC236}">
                  <a16:creationId xmlns:a16="http://schemas.microsoft.com/office/drawing/2014/main" id="{443F645A-5BC3-4D4F-85FE-16F5C2686EE6}"/>
                </a:ext>
              </a:extLst>
            </p:cNvPr>
            <p:cNvCxnSpPr>
              <a:stCxn id="113" idx="3"/>
            </p:cNvCxnSpPr>
            <p:nvPr/>
          </p:nvCxnSpPr>
          <p:spPr>
            <a:xfrm flipH="1">
              <a:off x="7181131" y="1340597"/>
              <a:ext cx="1249" cy="2123673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直接连接符 158">
              <a:extLst>
                <a:ext uri="{FF2B5EF4-FFF2-40B4-BE49-F238E27FC236}">
                  <a16:creationId xmlns:a16="http://schemas.microsoft.com/office/drawing/2014/main" id="{65E0C400-115D-4CC1-8D7B-E79E7CE261F9}"/>
                </a:ext>
              </a:extLst>
            </p:cNvPr>
            <p:cNvCxnSpPr>
              <a:stCxn id="112" idx="3"/>
            </p:cNvCxnSpPr>
            <p:nvPr/>
          </p:nvCxnSpPr>
          <p:spPr>
            <a:xfrm flipH="1">
              <a:off x="7490789" y="1341291"/>
              <a:ext cx="1250" cy="212297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直接连接符 159">
              <a:extLst>
                <a:ext uri="{FF2B5EF4-FFF2-40B4-BE49-F238E27FC236}">
                  <a16:creationId xmlns:a16="http://schemas.microsoft.com/office/drawing/2014/main" id="{7AC21C1B-6C31-4819-8DC4-20AF7CA87BB7}"/>
                </a:ext>
              </a:extLst>
            </p:cNvPr>
            <p:cNvCxnSpPr>
              <a:stCxn id="111" idx="3"/>
            </p:cNvCxnSpPr>
            <p:nvPr/>
          </p:nvCxnSpPr>
          <p:spPr>
            <a:xfrm flipH="1">
              <a:off x="7800447" y="1341291"/>
              <a:ext cx="1251" cy="21229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直接连接符 160">
              <a:extLst>
                <a:ext uri="{FF2B5EF4-FFF2-40B4-BE49-F238E27FC236}">
                  <a16:creationId xmlns:a16="http://schemas.microsoft.com/office/drawing/2014/main" id="{82EEDF23-A165-436C-9E96-F42553F86238}"/>
                </a:ext>
              </a:extLst>
            </p:cNvPr>
            <p:cNvCxnSpPr>
              <a:stCxn id="110" idx="3"/>
            </p:cNvCxnSpPr>
            <p:nvPr/>
          </p:nvCxnSpPr>
          <p:spPr>
            <a:xfrm flipH="1">
              <a:off x="8110105" y="1341291"/>
              <a:ext cx="1252" cy="21229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直接连接符 161">
              <a:extLst>
                <a:ext uri="{FF2B5EF4-FFF2-40B4-BE49-F238E27FC236}">
                  <a16:creationId xmlns:a16="http://schemas.microsoft.com/office/drawing/2014/main" id="{A38B08C6-4B7D-4426-A2ED-B56ED1875CEC}"/>
                </a:ext>
              </a:extLst>
            </p:cNvPr>
            <p:cNvCxnSpPr>
              <a:stCxn id="141" idx="1"/>
            </p:cNvCxnSpPr>
            <p:nvPr/>
          </p:nvCxnSpPr>
          <p:spPr>
            <a:xfrm flipH="1">
              <a:off x="8419763" y="1339902"/>
              <a:ext cx="2500" cy="212436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直接连接符 162">
              <a:extLst>
                <a:ext uri="{FF2B5EF4-FFF2-40B4-BE49-F238E27FC236}">
                  <a16:creationId xmlns:a16="http://schemas.microsoft.com/office/drawing/2014/main" id="{DC71F96C-D3E9-444F-A1F3-284D0B536A3F}"/>
                </a:ext>
              </a:extLst>
            </p:cNvPr>
            <p:cNvCxnSpPr>
              <a:stCxn id="141" idx="3"/>
            </p:cNvCxnSpPr>
            <p:nvPr/>
          </p:nvCxnSpPr>
          <p:spPr>
            <a:xfrm flipH="1">
              <a:off x="8729421" y="1339902"/>
              <a:ext cx="2500" cy="21229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直接连接符 163">
              <a:extLst>
                <a:ext uri="{FF2B5EF4-FFF2-40B4-BE49-F238E27FC236}">
                  <a16:creationId xmlns:a16="http://schemas.microsoft.com/office/drawing/2014/main" id="{408B0DBD-6993-4A7C-B5E9-AA2E583863D9}"/>
                </a:ext>
              </a:extLst>
            </p:cNvPr>
            <p:cNvCxnSpPr>
              <a:stCxn id="139" idx="1"/>
            </p:cNvCxnSpPr>
            <p:nvPr/>
          </p:nvCxnSpPr>
          <p:spPr>
            <a:xfrm flipH="1">
              <a:off x="9039079" y="1339902"/>
              <a:ext cx="2503" cy="21229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直接连接符 164">
              <a:extLst>
                <a:ext uri="{FF2B5EF4-FFF2-40B4-BE49-F238E27FC236}">
                  <a16:creationId xmlns:a16="http://schemas.microsoft.com/office/drawing/2014/main" id="{DDC7CCB4-017A-488A-87E2-77424DFE7044}"/>
                </a:ext>
              </a:extLst>
            </p:cNvPr>
            <p:cNvCxnSpPr>
              <a:stCxn id="139" idx="3"/>
            </p:cNvCxnSpPr>
            <p:nvPr/>
          </p:nvCxnSpPr>
          <p:spPr>
            <a:xfrm flipH="1">
              <a:off x="9344851" y="1339902"/>
              <a:ext cx="6389" cy="212297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直接连接符 165">
              <a:extLst>
                <a:ext uri="{FF2B5EF4-FFF2-40B4-BE49-F238E27FC236}">
                  <a16:creationId xmlns:a16="http://schemas.microsoft.com/office/drawing/2014/main" id="{D76CECE5-1041-4060-A545-C86DAE18F98D}"/>
                </a:ext>
              </a:extLst>
            </p:cNvPr>
            <p:cNvCxnSpPr>
              <a:stCxn id="137" idx="1"/>
            </p:cNvCxnSpPr>
            <p:nvPr/>
          </p:nvCxnSpPr>
          <p:spPr>
            <a:xfrm flipH="1">
              <a:off x="9660898" y="1340597"/>
              <a:ext cx="2" cy="212227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直接连接符 166">
              <a:extLst>
                <a:ext uri="{FF2B5EF4-FFF2-40B4-BE49-F238E27FC236}">
                  <a16:creationId xmlns:a16="http://schemas.microsoft.com/office/drawing/2014/main" id="{E80F9E4E-EB08-4F28-BFA8-D5C030B5746E}"/>
                </a:ext>
              </a:extLst>
            </p:cNvPr>
            <p:cNvCxnSpPr>
              <a:stCxn id="137" idx="3"/>
            </p:cNvCxnSpPr>
            <p:nvPr/>
          </p:nvCxnSpPr>
          <p:spPr>
            <a:xfrm flipH="1">
              <a:off x="9970556" y="1340597"/>
              <a:ext cx="2" cy="21222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直接连接符 167">
              <a:extLst>
                <a:ext uri="{FF2B5EF4-FFF2-40B4-BE49-F238E27FC236}">
                  <a16:creationId xmlns:a16="http://schemas.microsoft.com/office/drawing/2014/main" id="{B96C12F4-5D6B-412A-8B27-A2EA5972ADF1}"/>
                </a:ext>
              </a:extLst>
            </p:cNvPr>
            <p:cNvCxnSpPr>
              <a:stCxn id="136" idx="3"/>
            </p:cNvCxnSpPr>
            <p:nvPr/>
          </p:nvCxnSpPr>
          <p:spPr>
            <a:xfrm flipH="1">
              <a:off x="10280214" y="1340597"/>
              <a:ext cx="3" cy="212227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直接连接符 168">
              <a:extLst>
                <a:ext uri="{FF2B5EF4-FFF2-40B4-BE49-F238E27FC236}">
                  <a16:creationId xmlns:a16="http://schemas.microsoft.com/office/drawing/2014/main" id="{1D4D6DB4-F3F6-4653-B771-D02661437FEE}"/>
                </a:ext>
              </a:extLst>
            </p:cNvPr>
            <p:cNvCxnSpPr>
              <a:stCxn id="133" idx="1"/>
            </p:cNvCxnSpPr>
            <p:nvPr/>
          </p:nvCxnSpPr>
          <p:spPr>
            <a:xfrm flipH="1">
              <a:off x="10589872" y="1340597"/>
              <a:ext cx="8" cy="212227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直接连接符 169">
              <a:extLst>
                <a:ext uri="{FF2B5EF4-FFF2-40B4-BE49-F238E27FC236}">
                  <a16:creationId xmlns:a16="http://schemas.microsoft.com/office/drawing/2014/main" id="{30A54291-C3AA-43D6-A4B9-EB13E91BFCEF}"/>
                </a:ext>
              </a:extLst>
            </p:cNvPr>
            <p:cNvCxnSpPr>
              <a:stCxn id="132" idx="1"/>
            </p:cNvCxnSpPr>
            <p:nvPr/>
          </p:nvCxnSpPr>
          <p:spPr>
            <a:xfrm flipH="1">
              <a:off x="10899530" y="1340597"/>
              <a:ext cx="9" cy="2122274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接连接符 170">
              <a:extLst>
                <a:ext uri="{FF2B5EF4-FFF2-40B4-BE49-F238E27FC236}">
                  <a16:creationId xmlns:a16="http://schemas.microsoft.com/office/drawing/2014/main" id="{2E3C1C63-2A16-4F97-BBC2-37D265E9C090}"/>
                </a:ext>
              </a:extLst>
            </p:cNvPr>
            <p:cNvCxnSpPr>
              <a:stCxn id="131" idx="1"/>
            </p:cNvCxnSpPr>
            <p:nvPr/>
          </p:nvCxnSpPr>
          <p:spPr>
            <a:xfrm flipH="1">
              <a:off x="11209188" y="1341291"/>
              <a:ext cx="11" cy="2121579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直接连接符 171">
              <a:extLst>
                <a:ext uri="{FF2B5EF4-FFF2-40B4-BE49-F238E27FC236}">
                  <a16:creationId xmlns:a16="http://schemas.microsoft.com/office/drawing/2014/main" id="{BF2392F2-4F52-4AE0-8E5D-423168E6A755}"/>
                </a:ext>
              </a:extLst>
            </p:cNvPr>
            <p:cNvCxnSpPr>
              <a:stCxn id="131" idx="3"/>
            </p:cNvCxnSpPr>
            <p:nvPr/>
          </p:nvCxnSpPr>
          <p:spPr>
            <a:xfrm>
              <a:off x="11518857" y="1341291"/>
              <a:ext cx="1631" cy="2121578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矩形 102">
            <a:extLst>
              <a:ext uri="{FF2B5EF4-FFF2-40B4-BE49-F238E27FC236}">
                <a16:creationId xmlns:a16="http://schemas.microsoft.com/office/drawing/2014/main" id="{1ACFA799-C894-4C73-A6BE-974C470D38BF}"/>
              </a:ext>
            </a:extLst>
          </p:cNvPr>
          <p:cNvSpPr/>
          <p:nvPr/>
        </p:nvSpPr>
        <p:spPr>
          <a:xfrm>
            <a:off x="673145" y="2482850"/>
            <a:ext cx="10845712" cy="415032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E2C98CD4-3CA7-4C1A-A1A3-2D7A6D5D4065}"/>
              </a:ext>
            </a:extLst>
          </p:cNvPr>
          <p:cNvSpPr/>
          <p:nvPr/>
        </p:nvSpPr>
        <p:spPr>
          <a:xfrm>
            <a:off x="673146" y="2899273"/>
            <a:ext cx="1245024" cy="479853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5" name="矩形 104">
            <a:extLst>
              <a:ext uri="{FF2B5EF4-FFF2-40B4-BE49-F238E27FC236}">
                <a16:creationId xmlns:a16="http://schemas.microsoft.com/office/drawing/2014/main" id="{40C05BC4-BD40-4547-8101-511D2262A3F3}"/>
              </a:ext>
            </a:extLst>
          </p:cNvPr>
          <p:cNvSpPr/>
          <p:nvPr/>
        </p:nvSpPr>
        <p:spPr>
          <a:xfrm>
            <a:off x="673146" y="3379126"/>
            <a:ext cx="1245024" cy="479853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6" name="矩形 105">
            <a:extLst>
              <a:ext uri="{FF2B5EF4-FFF2-40B4-BE49-F238E27FC236}">
                <a16:creationId xmlns:a16="http://schemas.microsoft.com/office/drawing/2014/main" id="{32F7FEA6-FAFB-471D-8512-412665654DEC}"/>
              </a:ext>
            </a:extLst>
          </p:cNvPr>
          <p:cNvSpPr/>
          <p:nvPr/>
        </p:nvSpPr>
        <p:spPr>
          <a:xfrm>
            <a:off x="673146" y="3857817"/>
            <a:ext cx="1245024" cy="479853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59C3B417-A5CE-451E-BCD8-40BC07494D99}"/>
              </a:ext>
            </a:extLst>
          </p:cNvPr>
          <p:cNvSpPr/>
          <p:nvPr/>
        </p:nvSpPr>
        <p:spPr>
          <a:xfrm>
            <a:off x="673146" y="4337670"/>
            <a:ext cx="1245024" cy="479853"/>
          </a:xfrm>
          <a:prstGeom prst="rect">
            <a:avLst/>
          </a:prstGeom>
          <a:solidFill>
            <a:schemeClr val="bg1"/>
          </a:solidFill>
          <a:ln w="2857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1200" dirty="0">
                <a:solidFill>
                  <a:schemeClr val="tx1"/>
                </a:solidFill>
                <a:cs typeface="+mn-ea"/>
                <a:sym typeface="+mn-lt"/>
              </a:rPr>
              <a:t>Text</a:t>
            </a:r>
            <a:endParaRPr lang="zh-CN" alt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108" name="组合 107">
            <a:extLst>
              <a:ext uri="{FF2B5EF4-FFF2-40B4-BE49-F238E27FC236}">
                <a16:creationId xmlns:a16="http://schemas.microsoft.com/office/drawing/2014/main" id="{3C48C3D5-B885-4ECF-A863-043F4BBE8B0E}"/>
              </a:ext>
            </a:extLst>
          </p:cNvPr>
          <p:cNvGrpSpPr/>
          <p:nvPr/>
        </p:nvGrpSpPr>
        <p:grpSpPr>
          <a:xfrm>
            <a:off x="1918171" y="2484936"/>
            <a:ext cx="9600686" cy="416421"/>
            <a:chOff x="1918171" y="1953663"/>
            <a:chExt cx="9600686" cy="416421"/>
          </a:xfrm>
        </p:grpSpPr>
        <p:sp>
          <p:nvSpPr>
            <p:cNvPr id="109" name="矩形 108">
              <a:extLst>
                <a:ext uri="{FF2B5EF4-FFF2-40B4-BE49-F238E27FC236}">
                  <a16:creationId xmlns:a16="http://schemas.microsoft.com/office/drawing/2014/main" id="{9B615F86-B80F-47BC-8B33-3672AE0DE479}"/>
                </a:ext>
              </a:extLst>
            </p:cNvPr>
            <p:cNvSpPr/>
            <p:nvPr/>
          </p:nvSpPr>
          <p:spPr>
            <a:xfrm>
              <a:off x="8111359" y="1955052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1</a:t>
              </a:r>
            </a:p>
          </p:txBody>
        </p:sp>
        <p:sp>
          <p:nvSpPr>
            <p:cNvPr id="110" name="矩形 109">
              <a:extLst>
                <a:ext uri="{FF2B5EF4-FFF2-40B4-BE49-F238E27FC236}">
                  <a16:creationId xmlns:a16="http://schemas.microsoft.com/office/drawing/2014/main" id="{840995D9-1EF3-46D6-8F87-7F703CBEDCE3}"/>
                </a:ext>
              </a:extLst>
            </p:cNvPr>
            <p:cNvSpPr/>
            <p:nvPr/>
          </p:nvSpPr>
          <p:spPr>
            <a:xfrm>
              <a:off x="7801699" y="1955052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0</a:t>
              </a:r>
            </a:p>
          </p:txBody>
        </p:sp>
        <p:sp>
          <p:nvSpPr>
            <p:cNvPr id="111" name="矩形 110">
              <a:extLst>
                <a:ext uri="{FF2B5EF4-FFF2-40B4-BE49-F238E27FC236}">
                  <a16:creationId xmlns:a16="http://schemas.microsoft.com/office/drawing/2014/main" id="{00816452-1C07-42CE-A564-785F3936AE49}"/>
                </a:ext>
              </a:extLst>
            </p:cNvPr>
            <p:cNvSpPr/>
            <p:nvPr/>
          </p:nvSpPr>
          <p:spPr>
            <a:xfrm>
              <a:off x="7492040" y="1955052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9</a:t>
              </a:r>
            </a:p>
          </p:txBody>
        </p:sp>
        <p:sp>
          <p:nvSpPr>
            <p:cNvPr id="112" name="矩形 111">
              <a:extLst>
                <a:ext uri="{FF2B5EF4-FFF2-40B4-BE49-F238E27FC236}">
                  <a16:creationId xmlns:a16="http://schemas.microsoft.com/office/drawing/2014/main" id="{A7191A91-7B8D-45F6-9D36-60119EF42590}"/>
                </a:ext>
              </a:extLst>
            </p:cNvPr>
            <p:cNvSpPr/>
            <p:nvPr/>
          </p:nvSpPr>
          <p:spPr>
            <a:xfrm>
              <a:off x="7182381" y="1955052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8</a:t>
              </a:r>
            </a:p>
          </p:txBody>
        </p:sp>
        <p:sp>
          <p:nvSpPr>
            <p:cNvPr id="113" name="矩形 112">
              <a:extLst>
                <a:ext uri="{FF2B5EF4-FFF2-40B4-BE49-F238E27FC236}">
                  <a16:creationId xmlns:a16="http://schemas.microsoft.com/office/drawing/2014/main" id="{9F7A0E43-BD20-4B92-A770-95E220A695A0}"/>
                </a:ext>
              </a:extLst>
            </p:cNvPr>
            <p:cNvSpPr/>
            <p:nvPr/>
          </p:nvSpPr>
          <p:spPr>
            <a:xfrm>
              <a:off x="6872722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7</a:t>
              </a:r>
            </a:p>
          </p:txBody>
        </p:sp>
        <p:sp>
          <p:nvSpPr>
            <p:cNvPr id="114" name="矩形 113">
              <a:extLst>
                <a:ext uri="{FF2B5EF4-FFF2-40B4-BE49-F238E27FC236}">
                  <a16:creationId xmlns:a16="http://schemas.microsoft.com/office/drawing/2014/main" id="{0DE8FC84-977E-4B9C-8779-7981E0ED7E0F}"/>
                </a:ext>
              </a:extLst>
            </p:cNvPr>
            <p:cNvSpPr/>
            <p:nvPr/>
          </p:nvSpPr>
          <p:spPr>
            <a:xfrm>
              <a:off x="6563062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6</a:t>
              </a:r>
            </a:p>
          </p:txBody>
        </p:sp>
        <p:sp>
          <p:nvSpPr>
            <p:cNvPr id="115" name="矩形 114">
              <a:extLst>
                <a:ext uri="{FF2B5EF4-FFF2-40B4-BE49-F238E27FC236}">
                  <a16:creationId xmlns:a16="http://schemas.microsoft.com/office/drawing/2014/main" id="{D2690272-0679-4D9D-8A2A-2A2DA942E279}"/>
                </a:ext>
              </a:extLst>
            </p:cNvPr>
            <p:cNvSpPr/>
            <p:nvPr/>
          </p:nvSpPr>
          <p:spPr>
            <a:xfrm>
              <a:off x="6253403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5</a:t>
              </a:r>
            </a:p>
          </p:txBody>
        </p:sp>
        <p:sp>
          <p:nvSpPr>
            <p:cNvPr id="116" name="矩形 115">
              <a:extLst>
                <a:ext uri="{FF2B5EF4-FFF2-40B4-BE49-F238E27FC236}">
                  <a16:creationId xmlns:a16="http://schemas.microsoft.com/office/drawing/2014/main" id="{C32B6016-2FE6-4929-B8E0-E53B5943175E}"/>
                </a:ext>
              </a:extLst>
            </p:cNvPr>
            <p:cNvSpPr/>
            <p:nvPr/>
          </p:nvSpPr>
          <p:spPr>
            <a:xfrm>
              <a:off x="5943743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4</a:t>
              </a:r>
            </a:p>
          </p:txBody>
        </p:sp>
        <p:sp>
          <p:nvSpPr>
            <p:cNvPr id="117" name="矩形 116">
              <a:extLst>
                <a:ext uri="{FF2B5EF4-FFF2-40B4-BE49-F238E27FC236}">
                  <a16:creationId xmlns:a16="http://schemas.microsoft.com/office/drawing/2014/main" id="{405126E8-4968-4B3C-9141-BAB2168415B2}"/>
                </a:ext>
              </a:extLst>
            </p:cNvPr>
            <p:cNvSpPr/>
            <p:nvPr/>
          </p:nvSpPr>
          <p:spPr>
            <a:xfrm>
              <a:off x="5634084" y="1955052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3</a:t>
              </a:r>
            </a:p>
          </p:txBody>
        </p:sp>
        <p:sp>
          <p:nvSpPr>
            <p:cNvPr id="118" name="矩形 117">
              <a:extLst>
                <a:ext uri="{FF2B5EF4-FFF2-40B4-BE49-F238E27FC236}">
                  <a16:creationId xmlns:a16="http://schemas.microsoft.com/office/drawing/2014/main" id="{4E744DE6-9114-4004-B2F9-360D02881820}"/>
                </a:ext>
              </a:extLst>
            </p:cNvPr>
            <p:cNvSpPr/>
            <p:nvPr/>
          </p:nvSpPr>
          <p:spPr>
            <a:xfrm>
              <a:off x="5324425" y="1955052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2</a:t>
              </a:r>
            </a:p>
          </p:txBody>
        </p:sp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F1D2BCB5-AC05-4790-95DA-D1D908F06323}"/>
                </a:ext>
              </a:extLst>
            </p:cNvPr>
            <p:cNvSpPr/>
            <p:nvPr/>
          </p:nvSpPr>
          <p:spPr>
            <a:xfrm>
              <a:off x="5014765" y="1955052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1</a:t>
              </a:r>
            </a:p>
          </p:txBody>
        </p:sp>
        <p:sp>
          <p:nvSpPr>
            <p:cNvPr id="120" name="矩形 119">
              <a:extLst>
                <a:ext uri="{FF2B5EF4-FFF2-40B4-BE49-F238E27FC236}">
                  <a16:creationId xmlns:a16="http://schemas.microsoft.com/office/drawing/2014/main" id="{DD2D3D8F-218C-4CB6-9150-676C2338381F}"/>
                </a:ext>
              </a:extLst>
            </p:cNvPr>
            <p:cNvSpPr/>
            <p:nvPr/>
          </p:nvSpPr>
          <p:spPr>
            <a:xfrm>
              <a:off x="4705106" y="1955052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0</a:t>
              </a:r>
            </a:p>
          </p:txBody>
        </p:sp>
        <p:sp>
          <p:nvSpPr>
            <p:cNvPr id="121" name="矩形 120">
              <a:extLst>
                <a:ext uri="{FF2B5EF4-FFF2-40B4-BE49-F238E27FC236}">
                  <a16:creationId xmlns:a16="http://schemas.microsoft.com/office/drawing/2014/main" id="{17817D80-C6D1-4193-A189-48D56D28A9EA}"/>
                </a:ext>
              </a:extLst>
            </p:cNvPr>
            <p:cNvSpPr/>
            <p:nvPr/>
          </p:nvSpPr>
          <p:spPr>
            <a:xfrm>
              <a:off x="4395447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9</a:t>
              </a:r>
            </a:p>
          </p:txBody>
        </p:sp>
        <p:sp>
          <p:nvSpPr>
            <p:cNvPr id="122" name="矩形 121">
              <a:extLst>
                <a:ext uri="{FF2B5EF4-FFF2-40B4-BE49-F238E27FC236}">
                  <a16:creationId xmlns:a16="http://schemas.microsoft.com/office/drawing/2014/main" id="{6957ABFB-9118-4A63-9C11-52822D2888E8}"/>
                </a:ext>
              </a:extLst>
            </p:cNvPr>
            <p:cNvSpPr/>
            <p:nvPr/>
          </p:nvSpPr>
          <p:spPr>
            <a:xfrm>
              <a:off x="4085788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8</a:t>
              </a:r>
            </a:p>
          </p:txBody>
        </p:sp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E4A4DD2F-BA62-4B54-8389-AB01E2194256}"/>
                </a:ext>
              </a:extLst>
            </p:cNvPr>
            <p:cNvSpPr/>
            <p:nvPr/>
          </p:nvSpPr>
          <p:spPr>
            <a:xfrm>
              <a:off x="3776129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7</a:t>
              </a:r>
            </a:p>
          </p:txBody>
        </p:sp>
        <p:sp>
          <p:nvSpPr>
            <p:cNvPr id="124" name="矩形 123">
              <a:extLst>
                <a:ext uri="{FF2B5EF4-FFF2-40B4-BE49-F238E27FC236}">
                  <a16:creationId xmlns:a16="http://schemas.microsoft.com/office/drawing/2014/main" id="{4A456B5E-01A1-4ED2-8A24-12CD5B4AD43F}"/>
                </a:ext>
              </a:extLst>
            </p:cNvPr>
            <p:cNvSpPr/>
            <p:nvPr/>
          </p:nvSpPr>
          <p:spPr>
            <a:xfrm>
              <a:off x="3466469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5" name="矩形 124">
              <a:extLst>
                <a:ext uri="{FF2B5EF4-FFF2-40B4-BE49-F238E27FC236}">
                  <a16:creationId xmlns:a16="http://schemas.microsoft.com/office/drawing/2014/main" id="{26423385-4B45-4517-B482-CF45D8E441F5}"/>
                </a:ext>
              </a:extLst>
            </p:cNvPr>
            <p:cNvSpPr/>
            <p:nvPr/>
          </p:nvSpPr>
          <p:spPr>
            <a:xfrm>
              <a:off x="3466467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6</a:t>
              </a:r>
            </a:p>
          </p:txBody>
        </p:sp>
        <p:sp>
          <p:nvSpPr>
            <p:cNvPr id="126" name="矩形 125">
              <a:extLst>
                <a:ext uri="{FF2B5EF4-FFF2-40B4-BE49-F238E27FC236}">
                  <a16:creationId xmlns:a16="http://schemas.microsoft.com/office/drawing/2014/main" id="{6EA40207-6FF8-4E31-8925-D0630261B2E4}"/>
                </a:ext>
              </a:extLst>
            </p:cNvPr>
            <p:cNvSpPr/>
            <p:nvPr/>
          </p:nvSpPr>
          <p:spPr>
            <a:xfrm>
              <a:off x="3156808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5</a:t>
              </a:r>
            </a:p>
          </p:txBody>
        </p:sp>
        <p:sp>
          <p:nvSpPr>
            <p:cNvPr id="127" name="矩形 126">
              <a:extLst>
                <a:ext uri="{FF2B5EF4-FFF2-40B4-BE49-F238E27FC236}">
                  <a16:creationId xmlns:a16="http://schemas.microsoft.com/office/drawing/2014/main" id="{002A84D4-6F14-4981-B26D-22AB0B610E15}"/>
                </a:ext>
              </a:extLst>
            </p:cNvPr>
            <p:cNvSpPr/>
            <p:nvPr/>
          </p:nvSpPr>
          <p:spPr>
            <a:xfrm>
              <a:off x="2847149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4</a:t>
              </a:r>
            </a:p>
          </p:txBody>
        </p:sp>
        <p:sp>
          <p:nvSpPr>
            <p:cNvPr id="128" name="矩形 127">
              <a:extLst>
                <a:ext uri="{FF2B5EF4-FFF2-40B4-BE49-F238E27FC236}">
                  <a16:creationId xmlns:a16="http://schemas.microsoft.com/office/drawing/2014/main" id="{4BDC88E4-F15C-437F-AA73-C4758F4C71B7}"/>
                </a:ext>
              </a:extLst>
            </p:cNvPr>
            <p:cNvSpPr/>
            <p:nvPr/>
          </p:nvSpPr>
          <p:spPr>
            <a:xfrm>
              <a:off x="2537489" y="1953663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3</a:t>
              </a:r>
            </a:p>
          </p:txBody>
        </p:sp>
        <p:sp>
          <p:nvSpPr>
            <p:cNvPr id="129" name="矩形 128">
              <a:extLst>
                <a:ext uri="{FF2B5EF4-FFF2-40B4-BE49-F238E27FC236}">
                  <a16:creationId xmlns:a16="http://schemas.microsoft.com/office/drawing/2014/main" id="{8B0102CA-F3B9-448F-AAB1-2A890E37BF34}"/>
                </a:ext>
              </a:extLst>
            </p:cNvPr>
            <p:cNvSpPr/>
            <p:nvPr/>
          </p:nvSpPr>
          <p:spPr>
            <a:xfrm>
              <a:off x="2227830" y="1953663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30" name="矩形 129">
              <a:extLst>
                <a:ext uri="{FF2B5EF4-FFF2-40B4-BE49-F238E27FC236}">
                  <a16:creationId xmlns:a16="http://schemas.microsoft.com/office/drawing/2014/main" id="{1E83DA66-AB78-409C-9441-6C0E4312CDAD}"/>
                </a:ext>
              </a:extLst>
            </p:cNvPr>
            <p:cNvSpPr/>
            <p:nvPr/>
          </p:nvSpPr>
          <p:spPr>
            <a:xfrm>
              <a:off x="1918171" y="1953663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id-ID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1</a:t>
              </a:r>
            </a:p>
          </p:txBody>
        </p:sp>
        <p:sp>
          <p:nvSpPr>
            <p:cNvPr id="131" name="矩形 130">
              <a:extLst>
                <a:ext uri="{FF2B5EF4-FFF2-40B4-BE49-F238E27FC236}">
                  <a16:creationId xmlns:a16="http://schemas.microsoft.com/office/drawing/2014/main" id="{3048BCC8-4DBB-439B-BAF8-CDBE05158953}"/>
                </a:ext>
              </a:extLst>
            </p:cNvPr>
            <p:cNvSpPr/>
            <p:nvPr/>
          </p:nvSpPr>
          <p:spPr>
            <a:xfrm>
              <a:off x="11209199" y="1955052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31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2" name="矩形 131">
              <a:extLst>
                <a:ext uri="{FF2B5EF4-FFF2-40B4-BE49-F238E27FC236}">
                  <a16:creationId xmlns:a16="http://schemas.microsoft.com/office/drawing/2014/main" id="{4A5B43E2-A94C-4657-9D96-49B5EC5B687D}"/>
                </a:ext>
              </a:extLst>
            </p:cNvPr>
            <p:cNvSpPr/>
            <p:nvPr/>
          </p:nvSpPr>
          <p:spPr>
            <a:xfrm>
              <a:off x="10899539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30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3" name="矩形 132">
              <a:extLst>
                <a:ext uri="{FF2B5EF4-FFF2-40B4-BE49-F238E27FC236}">
                  <a16:creationId xmlns:a16="http://schemas.microsoft.com/office/drawing/2014/main" id="{9FB0F86B-E846-4BB2-AB88-B0FAD57842B7}"/>
                </a:ext>
              </a:extLst>
            </p:cNvPr>
            <p:cNvSpPr/>
            <p:nvPr/>
          </p:nvSpPr>
          <p:spPr>
            <a:xfrm>
              <a:off x="10589880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9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4" name="矩形 133">
              <a:extLst>
                <a:ext uri="{FF2B5EF4-FFF2-40B4-BE49-F238E27FC236}">
                  <a16:creationId xmlns:a16="http://schemas.microsoft.com/office/drawing/2014/main" id="{D5F48756-FE30-4CD6-99FB-EB7BA1443FC6}"/>
                </a:ext>
              </a:extLst>
            </p:cNvPr>
            <p:cNvSpPr/>
            <p:nvPr/>
          </p:nvSpPr>
          <p:spPr>
            <a:xfrm>
              <a:off x="10280220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8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5" name="矩形 134">
              <a:extLst>
                <a:ext uri="{FF2B5EF4-FFF2-40B4-BE49-F238E27FC236}">
                  <a16:creationId xmlns:a16="http://schemas.microsoft.com/office/drawing/2014/main" id="{58A44500-0899-4D9F-8023-0EBE75E8A963}"/>
                </a:ext>
              </a:extLst>
            </p:cNvPr>
            <p:cNvSpPr/>
            <p:nvPr/>
          </p:nvSpPr>
          <p:spPr>
            <a:xfrm>
              <a:off x="9970561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6" name="矩形 135">
              <a:extLst>
                <a:ext uri="{FF2B5EF4-FFF2-40B4-BE49-F238E27FC236}">
                  <a16:creationId xmlns:a16="http://schemas.microsoft.com/office/drawing/2014/main" id="{461F4289-9156-4665-864E-EAC3B52AA5C5}"/>
                </a:ext>
              </a:extLst>
            </p:cNvPr>
            <p:cNvSpPr/>
            <p:nvPr/>
          </p:nvSpPr>
          <p:spPr>
            <a:xfrm>
              <a:off x="9970559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7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7" name="矩形 136">
              <a:extLst>
                <a:ext uri="{FF2B5EF4-FFF2-40B4-BE49-F238E27FC236}">
                  <a16:creationId xmlns:a16="http://schemas.microsoft.com/office/drawing/2014/main" id="{E3593B55-F6D8-4E10-964B-DBD76CA91D7A}"/>
                </a:ext>
              </a:extLst>
            </p:cNvPr>
            <p:cNvSpPr/>
            <p:nvPr/>
          </p:nvSpPr>
          <p:spPr>
            <a:xfrm>
              <a:off x="9660900" y="1954358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6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8" name="矩形 137">
              <a:extLst>
                <a:ext uri="{FF2B5EF4-FFF2-40B4-BE49-F238E27FC236}">
                  <a16:creationId xmlns:a16="http://schemas.microsoft.com/office/drawing/2014/main" id="{70400252-75A1-43C8-82A0-163DB7EB62AF}"/>
                </a:ext>
              </a:extLst>
            </p:cNvPr>
            <p:cNvSpPr/>
            <p:nvPr/>
          </p:nvSpPr>
          <p:spPr>
            <a:xfrm>
              <a:off x="9351241" y="1954358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5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39" name="矩形 138">
              <a:extLst>
                <a:ext uri="{FF2B5EF4-FFF2-40B4-BE49-F238E27FC236}">
                  <a16:creationId xmlns:a16="http://schemas.microsoft.com/office/drawing/2014/main" id="{AE2D0051-D753-405F-B0B4-41556B385905}"/>
                </a:ext>
              </a:extLst>
            </p:cNvPr>
            <p:cNvSpPr/>
            <p:nvPr/>
          </p:nvSpPr>
          <p:spPr>
            <a:xfrm>
              <a:off x="9041582" y="1953663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4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0" name="矩形 139">
              <a:extLst>
                <a:ext uri="{FF2B5EF4-FFF2-40B4-BE49-F238E27FC236}">
                  <a16:creationId xmlns:a16="http://schemas.microsoft.com/office/drawing/2014/main" id="{500113EF-A2AF-49DE-B167-18DAAA5C3119}"/>
                </a:ext>
              </a:extLst>
            </p:cNvPr>
            <p:cNvSpPr/>
            <p:nvPr/>
          </p:nvSpPr>
          <p:spPr>
            <a:xfrm>
              <a:off x="8731922" y="1953663"/>
              <a:ext cx="309658" cy="41503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3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41" name="矩形 140">
              <a:extLst>
                <a:ext uri="{FF2B5EF4-FFF2-40B4-BE49-F238E27FC236}">
                  <a16:creationId xmlns:a16="http://schemas.microsoft.com/office/drawing/2014/main" id="{15735D4D-F5DD-40A4-945A-19ED390EABD3}"/>
                </a:ext>
              </a:extLst>
            </p:cNvPr>
            <p:cNvSpPr/>
            <p:nvPr/>
          </p:nvSpPr>
          <p:spPr>
            <a:xfrm>
              <a:off x="8422263" y="1953663"/>
              <a:ext cx="309658" cy="415032"/>
            </a:xfrm>
            <a:prstGeom prst="rect">
              <a:avLst/>
            </a:prstGeom>
            <a:solidFill>
              <a:srgbClr val="EAEAEA"/>
            </a:solidFill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1440" tIns="45720" rIns="91440" bIns="45720" anchor="ctr"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bg1">
                      <a:lumMod val="65000"/>
                    </a:schemeClr>
                  </a:solidFill>
                  <a:cs typeface="+mn-ea"/>
                  <a:sym typeface="+mn-lt"/>
                </a:rPr>
                <a:t>22</a:t>
              </a:r>
              <a:endParaRPr lang="id-ID" sz="1400" dirty="0">
                <a:solidFill>
                  <a:schemeClr val="bg1">
                    <a:lumMod val="65000"/>
                  </a:schemeClr>
                </a:solidFill>
                <a:cs typeface="+mn-ea"/>
                <a:sym typeface="+mn-lt"/>
              </a:endParaRPr>
            </a:p>
          </p:txBody>
        </p:sp>
      </p:grpSp>
      <p:sp>
        <p:nvSpPr>
          <p:cNvPr id="81" name="文本框 80">
            <a:extLst>
              <a:ext uri="{FF2B5EF4-FFF2-40B4-BE49-F238E27FC236}">
                <a16:creationId xmlns:a16="http://schemas.microsoft.com/office/drawing/2014/main" id="{BBE64BF1-24B1-4765-B66D-19DE6A2058FE}"/>
              </a:ext>
            </a:extLst>
          </p:cNvPr>
          <p:cNvSpPr txBox="1"/>
          <p:nvPr/>
        </p:nvSpPr>
        <p:spPr>
          <a:xfrm>
            <a:off x="673099" y="1130300"/>
            <a:ext cx="10845800" cy="58192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Unified fonts make reading more fluent.</a:t>
            </a:r>
          </a:p>
        </p:txBody>
      </p:sp>
      <p:sp>
        <p:nvSpPr>
          <p:cNvPr id="82" name="文本框 81">
            <a:extLst>
              <a:ext uri="{FF2B5EF4-FFF2-40B4-BE49-F238E27FC236}">
                <a16:creationId xmlns:a16="http://schemas.microsoft.com/office/drawing/2014/main" id="{E7D33F28-98A3-4906-A638-05E5D53C33D7}"/>
              </a:ext>
            </a:extLst>
          </p:cNvPr>
          <p:cNvSpPr txBox="1"/>
          <p:nvPr/>
        </p:nvSpPr>
        <p:spPr>
          <a:xfrm>
            <a:off x="673101" y="1712226"/>
            <a:ext cx="10845796" cy="59448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/>
          <a:p>
            <a:pPr marL="0" marR="0" lvl="0" indent="0" algn="ct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Theme color makes PPT more convenient to change.</a:t>
            </a:r>
          </a:p>
          <a:p>
            <a:pPr marL="0" marR="0" lvl="0" indent="0" algn="ctr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83" name="任意多边形: 形状 82">
            <a:extLst>
              <a:ext uri="{FF2B5EF4-FFF2-40B4-BE49-F238E27FC236}">
                <a16:creationId xmlns:a16="http://schemas.microsoft.com/office/drawing/2014/main" id="{5D6F01CC-FA3B-44DC-AD81-CCD30A20E5AA}"/>
              </a:ext>
            </a:extLst>
          </p:cNvPr>
          <p:cNvSpPr/>
          <p:nvPr/>
        </p:nvSpPr>
        <p:spPr bwMode="auto">
          <a:xfrm>
            <a:off x="3210056" y="3060378"/>
            <a:ext cx="190498" cy="190216"/>
          </a:xfrm>
          <a:custGeom>
            <a:avLst/>
            <a:gdLst>
              <a:gd name="T0" fmla="*/ 127 w 3392"/>
              <a:gd name="T1" fmla="*/ 2898 h 3392"/>
              <a:gd name="T2" fmla="*/ 473 w 3392"/>
              <a:gd name="T3" fmla="*/ 3248 h 3392"/>
              <a:gd name="T4" fmla="*/ 936 w 3392"/>
              <a:gd name="T5" fmla="*/ 3251 h 3392"/>
              <a:gd name="T6" fmla="*/ 1691 w 3392"/>
              <a:gd name="T7" fmla="*/ 2508 h 3392"/>
              <a:gd name="T8" fmla="*/ 2434 w 3392"/>
              <a:gd name="T9" fmla="*/ 3262 h 3392"/>
              <a:gd name="T10" fmla="*/ 2898 w 3392"/>
              <a:gd name="T11" fmla="*/ 3265 h 3392"/>
              <a:gd name="T12" fmla="*/ 3248 w 3392"/>
              <a:gd name="T13" fmla="*/ 2920 h 3392"/>
              <a:gd name="T14" fmla="*/ 3251 w 3392"/>
              <a:gd name="T15" fmla="*/ 2456 h 3392"/>
              <a:gd name="T16" fmla="*/ 2508 w 3392"/>
              <a:gd name="T17" fmla="*/ 1702 h 3392"/>
              <a:gd name="T18" fmla="*/ 3262 w 3392"/>
              <a:gd name="T19" fmla="*/ 959 h 3392"/>
              <a:gd name="T20" fmla="*/ 3265 w 3392"/>
              <a:gd name="T21" fmla="*/ 495 h 3392"/>
              <a:gd name="T22" fmla="*/ 2920 w 3392"/>
              <a:gd name="T23" fmla="*/ 145 h 3392"/>
              <a:gd name="T24" fmla="*/ 2456 w 3392"/>
              <a:gd name="T25" fmla="*/ 141 h 3392"/>
              <a:gd name="T26" fmla="*/ 1702 w 3392"/>
              <a:gd name="T27" fmla="*/ 885 h 3392"/>
              <a:gd name="T28" fmla="*/ 959 w 3392"/>
              <a:gd name="T29" fmla="*/ 131 h 3392"/>
              <a:gd name="T30" fmla="*/ 495 w 3392"/>
              <a:gd name="T31" fmla="*/ 127 h 3392"/>
              <a:gd name="T32" fmla="*/ 145 w 3392"/>
              <a:gd name="T33" fmla="*/ 473 h 3392"/>
              <a:gd name="T34" fmla="*/ 141 w 3392"/>
              <a:gd name="T35" fmla="*/ 936 h 3392"/>
              <a:gd name="T36" fmla="*/ 885 w 3392"/>
              <a:gd name="T37" fmla="*/ 1690 h 3392"/>
              <a:gd name="T38" fmla="*/ 131 w 3392"/>
              <a:gd name="T39" fmla="*/ 2434 h 3392"/>
              <a:gd name="T40" fmla="*/ 127 w 3392"/>
              <a:gd name="T41" fmla="*/ 2898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392" h="3392">
                <a:moveTo>
                  <a:pt x="127" y="2898"/>
                </a:moveTo>
                <a:lnTo>
                  <a:pt x="473" y="3248"/>
                </a:lnTo>
                <a:cubicBezTo>
                  <a:pt x="600" y="3377"/>
                  <a:pt x="808" y="3378"/>
                  <a:pt x="936" y="3251"/>
                </a:cubicBezTo>
                <a:lnTo>
                  <a:pt x="1691" y="2508"/>
                </a:lnTo>
                <a:lnTo>
                  <a:pt x="2434" y="3262"/>
                </a:lnTo>
                <a:cubicBezTo>
                  <a:pt x="2561" y="3391"/>
                  <a:pt x="2769" y="3392"/>
                  <a:pt x="2898" y="3265"/>
                </a:cubicBezTo>
                <a:lnTo>
                  <a:pt x="3248" y="2920"/>
                </a:lnTo>
                <a:cubicBezTo>
                  <a:pt x="3377" y="2793"/>
                  <a:pt x="3378" y="2585"/>
                  <a:pt x="3251" y="2456"/>
                </a:cubicBezTo>
                <a:lnTo>
                  <a:pt x="2508" y="1702"/>
                </a:lnTo>
                <a:lnTo>
                  <a:pt x="3262" y="959"/>
                </a:lnTo>
                <a:cubicBezTo>
                  <a:pt x="3391" y="832"/>
                  <a:pt x="3392" y="624"/>
                  <a:pt x="3265" y="495"/>
                </a:cubicBezTo>
                <a:lnTo>
                  <a:pt x="2920" y="145"/>
                </a:lnTo>
                <a:cubicBezTo>
                  <a:pt x="2793" y="16"/>
                  <a:pt x="2585" y="14"/>
                  <a:pt x="2456" y="141"/>
                </a:cubicBezTo>
                <a:lnTo>
                  <a:pt x="1702" y="885"/>
                </a:lnTo>
                <a:lnTo>
                  <a:pt x="959" y="131"/>
                </a:lnTo>
                <a:cubicBezTo>
                  <a:pt x="832" y="2"/>
                  <a:pt x="624" y="0"/>
                  <a:pt x="495" y="127"/>
                </a:cubicBezTo>
                <a:lnTo>
                  <a:pt x="145" y="473"/>
                </a:lnTo>
                <a:cubicBezTo>
                  <a:pt x="16" y="600"/>
                  <a:pt x="14" y="807"/>
                  <a:pt x="141" y="936"/>
                </a:cubicBezTo>
                <a:lnTo>
                  <a:pt x="885" y="1690"/>
                </a:lnTo>
                <a:lnTo>
                  <a:pt x="131" y="2434"/>
                </a:lnTo>
                <a:cubicBezTo>
                  <a:pt x="2" y="2561"/>
                  <a:pt x="0" y="2769"/>
                  <a:pt x="127" y="28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4" name="任意多边形: 形状 83">
            <a:extLst>
              <a:ext uri="{FF2B5EF4-FFF2-40B4-BE49-F238E27FC236}">
                <a16:creationId xmlns:a16="http://schemas.microsoft.com/office/drawing/2014/main" id="{0D7A0922-69A9-4437-AF15-66B04A723307}"/>
              </a:ext>
            </a:extLst>
          </p:cNvPr>
          <p:cNvSpPr/>
          <p:nvPr/>
        </p:nvSpPr>
        <p:spPr bwMode="auto">
          <a:xfrm>
            <a:off x="7551620" y="3060378"/>
            <a:ext cx="190498" cy="190216"/>
          </a:xfrm>
          <a:custGeom>
            <a:avLst/>
            <a:gdLst>
              <a:gd name="T0" fmla="*/ 127 w 3392"/>
              <a:gd name="T1" fmla="*/ 2898 h 3392"/>
              <a:gd name="T2" fmla="*/ 473 w 3392"/>
              <a:gd name="T3" fmla="*/ 3248 h 3392"/>
              <a:gd name="T4" fmla="*/ 936 w 3392"/>
              <a:gd name="T5" fmla="*/ 3251 h 3392"/>
              <a:gd name="T6" fmla="*/ 1691 w 3392"/>
              <a:gd name="T7" fmla="*/ 2508 h 3392"/>
              <a:gd name="T8" fmla="*/ 2434 w 3392"/>
              <a:gd name="T9" fmla="*/ 3262 h 3392"/>
              <a:gd name="T10" fmla="*/ 2898 w 3392"/>
              <a:gd name="T11" fmla="*/ 3265 h 3392"/>
              <a:gd name="T12" fmla="*/ 3248 w 3392"/>
              <a:gd name="T13" fmla="*/ 2920 h 3392"/>
              <a:gd name="T14" fmla="*/ 3251 w 3392"/>
              <a:gd name="T15" fmla="*/ 2456 h 3392"/>
              <a:gd name="T16" fmla="*/ 2508 w 3392"/>
              <a:gd name="T17" fmla="*/ 1702 h 3392"/>
              <a:gd name="T18" fmla="*/ 3262 w 3392"/>
              <a:gd name="T19" fmla="*/ 959 h 3392"/>
              <a:gd name="T20" fmla="*/ 3265 w 3392"/>
              <a:gd name="T21" fmla="*/ 495 h 3392"/>
              <a:gd name="T22" fmla="*/ 2920 w 3392"/>
              <a:gd name="T23" fmla="*/ 145 h 3392"/>
              <a:gd name="T24" fmla="*/ 2456 w 3392"/>
              <a:gd name="T25" fmla="*/ 141 h 3392"/>
              <a:gd name="T26" fmla="*/ 1702 w 3392"/>
              <a:gd name="T27" fmla="*/ 885 h 3392"/>
              <a:gd name="T28" fmla="*/ 959 w 3392"/>
              <a:gd name="T29" fmla="*/ 131 h 3392"/>
              <a:gd name="T30" fmla="*/ 495 w 3392"/>
              <a:gd name="T31" fmla="*/ 127 h 3392"/>
              <a:gd name="T32" fmla="*/ 145 w 3392"/>
              <a:gd name="T33" fmla="*/ 473 h 3392"/>
              <a:gd name="T34" fmla="*/ 141 w 3392"/>
              <a:gd name="T35" fmla="*/ 936 h 3392"/>
              <a:gd name="T36" fmla="*/ 885 w 3392"/>
              <a:gd name="T37" fmla="*/ 1690 h 3392"/>
              <a:gd name="T38" fmla="*/ 131 w 3392"/>
              <a:gd name="T39" fmla="*/ 2434 h 3392"/>
              <a:gd name="T40" fmla="*/ 127 w 3392"/>
              <a:gd name="T41" fmla="*/ 2898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392" h="3392">
                <a:moveTo>
                  <a:pt x="127" y="2898"/>
                </a:moveTo>
                <a:lnTo>
                  <a:pt x="473" y="3248"/>
                </a:lnTo>
                <a:cubicBezTo>
                  <a:pt x="600" y="3377"/>
                  <a:pt x="808" y="3378"/>
                  <a:pt x="936" y="3251"/>
                </a:cubicBezTo>
                <a:lnTo>
                  <a:pt x="1691" y="2508"/>
                </a:lnTo>
                <a:lnTo>
                  <a:pt x="2434" y="3262"/>
                </a:lnTo>
                <a:cubicBezTo>
                  <a:pt x="2561" y="3391"/>
                  <a:pt x="2769" y="3392"/>
                  <a:pt x="2898" y="3265"/>
                </a:cubicBezTo>
                <a:lnTo>
                  <a:pt x="3248" y="2920"/>
                </a:lnTo>
                <a:cubicBezTo>
                  <a:pt x="3377" y="2793"/>
                  <a:pt x="3378" y="2585"/>
                  <a:pt x="3251" y="2456"/>
                </a:cubicBezTo>
                <a:lnTo>
                  <a:pt x="2508" y="1702"/>
                </a:lnTo>
                <a:lnTo>
                  <a:pt x="3262" y="959"/>
                </a:lnTo>
                <a:cubicBezTo>
                  <a:pt x="3391" y="832"/>
                  <a:pt x="3392" y="624"/>
                  <a:pt x="3265" y="495"/>
                </a:cubicBezTo>
                <a:lnTo>
                  <a:pt x="2920" y="145"/>
                </a:lnTo>
                <a:cubicBezTo>
                  <a:pt x="2793" y="16"/>
                  <a:pt x="2585" y="14"/>
                  <a:pt x="2456" y="141"/>
                </a:cubicBezTo>
                <a:lnTo>
                  <a:pt x="1702" y="885"/>
                </a:lnTo>
                <a:lnTo>
                  <a:pt x="959" y="131"/>
                </a:lnTo>
                <a:cubicBezTo>
                  <a:pt x="832" y="2"/>
                  <a:pt x="624" y="0"/>
                  <a:pt x="495" y="127"/>
                </a:cubicBezTo>
                <a:lnTo>
                  <a:pt x="145" y="473"/>
                </a:lnTo>
                <a:cubicBezTo>
                  <a:pt x="16" y="600"/>
                  <a:pt x="14" y="807"/>
                  <a:pt x="141" y="936"/>
                </a:cubicBezTo>
                <a:lnTo>
                  <a:pt x="885" y="1690"/>
                </a:lnTo>
                <a:lnTo>
                  <a:pt x="131" y="2434"/>
                </a:lnTo>
                <a:cubicBezTo>
                  <a:pt x="2" y="2561"/>
                  <a:pt x="0" y="2769"/>
                  <a:pt x="127" y="28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5" name="任意多边形: 形状 84">
            <a:extLst>
              <a:ext uri="{FF2B5EF4-FFF2-40B4-BE49-F238E27FC236}">
                <a16:creationId xmlns:a16="http://schemas.microsoft.com/office/drawing/2014/main" id="{321D8341-915B-4447-95F5-C788EBAD92DB}"/>
              </a:ext>
            </a:extLst>
          </p:cNvPr>
          <p:cNvSpPr/>
          <p:nvPr/>
        </p:nvSpPr>
        <p:spPr bwMode="auto">
          <a:xfrm>
            <a:off x="6312008" y="3559794"/>
            <a:ext cx="190498" cy="190216"/>
          </a:xfrm>
          <a:custGeom>
            <a:avLst/>
            <a:gdLst>
              <a:gd name="T0" fmla="*/ 127 w 3392"/>
              <a:gd name="T1" fmla="*/ 2898 h 3392"/>
              <a:gd name="T2" fmla="*/ 473 w 3392"/>
              <a:gd name="T3" fmla="*/ 3248 h 3392"/>
              <a:gd name="T4" fmla="*/ 936 w 3392"/>
              <a:gd name="T5" fmla="*/ 3251 h 3392"/>
              <a:gd name="T6" fmla="*/ 1691 w 3392"/>
              <a:gd name="T7" fmla="*/ 2508 h 3392"/>
              <a:gd name="T8" fmla="*/ 2434 w 3392"/>
              <a:gd name="T9" fmla="*/ 3262 h 3392"/>
              <a:gd name="T10" fmla="*/ 2898 w 3392"/>
              <a:gd name="T11" fmla="*/ 3265 h 3392"/>
              <a:gd name="T12" fmla="*/ 3248 w 3392"/>
              <a:gd name="T13" fmla="*/ 2920 h 3392"/>
              <a:gd name="T14" fmla="*/ 3251 w 3392"/>
              <a:gd name="T15" fmla="*/ 2456 h 3392"/>
              <a:gd name="T16" fmla="*/ 2508 w 3392"/>
              <a:gd name="T17" fmla="*/ 1702 h 3392"/>
              <a:gd name="T18" fmla="*/ 3262 w 3392"/>
              <a:gd name="T19" fmla="*/ 959 h 3392"/>
              <a:gd name="T20" fmla="*/ 3265 w 3392"/>
              <a:gd name="T21" fmla="*/ 495 h 3392"/>
              <a:gd name="T22" fmla="*/ 2920 w 3392"/>
              <a:gd name="T23" fmla="*/ 145 h 3392"/>
              <a:gd name="T24" fmla="*/ 2456 w 3392"/>
              <a:gd name="T25" fmla="*/ 141 h 3392"/>
              <a:gd name="T26" fmla="*/ 1702 w 3392"/>
              <a:gd name="T27" fmla="*/ 885 h 3392"/>
              <a:gd name="T28" fmla="*/ 959 w 3392"/>
              <a:gd name="T29" fmla="*/ 131 h 3392"/>
              <a:gd name="T30" fmla="*/ 495 w 3392"/>
              <a:gd name="T31" fmla="*/ 127 h 3392"/>
              <a:gd name="T32" fmla="*/ 145 w 3392"/>
              <a:gd name="T33" fmla="*/ 473 h 3392"/>
              <a:gd name="T34" fmla="*/ 141 w 3392"/>
              <a:gd name="T35" fmla="*/ 936 h 3392"/>
              <a:gd name="T36" fmla="*/ 885 w 3392"/>
              <a:gd name="T37" fmla="*/ 1690 h 3392"/>
              <a:gd name="T38" fmla="*/ 131 w 3392"/>
              <a:gd name="T39" fmla="*/ 2434 h 3392"/>
              <a:gd name="T40" fmla="*/ 127 w 3392"/>
              <a:gd name="T41" fmla="*/ 2898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392" h="3392">
                <a:moveTo>
                  <a:pt x="127" y="2898"/>
                </a:moveTo>
                <a:lnTo>
                  <a:pt x="473" y="3248"/>
                </a:lnTo>
                <a:cubicBezTo>
                  <a:pt x="600" y="3377"/>
                  <a:pt x="808" y="3378"/>
                  <a:pt x="936" y="3251"/>
                </a:cubicBezTo>
                <a:lnTo>
                  <a:pt x="1691" y="2508"/>
                </a:lnTo>
                <a:lnTo>
                  <a:pt x="2434" y="3262"/>
                </a:lnTo>
                <a:cubicBezTo>
                  <a:pt x="2561" y="3391"/>
                  <a:pt x="2769" y="3392"/>
                  <a:pt x="2898" y="3265"/>
                </a:cubicBezTo>
                <a:lnTo>
                  <a:pt x="3248" y="2920"/>
                </a:lnTo>
                <a:cubicBezTo>
                  <a:pt x="3377" y="2793"/>
                  <a:pt x="3378" y="2585"/>
                  <a:pt x="3251" y="2456"/>
                </a:cubicBezTo>
                <a:lnTo>
                  <a:pt x="2508" y="1702"/>
                </a:lnTo>
                <a:lnTo>
                  <a:pt x="3262" y="959"/>
                </a:lnTo>
                <a:cubicBezTo>
                  <a:pt x="3391" y="832"/>
                  <a:pt x="3392" y="624"/>
                  <a:pt x="3265" y="495"/>
                </a:cubicBezTo>
                <a:lnTo>
                  <a:pt x="2920" y="145"/>
                </a:lnTo>
                <a:cubicBezTo>
                  <a:pt x="2793" y="16"/>
                  <a:pt x="2585" y="14"/>
                  <a:pt x="2456" y="141"/>
                </a:cubicBezTo>
                <a:lnTo>
                  <a:pt x="1702" y="885"/>
                </a:lnTo>
                <a:lnTo>
                  <a:pt x="959" y="131"/>
                </a:lnTo>
                <a:cubicBezTo>
                  <a:pt x="832" y="2"/>
                  <a:pt x="624" y="0"/>
                  <a:pt x="495" y="127"/>
                </a:cubicBezTo>
                <a:lnTo>
                  <a:pt x="145" y="473"/>
                </a:lnTo>
                <a:cubicBezTo>
                  <a:pt x="16" y="600"/>
                  <a:pt x="14" y="807"/>
                  <a:pt x="141" y="936"/>
                </a:cubicBezTo>
                <a:lnTo>
                  <a:pt x="885" y="1690"/>
                </a:lnTo>
                <a:lnTo>
                  <a:pt x="131" y="2434"/>
                </a:lnTo>
                <a:cubicBezTo>
                  <a:pt x="2" y="2561"/>
                  <a:pt x="0" y="2769"/>
                  <a:pt x="127" y="28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6" name="任意多边形: 形状 85">
            <a:extLst>
              <a:ext uri="{FF2B5EF4-FFF2-40B4-BE49-F238E27FC236}">
                <a16:creationId xmlns:a16="http://schemas.microsoft.com/office/drawing/2014/main" id="{869258E6-96D8-407C-B2D3-C52AD8AE4E6A}"/>
              </a:ext>
            </a:extLst>
          </p:cNvPr>
          <p:cNvSpPr/>
          <p:nvPr/>
        </p:nvSpPr>
        <p:spPr bwMode="auto">
          <a:xfrm>
            <a:off x="9720480" y="4001584"/>
            <a:ext cx="190498" cy="190216"/>
          </a:xfrm>
          <a:custGeom>
            <a:avLst/>
            <a:gdLst>
              <a:gd name="T0" fmla="*/ 127 w 3392"/>
              <a:gd name="T1" fmla="*/ 2898 h 3392"/>
              <a:gd name="T2" fmla="*/ 473 w 3392"/>
              <a:gd name="T3" fmla="*/ 3248 h 3392"/>
              <a:gd name="T4" fmla="*/ 936 w 3392"/>
              <a:gd name="T5" fmla="*/ 3251 h 3392"/>
              <a:gd name="T6" fmla="*/ 1691 w 3392"/>
              <a:gd name="T7" fmla="*/ 2508 h 3392"/>
              <a:gd name="T8" fmla="*/ 2434 w 3392"/>
              <a:gd name="T9" fmla="*/ 3262 h 3392"/>
              <a:gd name="T10" fmla="*/ 2898 w 3392"/>
              <a:gd name="T11" fmla="*/ 3265 h 3392"/>
              <a:gd name="T12" fmla="*/ 3248 w 3392"/>
              <a:gd name="T13" fmla="*/ 2920 h 3392"/>
              <a:gd name="T14" fmla="*/ 3251 w 3392"/>
              <a:gd name="T15" fmla="*/ 2456 h 3392"/>
              <a:gd name="T16" fmla="*/ 2508 w 3392"/>
              <a:gd name="T17" fmla="*/ 1702 h 3392"/>
              <a:gd name="T18" fmla="*/ 3262 w 3392"/>
              <a:gd name="T19" fmla="*/ 959 h 3392"/>
              <a:gd name="T20" fmla="*/ 3265 w 3392"/>
              <a:gd name="T21" fmla="*/ 495 h 3392"/>
              <a:gd name="T22" fmla="*/ 2920 w 3392"/>
              <a:gd name="T23" fmla="*/ 145 h 3392"/>
              <a:gd name="T24" fmla="*/ 2456 w 3392"/>
              <a:gd name="T25" fmla="*/ 141 h 3392"/>
              <a:gd name="T26" fmla="*/ 1702 w 3392"/>
              <a:gd name="T27" fmla="*/ 885 h 3392"/>
              <a:gd name="T28" fmla="*/ 959 w 3392"/>
              <a:gd name="T29" fmla="*/ 131 h 3392"/>
              <a:gd name="T30" fmla="*/ 495 w 3392"/>
              <a:gd name="T31" fmla="*/ 127 h 3392"/>
              <a:gd name="T32" fmla="*/ 145 w 3392"/>
              <a:gd name="T33" fmla="*/ 473 h 3392"/>
              <a:gd name="T34" fmla="*/ 141 w 3392"/>
              <a:gd name="T35" fmla="*/ 936 h 3392"/>
              <a:gd name="T36" fmla="*/ 885 w 3392"/>
              <a:gd name="T37" fmla="*/ 1690 h 3392"/>
              <a:gd name="T38" fmla="*/ 131 w 3392"/>
              <a:gd name="T39" fmla="*/ 2434 h 3392"/>
              <a:gd name="T40" fmla="*/ 127 w 3392"/>
              <a:gd name="T41" fmla="*/ 2898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392" h="3392">
                <a:moveTo>
                  <a:pt x="127" y="2898"/>
                </a:moveTo>
                <a:lnTo>
                  <a:pt x="473" y="3248"/>
                </a:lnTo>
                <a:cubicBezTo>
                  <a:pt x="600" y="3377"/>
                  <a:pt x="808" y="3378"/>
                  <a:pt x="936" y="3251"/>
                </a:cubicBezTo>
                <a:lnTo>
                  <a:pt x="1691" y="2508"/>
                </a:lnTo>
                <a:lnTo>
                  <a:pt x="2434" y="3262"/>
                </a:lnTo>
                <a:cubicBezTo>
                  <a:pt x="2561" y="3391"/>
                  <a:pt x="2769" y="3392"/>
                  <a:pt x="2898" y="3265"/>
                </a:cubicBezTo>
                <a:lnTo>
                  <a:pt x="3248" y="2920"/>
                </a:lnTo>
                <a:cubicBezTo>
                  <a:pt x="3377" y="2793"/>
                  <a:pt x="3378" y="2585"/>
                  <a:pt x="3251" y="2456"/>
                </a:cubicBezTo>
                <a:lnTo>
                  <a:pt x="2508" y="1702"/>
                </a:lnTo>
                <a:lnTo>
                  <a:pt x="3262" y="959"/>
                </a:lnTo>
                <a:cubicBezTo>
                  <a:pt x="3391" y="832"/>
                  <a:pt x="3392" y="624"/>
                  <a:pt x="3265" y="495"/>
                </a:cubicBezTo>
                <a:lnTo>
                  <a:pt x="2920" y="145"/>
                </a:lnTo>
                <a:cubicBezTo>
                  <a:pt x="2793" y="16"/>
                  <a:pt x="2585" y="14"/>
                  <a:pt x="2456" y="141"/>
                </a:cubicBezTo>
                <a:lnTo>
                  <a:pt x="1702" y="885"/>
                </a:lnTo>
                <a:lnTo>
                  <a:pt x="959" y="131"/>
                </a:lnTo>
                <a:cubicBezTo>
                  <a:pt x="832" y="2"/>
                  <a:pt x="624" y="0"/>
                  <a:pt x="495" y="127"/>
                </a:cubicBezTo>
                <a:lnTo>
                  <a:pt x="145" y="473"/>
                </a:lnTo>
                <a:cubicBezTo>
                  <a:pt x="16" y="600"/>
                  <a:pt x="14" y="807"/>
                  <a:pt x="141" y="936"/>
                </a:cubicBezTo>
                <a:lnTo>
                  <a:pt x="885" y="1690"/>
                </a:lnTo>
                <a:lnTo>
                  <a:pt x="131" y="2434"/>
                </a:lnTo>
                <a:cubicBezTo>
                  <a:pt x="2" y="2561"/>
                  <a:pt x="0" y="2769"/>
                  <a:pt x="127" y="28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7" name="任意多边形: 形状 86">
            <a:extLst>
              <a:ext uri="{FF2B5EF4-FFF2-40B4-BE49-F238E27FC236}">
                <a16:creationId xmlns:a16="http://schemas.microsoft.com/office/drawing/2014/main" id="{ABD4412C-27A0-4415-AFF7-718739F4826D}"/>
              </a:ext>
            </a:extLst>
          </p:cNvPr>
          <p:cNvSpPr/>
          <p:nvPr/>
        </p:nvSpPr>
        <p:spPr bwMode="auto">
          <a:xfrm>
            <a:off x="7551620" y="4482488"/>
            <a:ext cx="190498" cy="190216"/>
          </a:xfrm>
          <a:custGeom>
            <a:avLst/>
            <a:gdLst>
              <a:gd name="T0" fmla="*/ 127 w 3392"/>
              <a:gd name="T1" fmla="*/ 2898 h 3392"/>
              <a:gd name="T2" fmla="*/ 473 w 3392"/>
              <a:gd name="T3" fmla="*/ 3248 h 3392"/>
              <a:gd name="T4" fmla="*/ 936 w 3392"/>
              <a:gd name="T5" fmla="*/ 3251 h 3392"/>
              <a:gd name="T6" fmla="*/ 1691 w 3392"/>
              <a:gd name="T7" fmla="*/ 2508 h 3392"/>
              <a:gd name="T8" fmla="*/ 2434 w 3392"/>
              <a:gd name="T9" fmla="*/ 3262 h 3392"/>
              <a:gd name="T10" fmla="*/ 2898 w 3392"/>
              <a:gd name="T11" fmla="*/ 3265 h 3392"/>
              <a:gd name="T12" fmla="*/ 3248 w 3392"/>
              <a:gd name="T13" fmla="*/ 2920 h 3392"/>
              <a:gd name="T14" fmla="*/ 3251 w 3392"/>
              <a:gd name="T15" fmla="*/ 2456 h 3392"/>
              <a:gd name="T16" fmla="*/ 2508 w 3392"/>
              <a:gd name="T17" fmla="*/ 1702 h 3392"/>
              <a:gd name="T18" fmla="*/ 3262 w 3392"/>
              <a:gd name="T19" fmla="*/ 959 h 3392"/>
              <a:gd name="T20" fmla="*/ 3265 w 3392"/>
              <a:gd name="T21" fmla="*/ 495 h 3392"/>
              <a:gd name="T22" fmla="*/ 2920 w 3392"/>
              <a:gd name="T23" fmla="*/ 145 h 3392"/>
              <a:gd name="T24" fmla="*/ 2456 w 3392"/>
              <a:gd name="T25" fmla="*/ 141 h 3392"/>
              <a:gd name="T26" fmla="*/ 1702 w 3392"/>
              <a:gd name="T27" fmla="*/ 885 h 3392"/>
              <a:gd name="T28" fmla="*/ 959 w 3392"/>
              <a:gd name="T29" fmla="*/ 131 h 3392"/>
              <a:gd name="T30" fmla="*/ 495 w 3392"/>
              <a:gd name="T31" fmla="*/ 127 h 3392"/>
              <a:gd name="T32" fmla="*/ 145 w 3392"/>
              <a:gd name="T33" fmla="*/ 473 h 3392"/>
              <a:gd name="T34" fmla="*/ 141 w 3392"/>
              <a:gd name="T35" fmla="*/ 936 h 3392"/>
              <a:gd name="T36" fmla="*/ 885 w 3392"/>
              <a:gd name="T37" fmla="*/ 1690 h 3392"/>
              <a:gd name="T38" fmla="*/ 131 w 3392"/>
              <a:gd name="T39" fmla="*/ 2434 h 3392"/>
              <a:gd name="T40" fmla="*/ 127 w 3392"/>
              <a:gd name="T41" fmla="*/ 2898 h 33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392" h="3392">
                <a:moveTo>
                  <a:pt x="127" y="2898"/>
                </a:moveTo>
                <a:lnTo>
                  <a:pt x="473" y="3248"/>
                </a:lnTo>
                <a:cubicBezTo>
                  <a:pt x="600" y="3377"/>
                  <a:pt x="808" y="3378"/>
                  <a:pt x="936" y="3251"/>
                </a:cubicBezTo>
                <a:lnTo>
                  <a:pt x="1691" y="2508"/>
                </a:lnTo>
                <a:lnTo>
                  <a:pt x="2434" y="3262"/>
                </a:lnTo>
                <a:cubicBezTo>
                  <a:pt x="2561" y="3391"/>
                  <a:pt x="2769" y="3392"/>
                  <a:pt x="2898" y="3265"/>
                </a:cubicBezTo>
                <a:lnTo>
                  <a:pt x="3248" y="2920"/>
                </a:lnTo>
                <a:cubicBezTo>
                  <a:pt x="3377" y="2793"/>
                  <a:pt x="3378" y="2585"/>
                  <a:pt x="3251" y="2456"/>
                </a:cubicBezTo>
                <a:lnTo>
                  <a:pt x="2508" y="1702"/>
                </a:lnTo>
                <a:lnTo>
                  <a:pt x="3262" y="959"/>
                </a:lnTo>
                <a:cubicBezTo>
                  <a:pt x="3391" y="832"/>
                  <a:pt x="3392" y="624"/>
                  <a:pt x="3265" y="495"/>
                </a:cubicBezTo>
                <a:lnTo>
                  <a:pt x="2920" y="145"/>
                </a:lnTo>
                <a:cubicBezTo>
                  <a:pt x="2793" y="16"/>
                  <a:pt x="2585" y="14"/>
                  <a:pt x="2456" y="141"/>
                </a:cubicBezTo>
                <a:lnTo>
                  <a:pt x="1702" y="885"/>
                </a:lnTo>
                <a:lnTo>
                  <a:pt x="959" y="131"/>
                </a:lnTo>
                <a:cubicBezTo>
                  <a:pt x="832" y="2"/>
                  <a:pt x="624" y="0"/>
                  <a:pt x="495" y="127"/>
                </a:cubicBezTo>
                <a:lnTo>
                  <a:pt x="145" y="473"/>
                </a:lnTo>
                <a:cubicBezTo>
                  <a:pt x="16" y="600"/>
                  <a:pt x="14" y="807"/>
                  <a:pt x="141" y="936"/>
                </a:cubicBezTo>
                <a:lnTo>
                  <a:pt x="885" y="1690"/>
                </a:lnTo>
                <a:lnTo>
                  <a:pt x="131" y="2434"/>
                </a:lnTo>
                <a:cubicBezTo>
                  <a:pt x="2" y="2561"/>
                  <a:pt x="0" y="2769"/>
                  <a:pt x="127" y="289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87E254B8-FD84-42E0-9D90-702606097C2D}"/>
              </a:ext>
            </a:extLst>
          </p:cNvPr>
          <p:cNvSpPr/>
          <p:nvPr/>
        </p:nvSpPr>
        <p:spPr bwMode="auto">
          <a:xfrm>
            <a:off x="673101" y="5370704"/>
            <a:ext cx="2307021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E3BA8487-E8D8-46B5-B4AE-C5D72607C511}"/>
              </a:ext>
            </a:extLst>
          </p:cNvPr>
          <p:cNvSpPr txBox="1"/>
          <p:nvPr/>
        </p:nvSpPr>
        <p:spPr bwMode="auto">
          <a:xfrm>
            <a:off x="673100" y="5001262"/>
            <a:ext cx="2307021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15609F4F-1E15-48FB-94C6-0B5B3D0C906A}"/>
              </a:ext>
            </a:extLst>
          </p:cNvPr>
          <p:cNvSpPr/>
          <p:nvPr/>
        </p:nvSpPr>
        <p:spPr bwMode="auto">
          <a:xfrm>
            <a:off x="3519360" y="5370704"/>
            <a:ext cx="2307021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F473E543-22A9-4AC5-B222-97FC1145A281}"/>
              </a:ext>
            </a:extLst>
          </p:cNvPr>
          <p:cNvSpPr txBox="1"/>
          <p:nvPr/>
        </p:nvSpPr>
        <p:spPr bwMode="auto">
          <a:xfrm>
            <a:off x="3519359" y="5001262"/>
            <a:ext cx="2307021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FAB6E1D7-5CAD-4CCB-B578-260697E9247B}"/>
              </a:ext>
            </a:extLst>
          </p:cNvPr>
          <p:cNvSpPr/>
          <p:nvPr/>
        </p:nvSpPr>
        <p:spPr bwMode="auto">
          <a:xfrm>
            <a:off x="6365619" y="5370704"/>
            <a:ext cx="2307021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3237D0E5-B6D0-4806-ABEF-089353918DAC}"/>
              </a:ext>
            </a:extLst>
          </p:cNvPr>
          <p:cNvSpPr txBox="1"/>
          <p:nvPr/>
        </p:nvSpPr>
        <p:spPr bwMode="auto">
          <a:xfrm>
            <a:off x="6365618" y="5001262"/>
            <a:ext cx="2307021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92" name="矩形 91">
            <a:extLst>
              <a:ext uri="{FF2B5EF4-FFF2-40B4-BE49-F238E27FC236}">
                <a16:creationId xmlns:a16="http://schemas.microsoft.com/office/drawing/2014/main" id="{866C8C3D-4C78-47B2-B473-230E5F5F7FD3}"/>
              </a:ext>
            </a:extLst>
          </p:cNvPr>
          <p:cNvSpPr/>
          <p:nvPr/>
        </p:nvSpPr>
        <p:spPr bwMode="auto">
          <a:xfrm>
            <a:off x="9211879" y="5370704"/>
            <a:ext cx="2307021" cy="776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3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71082050-3577-43C7-A591-370E1EF12410}"/>
              </a:ext>
            </a:extLst>
          </p:cNvPr>
          <p:cNvSpPr txBox="1"/>
          <p:nvPr/>
        </p:nvSpPr>
        <p:spPr bwMode="auto">
          <a:xfrm>
            <a:off x="9211878" y="5001262"/>
            <a:ext cx="2307021" cy="36944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279075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6" name="组合 45">
            <a:extLst>
              <a:ext uri="{FF2B5EF4-FFF2-40B4-BE49-F238E27FC236}">
                <a16:creationId xmlns:a16="http://schemas.microsoft.com/office/drawing/2014/main" id="{C6224980-1089-46D4-B3EB-459D501FE7D7}"/>
              </a:ext>
            </a:extLst>
          </p:cNvPr>
          <p:cNvGrpSpPr/>
          <p:nvPr/>
        </p:nvGrpSpPr>
        <p:grpSpPr>
          <a:xfrm>
            <a:off x="721968" y="1842853"/>
            <a:ext cx="2327854" cy="3637837"/>
            <a:chOff x="671512" y="1472806"/>
            <a:chExt cx="2552122" cy="3988310"/>
          </a:xfrm>
        </p:grpSpPr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EBC19A05-0850-4333-B085-0E8469CECB4D}"/>
                </a:ext>
              </a:extLst>
            </p:cNvPr>
            <p:cNvSpPr/>
            <p:nvPr/>
          </p:nvSpPr>
          <p:spPr bwMode="auto">
            <a:xfrm>
              <a:off x="677150" y="2920272"/>
              <a:ext cx="2540844" cy="2540844"/>
            </a:xfrm>
            <a:custGeom>
              <a:avLst/>
              <a:gdLst>
                <a:gd name="connsiteX0" fmla="*/ 846190 w 1692380"/>
                <a:gd name="connsiteY0" fmla="*/ 0 h 1692380"/>
                <a:gd name="connsiteX1" fmla="*/ 846191 w 1692380"/>
                <a:gd name="connsiteY1" fmla="*/ 0 h 1692380"/>
                <a:gd name="connsiteX2" fmla="*/ 759673 w 1692380"/>
                <a:gd name="connsiteY2" fmla="*/ 4369 h 1692380"/>
                <a:gd name="connsiteX3" fmla="*/ 247844 w 1692380"/>
                <a:gd name="connsiteY3" fmla="*/ 247843 h 1692380"/>
                <a:gd name="connsiteX4" fmla="*/ 151897 w 1692380"/>
                <a:gd name="connsiteY4" fmla="*/ 364133 h 1692380"/>
                <a:gd name="connsiteX5" fmla="*/ 247844 w 1692380"/>
                <a:gd name="connsiteY5" fmla="*/ 480423 h 1692380"/>
                <a:gd name="connsiteX6" fmla="*/ 846191 w 1692380"/>
                <a:gd name="connsiteY6" fmla="*/ 728266 h 1692380"/>
                <a:gd name="connsiteX7" fmla="*/ 1444538 w 1692380"/>
                <a:gd name="connsiteY7" fmla="*/ 480423 h 1692380"/>
                <a:gd name="connsiteX8" fmla="*/ 1540485 w 1692380"/>
                <a:gd name="connsiteY8" fmla="*/ 364134 h 1692380"/>
                <a:gd name="connsiteX9" fmla="*/ 1547864 w 1692380"/>
                <a:gd name="connsiteY9" fmla="*/ 373077 h 1692380"/>
                <a:gd name="connsiteX10" fmla="*/ 1692380 w 1692380"/>
                <a:gd name="connsiteY10" fmla="*/ 846190 h 1692380"/>
                <a:gd name="connsiteX11" fmla="*/ 846190 w 1692380"/>
                <a:gd name="connsiteY11" fmla="*/ 1692380 h 1692380"/>
                <a:gd name="connsiteX12" fmla="*/ 0 w 1692380"/>
                <a:gd name="connsiteY12" fmla="*/ 846190 h 1692380"/>
                <a:gd name="connsiteX13" fmla="*/ 846190 w 1692380"/>
                <a:gd name="connsiteY13" fmla="*/ 0 h 169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2380" h="1692380">
                  <a:moveTo>
                    <a:pt x="846190" y="0"/>
                  </a:moveTo>
                  <a:lnTo>
                    <a:pt x="846191" y="0"/>
                  </a:lnTo>
                  <a:lnTo>
                    <a:pt x="759673" y="4369"/>
                  </a:lnTo>
                  <a:cubicBezTo>
                    <a:pt x="560548" y="24591"/>
                    <a:pt x="381834" y="113854"/>
                    <a:pt x="247844" y="247843"/>
                  </a:cubicBezTo>
                  <a:lnTo>
                    <a:pt x="151897" y="364133"/>
                  </a:lnTo>
                  <a:lnTo>
                    <a:pt x="247844" y="480423"/>
                  </a:lnTo>
                  <a:cubicBezTo>
                    <a:pt x="400975" y="633553"/>
                    <a:pt x="612522" y="728266"/>
                    <a:pt x="846191" y="728266"/>
                  </a:cubicBezTo>
                  <a:cubicBezTo>
                    <a:pt x="1079860" y="728266"/>
                    <a:pt x="1291408" y="633553"/>
                    <a:pt x="1444538" y="480423"/>
                  </a:cubicBezTo>
                  <a:lnTo>
                    <a:pt x="1540485" y="364134"/>
                  </a:lnTo>
                  <a:lnTo>
                    <a:pt x="1547864" y="373077"/>
                  </a:lnTo>
                  <a:cubicBezTo>
                    <a:pt x="1639104" y="508130"/>
                    <a:pt x="1692380" y="670938"/>
                    <a:pt x="1692380" y="846190"/>
                  </a:cubicBezTo>
                  <a:cubicBezTo>
                    <a:pt x="1692380" y="1313528"/>
                    <a:pt x="1313528" y="1692380"/>
                    <a:pt x="846190" y="1692380"/>
                  </a:cubicBezTo>
                  <a:cubicBezTo>
                    <a:pt x="378852" y="1692380"/>
                    <a:pt x="0" y="1313528"/>
                    <a:pt x="0" y="846190"/>
                  </a:cubicBezTo>
                  <a:cubicBezTo>
                    <a:pt x="0" y="378852"/>
                    <a:pt x="378852" y="0"/>
                    <a:pt x="846190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127000" cap="flat">
              <a:solidFill>
                <a:schemeClr val="tx1">
                  <a:alpha val="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<a:solidFill>
                    <a:schemeClr val="tx1">
                      <a:alpha val="89999"/>
                    </a:schemeClr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1pPr>
              <a:lvl2pPr marL="17145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2pPr>
              <a:lvl3pPr marL="34290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3pPr>
              <a:lvl4pPr marL="51435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4pPr>
              <a:lvl5pPr marL="68580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5pPr>
              <a:lvl6pPr marL="85725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6pPr>
              <a:lvl7pPr marL="102870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7pPr>
              <a:lvl8pPr marL="120015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8pPr>
              <a:lvl9pPr marL="137160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9pPr>
            </a:lstStyle>
            <a:p>
              <a:endParaRPr lang="en-US" altLang="zh-CN" sz="2800" b="1" i="1" dirty="0"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F6897EE9-70F4-4565-833C-310BD6765130}"/>
                </a:ext>
              </a:extLst>
            </p:cNvPr>
            <p:cNvSpPr/>
            <p:nvPr/>
          </p:nvSpPr>
          <p:spPr bwMode="auto">
            <a:xfrm>
              <a:off x="677150" y="1472806"/>
              <a:ext cx="2540844" cy="2540844"/>
            </a:xfrm>
            <a:custGeom>
              <a:avLst/>
              <a:gdLst>
                <a:gd name="connsiteX0" fmla="*/ 846190 w 1692380"/>
                <a:gd name="connsiteY0" fmla="*/ 0 h 1692380"/>
                <a:gd name="connsiteX1" fmla="*/ 1692380 w 1692380"/>
                <a:gd name="connsiteY1" fmla="*/ 846190 h 1692380"/>
                <a:gd name="connsiteX2" fmla="*/ 1547864 w 1692380"/>
                <a:gd name="connsiteY2" fmla="*/ 1319303 h 1692380"/>
                <a:gd name="connsiteX3" fmla="*/ 1540485 w 1692380"/>
                <a:gd name="connsiteY3" fmla="*/ 1328246 h 1692380"/>
                <a:gd name="connsiteX4" fmla="*/ 1444538 w 1692380"/>
                <a:gd name="connsiteY4" fmla="*/ 1211957 h 1692380"/>
                <a:gd name="connsiteX5" fmla="*/ 846191 w 1692380"/>
                <a:gd name="connsiteY5" fmla="*/ 964114 h 1692380"/>
                <a:gd name="connsiteX6" fmla="*/ 247844 w 1692380"/>
                <a:gd name="connsiteY6" fmla="*/ 1211957 h 1692380"/>
                <a:gd name="connsiteX7" fmla="*/ 151897 w 1692380"/>
                <a:gd name="connsiteY7" fmla="*/ 1328247 h 1692380"/>
                <a:gd name="connsiteX8" fmla="*/ 247844 w 1692380"/>
                <a:gd name="connsiteY8" fmla="*/ 1444537 h 1692380"/>
                <a:gd name="connsiteX9" fmla="*/ 759673 w 1692380"/>
                <a:gd name="connsiteY9" fmla="*/ 1688011 h 1692380"/>
                <a:gd name="connsiteX10" fmla="*/ 846191 w 1692380"/>
                <a:gd name="connsiteY10" fmla="*/ 1692380 h 1692380"/>
                <a:gd name="connsiteX11" fmla="*/ 846190 w 1692380"/>
                <a:gd name="connsiteY11" fmla="*/ 1692380 h 1692380"/>
                <a:gd name="connsiteX12" fmla="*/ 0 w 1692380"/>
                <a:gd name="connsiteY12" fmla="*/ 846190 h 1692380"/>
                <a:gd name="connsiteX13" fmla="*/ 846190 w 1692380"/>
                <a:gd name="connsiteY13" fmla="*/ 0 h 169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2380" h="1692380">
                  <a:moveTo>
                    <a:pt x="846190" y="0"/>
                  </a:moveTo>
                  <a:cubicBezTo>
                    <a:pt x="1313528" y="0"/>
                    <a:pt x="1692380" y="378852"/>
                    <a:pt x="1692380" y="846190"/>
                  </a:cubicBezTo>
                  <a:cubicBezTo>
                    <a:pt x="1692380" y="1021442"/>
                    <a:pt x="1639104" y="1184250"/>
                    <a:pt x="1547864" y="1319303"/>
                  </a:cubicBezTo>
                  <a:lnTo>
                    <a:pt x="1540485" y="1328246"/>
                  </a:lnTo>
                  <a:lnTo>
                    <a:pt x="1444538" y="1211957"/>
                  </a:lnTo>
                  <a:cubicBezTo>
                    <a:pt x="1291408" y="1058827"/>
                    <a:pt x="1079860" y="964114"/>
                    <a:pt x="846191" y="964114"/>
                  </a:cubicBezTo>
                  <a:cubicBezTo>
                    <a:pt x="612522" y="964114"/>
                    <a:pt x="400975" y="1058827"/>
                    <a:pt x="247844" y="1211957"/>
                  </a:cubicBezTo>
                  <a:lnTo>
                    <a:pt x="151897" y="1328247"/>
                  </a:lnTo>
                  <a:lnTo>
                    <a:pt x="247844" y="1444537"/>
                  </a:lnTo>
                  <a:cubicBezTo>
                    <a:pt x="381834" y="1578526"/>
                    <a:pt x="560548" y="1667789"/>
                    <a:pt x="759673" y="1688011"/>
                  </a:cubicBezTo>
                  <a:lnTo>
                    <a:pt x="846191" y="1692380"/>
                  </a:lnTo>
                  <a:lnTo>
                    <a:pt x="846190" y="1692380"/>
                  </a:lnTo>
                  <a:cubicBezTo>
                    <a:pt x="378852" y="1692380"/>
                    <a:pt x="0" y="1313528"/>
                    <a:pt x="0" y="846190"/>
                  </a:cubicBezTo>
                  <a:cubicBezTo>
                    <a:pt x="0" y="378852"/>
                    <a:pt x="378852" y="0"/>
                    <a:pt x="846190" y="0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60000"/>
              </a:schemeClr>
            </a:solidFill>
            <a:ln w="127000" cap="flat">
              <a:solidFill>
                <a:schemeClr val="tx1">
                  <a:alpha val="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:lc="http://schemas.openxmlformats.org/drawingml/2006/lockedCanvas" xmlns="" w="25400" cap="flat">
                  <a:solidFill>
                    <a:schemeClr val="tx1">
                      <a:alpha val="89999"/>
                    </a:schemeClr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en-US"/>
              </a:defPPr>
              <a:lvl1pPr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1pPr>
              <a:lvl2pPr marL="17145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2pPr>
              <a:lvl3pPr marL="34290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3pPr>
              <a:lvl4pPr marL="51435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4pPr>
              <a:lvl5pPr marL="685800" algn="ctr" rtl="0" fontAlgn="base">
                <a:spcBef>
                  <a:spcPct val="0"/>
                </a:spcBef>
                <a:spcAft>
                  <a:spcPct val="0"/>
                </a:spcAft>
                <a:defRPr sz="2100" kern="1200">
                  <a:solidFill>
                    <a:srgbClr val="000000"/>
                  </a:solidFill>
                </a:defRPr>
              </a:lvl5pPr>
              <a:lvl6pPr marL="85725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6pPr>
              <a:lvl7pPr marL="102870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7pPr>
              <a:lvl8pPr marL="120015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8pPr>
              <a:lvl9pPr marL="1371600" algn="l" defTabSz="171450" rtl="0" eaLnBrk="1" latinLnBrk="0" hangingPunct="1">
                <a:defRPr sz="2100" kern="1200">
                  <a:solidFill>
                    <a:srgbClr val="000000"/>
                  </a:solidFill>
                </a:defRPr>
              </a:lvl9pPr>
            </a:lstStyle>
            <a:p>
              <a:endParaRPr lang="en-US" sz="28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80" name="矩形 79">
              <a:extLst>
                <a:ext uri="{FF2B5EF4-FFF2-40B4-BE49-F238E27FC236}">
                  <a16:creationId xmlns:a16="http://schemas.microsoft.com/office/drawing/2014/main" id="{58FD4429-4556-4E30-B47B-966F11E11A22}"/>
                </a:ext>
              </a:extLst>
            </p:cNvPr>
            <p:cNvSpPr/>
            <p:nvPr/>
          </p:nvSpPr>
          <p:spPr bwMode="auto">
            <a:xfrm>
              <a:off x="671512" y="3075615"/>
              <a:ext cx="2552122" cy="843470"/>
            </a:xfrm>
            <a:prstGeom prst="rect">
              <a:avLst/>
            </a:prstGeom>
            <a:noFill/>
            <a:ln w="3175">
              <a:noFill/>
              <a:headEnd type="oval" w="med" len="med"/>
              <a:tailEnd type="oval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i="1" dirty="0">
                  <a:solidFill>
                    <a:schemeClr val="accent1"/>
                  </a:solidFill>
                  <a:cs typeface="+mn-ea"/>
                  <a:sym typeface="+mn-lt"/>
                </a:rPr>
                <a:t>Text</a:t>
              </a:r>
              <a:endParaRPr lang="en-US" sz="2000" b="1" i="1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21C2CA8D-817A-4AA7-AA10-2639E661F0F6}"/>
              </a:ext>
            </a:extLst>
          </p:cNvPr>
          <p:cNvSpPr/>
          <p:nvPr/>
        </p:nvSpPr>
        <p:spPr bwMode="auto">
          <a:xfrm>
            <a:off x="11100974" y="1383959"/>
            <a:ext cx="376028" cy="355758"/>
          </a:xfrm>
          <a:custGeom>
            <a:avLst/>
            <a:gdLst>
              <a:gd name="connsiteX0" fmla="*/ 410803 w 536437"/>
              <a:gd name="connsiteY0" fmla="*/ 418778 h 507519"/>
              <a:gd name="connsiteX1" fmla="*/ 364937 w 536437"/>
              <a:gd name="connsiteY1" fmla="*/ 425758 h 507519"/>
              <a:gd name="connsiteX2" fmla="*/ 364937 w 536437"/>
              <a:gd name="connsiteY2" fmla="*/ 452679 h 507519"/>
              <a:gd name="connsiteX3" fmla="*/ 457667 w 536437"/>
              <a:gd name="connsiteY3" fmla="*/ 452679 h 507519"/>
              <a:gd name="connsiteX4" fmla="*/ 457667 w 536437"/>
              <a:gd name="connsiteY4" fmla="*/ 425758 h 507519"/>
              <a:gd name="connsiteX5" fmla="*/ 203408 w 536437"/>
              <a:gd name="connsiteY5" fmla="*/ 297133 h 507519"/>
              <a:gd name="connsiteX6" fmla="*/ 238306 w 536437"/>
              <a:gd name="connsiteY6" fmla="*/ 457665 h 507519"/>
              <a:gd name="connsiteX7" fmla="*/ 260242 w 536437"/>
              <a:gd name="connsiteY7" fmla="*/ 330037 h 507519"/>
              <a:gd name="connsiteX8" fmla="*/ 250271 w 536437"/>
              <a:gd name="connsiteY8" fmla="*/ 321063 h 507519"/>
              <a:gd name="connsiteX9" fmla="*/ 234318 w 536437"/>
              <a:gd name="connsiteY9" fmla="*/ 302119 h 507519"/>
              <a:gd name="connsiteX10" fmla="*/ 303117 w 536437"/>
              <a:gd name="connsiteY10" fmla="*/ 302119 h 507519"/>
              <a:gd name="connsiteX11" fmla="*/ 286166 w 536437"/>
              <a:gd name="connsiteY11" fmla="*/ 321063 h 507519"/>
              <a:gd name="connsiteX12" fmla="*/ 277193 w 536437"/>
              <a:gd name="connsiteY12" fmla="*/ 330037 h 507519"/>
              <a:gd name="connsiteX13" fmla="*/ 298132 w 536437"/>
              <a:gd name="connsiteY13" fmla="*/ 457665 h 507519"/>
              <a:gd name="connsiteX14" fmla="*/ 334027 w 536437"/>
              <a:gd name="connsiteY14" fmla="*/ 297133 h 507519"/>
              <a:gd name="connsiteX15" fmla="*/ 515498 w 536437"/>
              <a:gd name="connsiteY15" fmla="*/ 353967 h 507519"/>
              <a:gd name="connsiteX16" fmla="*/ 536437 w 536437"/>
              <a:gd name="connsiteY16" fmla="*/ 507519 h 507519"/>
              <a:gd name="connsiteX17" fmla="*/ 0 w 536437"/>
              <a:gd name="connsiteY17" fmla="*/ 507519 h 507519"/>
              <a:gd name="connsiteX18" fmla="*/ 19942 w 536437"/>
              <a:gd name="connsiteY18" fmla="*/ 353967 h 507519"/>
              <a:gd name="connsiteX19" fmla="*/ 268717 w 536437"/>
              <a:gd name="connsiteY19" fmla="*/ 0 h 507519"/>
              <a:gd name="connsiteX20" fmla="*/ 388867 w 536437"/>
              <a:gd name="connsiteY20" fmla="*/ 134109 h 507519"/>
              <a:gd name="connsiteX21" fmla="*/ 268717 w 536437"/>
              <a:gd name="connsiteY21" fmla="*/ 268218 h 507519"/>
              <a:gd name="connsiteX22" fmla="*/ 148567 w 536437"/>
              <a:gd name="connsiteY22" fmla="*/ 134109 h 507519"/>
              <a:gd name="connsiteX23" fmla="*/ 268717 w 536437"/>
              <a:gd name="connsiteY23" fmla="*/ 0 h 507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36437" h="507519">
                <a:moveTo>
                  <a:pt x="410803" y="418778"/>
                </a:moveTo>
                <a:lnTo>
                  <a:pt x="364937" y="425758"/>
                </a:lnTo>
                <a:lnTo>
                  <a:pt x="364937" y="452679"/>
                </a:lnTo>
                <a:lnTo>
                  <a:pt x="457667" y="452679"/>
                </a:lnTo>
                <a:lnTo>
                  <a:pt x="457667" y="425758"/>
                </a:lnTo>
                <a:close/>
                <a:moveTo>
                  <a:pt x="203408" y="297133"/>
                </a:moveTo>
                <a:lnTo>
                  <a:pt x="238306" y="457665"/>
                </a:lnTo>
                <a:lnTo>
                  <a:pt x="260242" y="330037"/>
                </a:lnTo>
                <a:lnTo>
                  <a:pt x="250271" y="321063"/>
                </a:lnTo>
                <a:lnTo>
                  <a:pt x="234318" y="302119"/>
                </a:lnTo>
                <a:lnTo>
                  <a:pt x="303117" y="302119"/>
                </a:lnTo>
                <a:lnTo>
                  <a:pt x="286166" y="321063"/>
                </a:lnTo>
                <a:lnTo>
                  <a:pt x="277193" y="330037"/>
                </a:lnTo>
                <a:lnTo>
                  <a:pt x="298132" y="457665"/>
                </a:lnTo>
                <a:lnTo>
                  <a:pt x="334027" y="297133"/>
                </a:lnTo>
                <a:lnTo>
                  <a:pt x="515498" y="353967"/>
                </a:lnTo>
                <a:lnTo>
                  <a:pt x="536437" y="507519"/>
                </a:lnTo>
                <a:lnTo>
                  <a:pt x="0" y="507519"/>
                </a:lnTo>
                <a:lnTo>
                  <a:pt x="19942" y="353967"/>
                </a:lnTo>
                <a:close/>
                <a:moveTo>
                  <a:pt x="268717" y="0"/>
                </a:moveTo>
                <a:cubicBezTo>
                  <a:pt x="335074" y="0"/>
                  <a:pt x="388867" y="60043"/>
                  <a:pt x="388867" y="134109"/>
                </a:cubicBezTo>
                <a:cubicBezTo>
                  <a:pt x="388867" y="208175"/>
                  <a:pt x="335074" y="268218"/>
                  <a:pt x="268717" y="268218"/>
                </a:cubicBezTo>
                <a:cubicBezTo>
                  <a:pt x="202360" y="268218"/>
                  <a:pt x="148567" y="208175"/>
                  <a:pt x="148567" y="134109"/>
                </a:cubicBezTo>
                <a:cubicBezTo>
                  <a:pt x="148567" y="60043"/>
                  <a:pt x="202360" y="0"/>
                  <a:pt x="268717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46BA3629-0D8C-40E8-9384-2D994EB05384}"/>
              </a:ext>
            </a:extLst>
          </p:cNvPr>
          <p:cNvSpPr/>
          <p:nvPr/>
        </p:nvSpPr>
        <p:spPr>
          <a:xfrm>
            <a:off x="11107944" y="2310985"/>
            <a:ext cx="362088" cy="3789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41" h="21600" extrusionOk="0">
                <a:moveTo>
                  <a:pt x="2206" y="3607"/>
                </a:moveTo>
                <a:lnTo>
                  <a:pt x="4487" y="1200"/>
                </a:lnTo>
                <a:lnTo>
                  <a:pt x="16953" y="1200"/>
                </a:lnTo>
                <a:lnTo>
                  <a:pt x="19234" y="3607"/>
                </a:lnTo>
                <a:cubicBezTo>
                  <a:pt x="19234" y="3607"/>
                  <a:pt x="2206" y="3607"/>
                  <a:pt x="2206" y="3607"/>
                </a:cubicBezTo>
                <a:close/>
                <a:moveTo>
                  <a:pt x="10720" y="13168"/>
                </a:moveTo>
                <a:cubicBezTo>
                  <a:pt x="6671" y="13168"/>
                  <a:pt x="5805" y="7652"/>
                  <a:pt x="5625" y="6516"/>
                </a:cubicBezTo>
                <a:lnTo>
                  <a:pt x="7915" y="6516"/>
                </a:lnTo>
                <a:cubicBezTo>
                  <a:pt x="8259" y="8173"/>
                  <a:pt x="9042" y="11009"/>
                  <a:pt x="10720" y="11009"/>
                </a:cubicBezTo>
                <a:cubicBezTo>
                  <a:pt x="12398" y="11009"/>
                  <a:pt x="13182" y="8173"/>
                  <a:pt x="13525" y="6516"/>
                </a:cubicBezTo>
                <a:lnTo>
                  <a:pt x="15816" y="6516"/>
                </a:lnTo>
                <a:cubicBezTo>
                  <a:pt x="15635" y="7652"/>
                  <a:pt x="14769" y="13168"/>
                  <a:pt x="10720" y="13168"/>
                </a:cubicBezTo>
                <a:close/>
                <a:moveTo>
                  <a:pt x="20843" y="2725"/>
                </a:moveTo>
                <a:cubicBezTo>
                  <a:pt x="20476" y="2418"/>
                  <a:pt x="18467" y="648"/>
                  <a:pt x="18092" y="336"/>
                </a:cubicBezTo>
                <a:cubicBezTo>
                  <a:pt x="17719" y="25"/>
                  <a:pt x="17150" y="0"/>
                  <a:pt x="16718" y="0"/>
                </a:cubicBezTo>
                <a:lnTo>
                  <a:pt x="4722" y="0"/>
                </a:lnTo>
                <a:cubicBezTo>
                  <a:pt x="4292" y="0"/>
                  <a:pt x="3722" y="25"/>
                  <a:pt x="3348" y="336"/>
                </a:cubicBezTo>
                <a:cubicBezTo>
                  <a:pt x="2973" y="648"/>
                  <a:pt x="964" y="2419"/>
                  <a:pt x="597" y="2725"/>
                </a:cubicBezTo>
                <a:cubicBezTo>
                  <a:pt x="227" y="3032"/>
                  <a:pt x="-80" y="3497"/>
                  <a:pt x="18" y="4155"/>
                </a:cubicBezTo>
                <a:cubicBezTo>
                  <a:pt x="117" y="4817"/>
                  <a:pt x="2374" y="20549"/>
                  <a:pt x="2433" y="20923"/>
                </a:cubicBezTo>
                <a:cubicBezTo>
                  <a:pt x="2490" y="21296"/>
                  <a:pt x="2829" y="21592"/>
                  <a:pt x="3241" y="21600"/>
                </a:cubicBezTo>
                <a:lnTo>
                  <a:pt x="18199" y="21600"/>
                </a:lnTo>
                <a:cubicBezTo>
                  <a:pt x="18611" y="21592"/>
                  <a:pt x="18950" y="21296"/>
                  <a:pt x="19007" y="20922"/>
                </a:cubicBezTo>
                <a:cubicBezTo>
                  <a:pt x="19066" y="20549"/>
                  <a:pt x="21323" y="4816"/>
                  <a:pt x="21423" y="4155"/>
                </a:cubicBezTo>
                <a:cubicBezTo>
                  <a:pt x="21520" y="3497"/>
                  <a:pt x="21213" y="3032"/>
                  <a:pt x="20843" y="2725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57924917-6197-4059-9616-ABB70B2818D6}"/>
              </a:ext>
            </a:extLst>
          </p:cNvPr>
          <p:cNvSpPr/>
          <p:nvPr/>
        </p:nvSpPr>
        <p:spPr bwMode="auto">
          <a:xfrm>
            <a:off x="11096325" y="3240369"/>
            <a:ext cx="385326" cy="397366"/>
          </a:xfrm>
          <a:custGeom>
            <a:avLst/>
            <a:gdLst>
              <a:gd name="T0" fmla="*/ 68 w 68"/>
              <a:gd name="T1" fmla="*/ 16 h 67"/>
              <a:gd name="T2" fmla="*/ 68 w 68"/>
              <a:gd name="T3" fmla="*/ 66 h 67"/>
              <a:gd name="T4" fmla="*/ 67 w 68"/>
              <a:gd name="T5" fmla="*/ 67 h 67"/>
              <a:gd name="T6" fmla="*/ 56 w 68"/>
              <a:gd name="T7" fmla="*/ 67 h 67"/>
              <a:gd name="T8" fmla="*/ 46 w 68"/>
              <a:gd name="T9" fmla="*/ 67 h 67"/>
              <a:gd name="T10" fmla="*/ 36 w 68"/>
              <a:gd name="T11" fmla="*/ 67 h 67"/>
              <a:gd name="T12" fmla="*/ 25 w 68"/>
              <a:gd name="T13" fmla="*/ 67 h 67"/>
              <a:gd name="T14" fmla="*/ 16 w 68"/>
              <a:gd name="T15" fmla="*/ 67 h 67"/>
              <a:gd name="T16" fmla="*/ 5 w 68"/>
              <a:gd name="T17" fmla="*/ 67 h 67"/>
              <a:gd name="T18" fmla="*/ 2 w 68"/>
              <a:gd name="T19" fmla="*/ 67 h 67"/>
              <a:gd name="T20" fmla="*/ 0 w 68"/>
              <a:gd name="T21" fmla="*/ 66 h 67"/>
              <a:gd name="T22" fmla="*/ 2 w 68"/>
              <a:gd name="T23" fmla="*/ 64 h 67"/>
              <a:gd name="T24" fmla="*/ 3 w 68"/>
              <a:gd name="T25" fmla="*/ 64 h 67"/>
              <a:gd name="T26" fmla="*/ 3 w 68"/>
              <a:gd name="T27" fmla="*/ 56 h 67"/>
              <a:gd name="T28" fmla="*/ 5 w 68"/>
              <a:gd name="T29" fmla="*/ 54 h 67"/>
              <a:gd name="T30" fmla="*/ 16 w 68"/>
              <a:gd name="T31" fmla="*/ 54 h 67"/>
              <a:gd name="T32" fmla="*/ 17 w 68"/>
              <a:gd name="T33" fmla="*/ 56 h 67"/>
              <a:gd name="T34" fmla="*/ 17 w 68"/>
              <a:gd name="T35" fmla="*/ 64 h 67"/>
              <a:gd name="T36" fmla="*/ 24 w 68"/>
              <a:gd name="T37" fmla="*/ 64 h 67"/>
              <a:gd name="T38" fmla="*/ 24 w 68"/>
              <a:gd name="T39" fmla="*/ 40 h 67"/>
              <a:gd name="T40" fmla="*/ 25 w 68"/>
              <a:gd name="T41" fmla="*/ 38 h 67"/>
              <a:gd name="T42" fmla="*/ 36 w 68"/>
              <a:gd name="T43" fmla="*/ 38 h 67"/>
              <a:gd name="T44" fmla="*/ 38 w 68"/>
              <a:gd name="T45" fmla="*/ 40 h 67"/>
              <a:gd name="T46" fmla="*/ 38 w 68"/>
              <a:gd name="T47" fmla="*/ 64 h 67"/>
              <a:gd name="T48" fmla="*/ 44 w 68"/>
              <a:gd name="T49" fmla="*/ 64 h 67"/>
              <a:gd name="T50" fmla="*/ 44 w 68"/>
              <a:gd name="T51" fmla="*/ 20 h 67"/>
              <a:gd name="T52" fmla="*/ 46 w 68"/>
              <a:gd name="T53" fmla="*/ 18 h 67"/>
              <a:gd name="T54" fmla="*/ 56 w 68"/>
              <a:gd name="T55" fmla="*/ 18 h 67"/>
              <a:gd name="T56" fmla="*/ 58 w 68"/>
              <a:gd name="T57" fmla="*/ 20 h 67"/>
              <a:gd name="T58" fmla="*/ 58 w 68"/>
              <a:gd name="T59" fmla="*/ 64 h 67"/>
              <a:gd name="T60" fmla="*/ 65 w 68"/>
              <a:gd name="T61" fmla="*/ 64 h 67"/>
              <a:gd name="T62" fmla="*/ 65 w 68"/>
              <a:gd name="T63" fmla="*/ 16 h 67"/>
              <a:gd name="T64" fmla="*/ 67 w 68"/>
              <a:gd name="T65" fmla="*/ 15 h 67"/>
              <a:gd name="T66" fmla="*/ 68 w 68"/>
              <a:gd name="T67" fmla="*/ 16 h 67"/>
              <a:gd name="T68" fmla="*/ 2 w 68"/>
              <a:gd name="T69" fmla="*/ 48 h 67"/>
              <a:gd name="T70" fmla="*/ 2 w 68"/>
              <a:gd name="T71" fmla="*/ 48 h 67"/>
              <a:gd name="T72" fmla="*/ 29 w 68"/>
              <a:gd name="T73" fmla="*/ 30 h 67"/>
              <a:gd name="T74" fmla="*/ 55 w 68"/>
              <a:gd name="T75" fmla="*/ 6 h 67"/>
              <a:gd name="T76" fmla="*/ 55 w 68"/>
              <a:gd name="T77" fmla="*/ 13 h 67"/>
              <a:gd name="T78" fmla="*/ 56 w 68"/>
              <a:gd name="T79" fmla="*/ 15 h 67"/>
              <a:gd name="T80" fmla="*/ 58 w 68"/>
              <a:gd name="T81" fmla="*/ 13 h 67"/>
              <a:gd name="T82" fmla="*/ 58 w 68"/>
              <a:gd name="T83" fmla="*/ 2 h 67"/>
              <a:gd name="T84" fmla="*/ 56 w 68"/>
              <a:gd name="T85" fmla="*/ 0 h 67"/>
              <a:gd name="T86" fmla="*/ 46 w 68"/>
              <a:gd name="T87" fmla="*/ 0 h 67"/>
              <a:gd name="T88" fmla="*/ 44 w 68"/>
              <a:gd name="T89" fmla="*/ 2 h 67"/>
              <a:gd name="T90" fmla="*/ 46 w 68"/>
              <a:gd name="T91" fmla="*/ 3 h 67"/>
              <a:gd name="T92" fmla="*/ 53 w 68"/>
              <a:gd name="T93" fmla="*/ 3 h 67"/>
              <a:gd name="T94" fmla="*/ 27 w 68"/>
              <a:gd name="T95" fmla="*/ 28 h 67"/>
              <a:gd name="T96" fmla="*/ 1 w 68"/>
              <a:gd name="T97" fmla="*/ 45 h 67"/>
              <a:gd name="T98" fmla="*/ 0 w 68"/>
              <a:gd name="T99" fmla="*/ 47 h 67"/>
              <a:gd name="T100" fmla="*/ 2 w 68"/>
              <a:gd name="T101" fmla="*/ 48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8" h="67">
                <a:moveTo>
                  <a:pt x="68" y="16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7"/>
                  <a:pt x="67" y="67"/>
                </a:cubicBezTo>
                <a:cubicBezTo>
                  <a:pt x="56" y="67"/>
                  <a:pt x="56" y="67"/>
                  <a:pt x="56" y="67"/>
                </a:cubicBezTo>
                <a:cubicBezTo>
                  <a:pt x="46" y="67"/>
                  <a:pt x="46" y="67"/>
                  <a:pt x="46" y="67"/>
                </a:cubicBezTo>
                <a:cubicBezTo>
                  <a:pt x="36" y="67"/>
                  <a:pt x="36" y="67"/>
                  <a:pt x="36" y="67"/>
                </a:cubicBezTo>
                <a:cubicBezTo>
                  <a:pt x="25" y="67"/>
                  <a:pt x="25" y="67"/>
                  <a:pt x="25" y="67"/>
                </a:cubicBezTo>
                <a:cubicBezTo>
                  <a:pt x="16" y="67"/>
                  <a:pt x="16" y="67"/>
                  <a:pt x="16" y="67"/>
                </a:cubicBezTo>
                <a:cubicBezTo>
                  <a:pt x="5" y="67"/>
                  <a:pt x="5" y="67"/>
                  <a:pt x="5" y="67"/>
                </a:cubicBezTo>
                <a:cubicBezTo>
                  <a:pt x="2" y="67"/>
                  <a:pt x="2" y="67"/>
                  <a:pt x="2" y="67"/>
                </a:cubicBezTo>
                <a:cubicBezTo>
                  <a:pt x="1" y="67"/>
                  <a:pt x="0" y="66"/>
                  <a:pt x="0" y="66"/>
                </a:cubicBezTo>
                <a:cubicBezTo>
                  <a:pt x="0" y="65"/>
                  <a:pt x="1" y="64"/>
                  <a:pt x="2" y="64"/>
                </a:cubicBezTo>
                <a:cubicBezTo>
                  <a:pt x="3" y="64"/>
                  <a:pt x="3" y="64"/>
                  <a:pt x="3" y="64"/>
                </a:cubicBezTo>
                <a:cubicBezTo>
                  <a:pt x="3" y="56"/>
                  <a:pt x="3" y="56"/>
                  <a:pt x="3" y="56"/>
                </a:cubicBezTo>
                <a:cubicBezTo>
                  <a:pt x="3" y="55"/>
                  <a:pt x="4" y="54"/>
                  <a:pt x="5" y="54"/>
                </a:cubicBezTo>
                <a:cubicBezTo>
                  <a:pt x="16" y="54"/>
                  <a:pt x="16" y="54"/>
                  <a:pt x="16" y="54"/>
                </a:cubicBezTo>
                <a:cubicBezTo>
                  <a:pt x="17" y="54"/>
                  <a:pt x="17" y="55"/>
                  <a:pt x="17" y="56"/>
                </a:cubicBezTo>
                <a:cubicBezTo>
                  <a:pt x="17" y="64"/>
                  <a:pt x="17" y="64"/>
                  <a:pt x="17" y="64"/>
                </a:cubicBezTo>
                <a:cubicBezTo>
                  <a:pt x="24" y="64"/>
                  <a:pt x="24" y="64"/>
                  <a:pt x="24" y="64"/>
                </a:cubicBezTo>
                <a:cubicBezTo>
                  <a:pt x="24" y="40"/>
                  <a:pt x="24" y="40"/>
                  <a:pt x="24" y="40"/>
                </a:cubicBezTo>
                <a:cubicBezTo>
                  <a:pt x="24" y="39"/>
                  <a:pt x="24" y="38"/>
                  <a:pt x="25" y="38"/>
                </a:cubicBezTo>
                <a:cubicBezTo>
                  <a:pt x="36" y="38"/>
                  <a:pt x="36" y="38"/>
                  <a:pt x="36" y="38"/>
                </a:cubicBezTo>
                <a:cubicBezTo>
                  <a:pt x="37" y="38"/>
                  <a:pt x="38" y="39"/>
                  <a:pt x="38" y="40"/>
                </a:cubicBezTo>
                <a:cubicBezTo>
                  <a:pt x="38" y="64"/>
                  <a:pt x="38" y="64"/>
                  <a:pt x="38" y="64"/>
                </a:cubicBezTo>
                <a:cubicBezTo>
                  <a:pt x="44" y="64"/>
                  <a:pt x="44" y="64"/>
                  <a:pt x="44" y="64"/>
                </a:cubicBezTo>
                <a:cubicBezTo>
                  <a:pt x="44" y="20"/>
                  <a:pt x="44" y="20"/>
                  <a:pt x="44" y="20"/>
                </a:cubicBezTo>
                <a:cubicBezTo>
                  <a:pt x="44" y="19"/>
                  <a:pt x="45" y="18"/>
                  <a:pt x="46" y="18"/>
                </a:cubicBezTo>
                <a:cubicBezTo>
                  <a:pt x="56" y="18"/>
                  <a:pt x="56" y="18"/>
                  <a:pt x="56" y="18"/>
                </a:cubicBezTo>
                <a:cubicBezTo>
                  <a:pt x="57" y="18"/>
                  <a:pt x="58" y="19"/>
                  <a:pt x="58" y="20"/>
                </a:cubicBezTo>
                <a:cubicBezTo>
                  <a:pt x="58" y="64"/>
                  <a:pt x="58" y="64"/>
                  <a:pt x="58" y="64"/>
                </a:cubicBezTo>
                <a:cubicBezTo>
                  <a:pt x="65" y="64"/>
                  <a:pt x="65" y="64"/>
                  <a:pt x="65" y="64"/>
                </a:cubicBezTo>
                <a:cubicBezTo>
                  <a:pt x="65" y="16"/>
                  <a:pt x="65" y="16"/>
                  <a:pt x="65" y="16"/>
                </a:cubicBezTo>
                <a:cubicBezTo>
                  <a:pt x="65" y="15"/>
                  <a:pt x="66" y="15"/>
                  <a:pt x="67" y="15"/>
                </a:cubicBezTo>
                <a:cubicBezTo>
                  <a:pt x="68" y="15"/>
                  <a:pt x="68" y="15"/>
                  <a:pt x="68" y="16"/>
                </a:cubicBezTo>
                <a:close/>
                <a:moveTo>
                  <a:pt x="2" y="48"/>
                </a:moveTo>
                <a:cubicBezTo>
                  <a:pt x="2" y="48"/>
                  <a:pt x="2" y="48"/>
                  <a:pt x="2" y="48"/>
                </a:cubicBezTo>
                <a:cubicBezTo>
                  <a:pt x="3" y="48"/>
                  <a:pt x="16" y="40"/>
                  <a:pt x="29" y="30"/>
                </a:cubicBezTo>
                <a:cubicBezTo>
                  <a:pt x="40" y="22"/>
                  <a:pt x="51" y="10"/>
                  <a:pt x="55" y="6"/>
                </a:cubicBezTo>
                <a:cubicBezTo>
                  <a:pt x="55" y="13"/>
                  <a:pt x="55" y="13"/>
                  <a:pt x="55" y="13"/>
                </a:cubicBezTo>
                <a:cubicBezTo>
                  <a:pt x="55" y="14"/>
                  <a:pt x="55" y="15"/>
                  <a:pt x="56" y="15"/>
                </a:cubicBezTo>
                <a:cubicBezTo>
                  <a:pt x="57" y="15"/>
                  <a:pt x="58" y="14"/>
                  <a:pt x="58" y="13"/>
                </a:cubicBezTo>
                <a:cubicBezTo>
                  <a:pt x="58" y="2"/>
                  <a:pt x="58" y="2"/>
                  <a:pt x="58" y="2"/>
                </a:cubicBezTo>
                <a:cubicBezTo>
                  <a:pt x="58" y="1"/>
                  <a:pt x="57" y="0"/>
                  <a:pt x="56" y="0"/>
                </a:cubicBezTo>
                <a:cubicBezTo>
                  <a:pt x="46" y="0"/>
                  <a:pt x="46" y="0"/>
                  <a:pt x="46" y="0"/>
                </a:cubicBezTo>
                <a:cubicBezTo>
                  <a:pt x="45" y="0"/>
                  <a:pt x="44" y="1"/>
                  <a:pt x="44" y="2"/>
                </a:cubicBezTo>
                <a:cubicBezTo>
                  <a:pt x="44" y="3"/>
                  <a:pt x="45" y="3"/>
                  <a:pt x="46" y="3"/>
                </a:cubicBezTo>
                <a:cubicBezTo>
                  <a:pt x="53" y="3"/>
                  <a:pt x="53" y="3"/>
                  <a:pt x="53" y="3"/>
                </a:cubicBezTo>
                <a:cubicBezTo>
                  <a:pt x="50" y="7"/>
                  <a:pt x="38" y="20"/>
                  <a:pt x="27" y="28"/>
                </a:cubicBezTo>
                <a:cubicBezTo>
                  <a:pt x="15" y="37"/>
                  <a:pt x="1" y="45"/>
                  <a:pt x="1" y="45"/>
                </a:cubicBezTo>
                <a:cubicBezTo>
                  <a:pt x="0" y="46"/>
                  <a:pt x="0" y="47"/>
                  <a:pt x="0" y="47"/>
                </a:cubicBezTo>
                <a:cubicBezTo>
                  <a:pt x="1" y="48"/>
                  <a:pt x="1" y="48"/>
                  <a:pt x="2" y="48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59053CA0-2571-4509-A2BA-7B0CB95EDF17}"/>
              </a:ext>
            </a:extLst>
          </p:cNvPr>
          <p:cNvSpPr/>
          <p:nvPr/>
        </p:nvSpPr>
        <p:spPr bwMode="auto">
          <a:xfrm>
            <a:off x="11059820" y="4184711"/>
            <a:ext cx="458336" cy="385896"/>
          </a:xfrm>
          <a:custGeom>
            <a:avLst/>
            <a:gdLst>
              <a:gd name="connsiteX0" fmla="*/ 497582 w 589978"/>
              <a:gd name="connsiteY0" fmla="*/ 251507 h 496732"/>
              <a:gd name="connsiteX1" fmla="*/ 497582 w 589978"/>
              <a:gd name="connsiteY1" fmla="*/ 327929 h 496732"/>
              <a:gd name="connsiteX2" fmla="*/ 577927 w 589978"/>
              <a:gd name="connsiteY2" fmla="*/ 327929 h 496732"/>
              <a:gd name="connsiteX3" fmla="*/ 505617 w 589978"/>
              <a:gd name="connsiteY3" fmla="*/ 251507 h 496732"/>
              <a:gd name="connsiteX4" fmla="*/ 497582 w 589978"/>
              <a:gd name="connsiteY4" fmla="*/ 251507 h 496732"/>
              <a:gd name="connsiteX5" fmla="*/ 489548 w 589978"/>
              <a:gd name="connsiteY5" fmla="*/ 251507 h 496732"/>
              <a:gd name="connsiteX6" fmla="*/ 413221 w 589978"/>
              <a:gd name="connsiteY6" fmla="*/ 327929 h 496732"/>
              <a:gd name="connsiteX7" fmla="*/ 493565 w 589978"/>
              <a:gd name="connsiteY7" fmla="*/ 327929 h 496732"/>
              <a:gd name="connsiteX8" fmla="*/ 493565 w 589978"/>
              <a:gd name="connsiteY8" fmla="*/ 251507 h 496732"/>
              <a:gd name="connsiteX9" fmla="*/ 489548 w 589978"/>
              <a:gd name="connsiteY9" fmla="*/ 251507 h 496732"/>
              <a:gd name="connsiteX10" fmla="*/ 84362 w 589978"/>
              <a:gd name="connsiteY10" fmla="*/ 251507 h 496732"/>
              <a:gd name="connsiteX11" fmla="*/ 8034 w 589978"/>
              <a:gd name="connsiteY11" fmla="*/ 327929 h 496732"/>
              <a:gd name="connsiteX12" fmla="*/ 92396 w 589978"/>
              <a:gd name="connsiteY12" fmla="*/ 327929 h 496732"/>
              <a:gd name="connsiteX13" fmla="*/ 172741 w 589978"/>
              <a:gd name="connsiteY13" fmla="*/ 327929 h 496732"/>
              <a:gd name="connsiteX14" fmla="*/ 100431 w 589978"/>
              <a:gd name="connsiteY14" fmla="*/ 251507 h 496732"/>
              <a:gd name="connsiteX15" fmla="*/ 92396 w 589978"/>
              <a:gd name="connsiteY15" fmla="*/ 251507 h 496732"/>
              <a:gd name="connsiteX16" fmla="*/ 84362 w 589978"/>
              <a:gd name="connsiteY16" fmla="*/ 251507 h 496732"/>
              <a:gd name="connsiteX17" fmla="*/ 497582 w 589978"/>
              <a:gd name="connsiteY17" fmla="*/ 215306 h 496732"/>
              <a:gd name="connsiteX18" fmla="*/ 513651 w 589978"/>
              <a:gd name="connsiteY18" fmla="*/ 239440 h 496732"/>
              <a:gd name="connsiteX19" fmla="*/ 509634 w 589978"/>
              <a:gd name="connsiteY19" fmla="*/ 247484 h 496732"/>
              <a:gd name="connsiteX20" fmla="*/ 589978 w 589978"/>
              <a:gd name="connsiteY20" fmla="*/ 327929 h 496732"/>
              <a:gd name="connsiteX21" fmla="*/ 497582 w 589978"/>
              <a:gd name="connsiteY21" fmla="*/ 420441 h 496732"/>
              <a:gd name="connsiteX22" fmla="*/ 405186 w 589978"/>
              <a:gd name="connsiteY22" fmla="*/ 327929 h 496732"/>
              <a:gd name="connsiteX23" fmla="*/ 485531 w 589978"/>
              <a:gd name="connsiteY23" fmla="*/ 247484 h 496732"/>
              <a:gd name="connsiteX24" fmla="*/ 481513 w 589978"/>
              <a:gd name="connsiteY24" fmla="*/ 239440 h 496732"/>
              <a:gd name="connsiteX25" fmla="*/ 497582 w 589978"/>
              <a:gd name="connsiteY25" fmla="*/ 215306 h 496732"/>
              <a:gd name="connsiteX26" fmla="*/ 92396 w 589978"/>
              <a:gd name="connsiteY26" fmla="*/ 215306 h 496732"/>
              <a:gd name="connsiteX27" fmla="*/ 108465 w 589978"/>
              <a:gd name="connsiteY27" fmla="*/ 239440 h 496732"/>
              <a:gd name="connsiteX28" fmla="*/ 104448 w 589978"/>
              <a:gd name="connsiteY28" fmla="*/ 247484 h 496732"/>
              <a:gd name="connsiteX29" fmla="*/ 184792 w 589978"/>
              <a:gd name="connsiteY29" fmla="*/ 327929 h 496732"/>
              <a:gd name="connsiteX30" fmla="*/ 92396 w 589978"/>
              <a:gd name="connsiteY30" fmla="*/ 420441 h 496732"/>
              <a:gd name="connsiteX31" fmla="*/ 0 w 589978"/>
              <a:gd name="connsiteY31" fmla="*/ 327929 h 496732"/>
              <a:gd name="connsiteX32" fmla="*/ 80345 w 589978"/>
              <a:gd name="connsiteY32" fmla="*/ 247484 h 496732"/>
              <a:gd name="connsiteX33" fmla="*/ 76327 w 589978"/>
              <a:gd name="connsiteY33" fmla="*/ 239440 h 496732"/>
              <a:gd name="connsiteX34" fmla="*/ 92396 w 589978"/>
              <a:gd name="connsiteY34" fmla="*/ 215306 h 496732"/>
              <a:gd name="connsiteX35" fmla="*/ 292978 w 589978"/>
              <a:gd name="connsiteY35" fmla="*/ 0 h 496732"/>
              <a:gd name="connsiteX36" fmla="*/ 333186 w 589978"/>
              <a:gd name="connsiteY36" fmla="*/ 48071 h 496732"/>
              <a:gd name="connsiteX37" fmla="*/ 313082 w 589978"/>
              <a:gd name="connsiteY37" fmla="*/ 80118 h 496732"/>
              <a:gd name="connsiteX38" fmla="*/ 313082 w 589978"/>
              <a:gd name="connsiteY38" fmla="*/ 96142 h 496732"/>
              <a:gd name="connsiteX39" fmla="*/ 477934 w 589978"/>
              <a:gd name="connsiteY39" fmla="*/ 168248 h 496732"/>
              <a:gd name="connsiteX40" fmla="*/ 498038 w 589978"/>
              <a:gd name="connsiteY40" fmla="*/ 156230 h 496732"/>
              <a:gd name="connsiteX41" fmla="*/ 522163 w 589978"/>
              <a:gd name="connsiteY41" fmla="*/ 184272 h 496732"/>
              <a:gd name="connsiteX42" fmla="*/ 498038 w 589978"/>
              <a:gd name="connsiteY42" fmla="*/ 208307 h 496732"/>
              <a:gd name="connsiteX43" fmla="*/ 473914 w 589978"/>
              <a:gd name="connsiteY43" fmla="*/ 196290 h 496732"/>
              <a:gd name="connsiteX44" fmla="*/ 313082 w 589978"/>
              <a:gd name="connsiteY44" fmla="*/ 120177 h 496732"/>
              <a:gd name="connsiteX45" fmla="*/ 313082 w 589978"/>
              <a:gd name="connsiteY45" fmla="*/ 340502 h 496732"/>
              <a:gd name="connsiteX46" fmla="*/ 329165 w 589978"/>
              <a:gd name="connsiteY46" fmla="*/ 384567 h 496732"/>
              <a:gd name="connsiteX47" fmla="*/ 325144 w 589978"/>
              <a:gd name="connsiteY47" fmla="*/ 404596 h 496732"/>
              <a:gd name="connsiteX48" fmla="*/ 365352 w 589978"/>
              <a:gd name="connsiteY48" fmla="*/ 404596 h 496732"/>
              <a:gd name="connsiteX49" fmla="*/ 389477 w 589978"/>
              <a:gd name="connsiteY49" fmla="*/ 428632 h 496732"/>
              <a:gd name="connsiteX50" fmla="*/ 389477 w 589978"/>
              <a:gd name="connsiteY50" fmla="*/ 436644 h 496732"/>
              <a:gd name="connsiteX51" fmla="*/ 417623 w 589978"/>
              <a:gd name="connsiteY51" fmla="*/ 436644 h 496732"/>
              <a:gd name="connsiteX52" fmla="*/ 457830 w 589978"/>
              <a:gd name="connsiteY52" fmla="*/ 476703 h 496732"/>
              <a:gd name="connsiteX53" fmla="*/ 457830 w 589978"/>
              <a:gd name="connsiteY53" fmla="*/ 496732 h 496732"/>
              <a:gd name="connsiteX54" fmla="*/ 128125 w 589978"/>
              <a:gd name="connsiteY54" fmla="*/ 496732 h 496732"/>
              <a:gd name="connsiteX55" fmla="*/ 128125 w 589978"/>
              <a:gd name="connsiteY55" fmla="*/ 476703 h 496732"/>
              <a:gd name="connsiteX56" fmla="*/ 172354 w 589978"/>
              <a:gd name="connsiteY56" fmla="*/ 436644 h 496732"/>
              <a:gd name="connsiteX57" fmla="*/ 200500 w 589978"/>
              <a:gd name="connsiteY57" fmla="*/ 436644 h 496732"/>
              <a:gd name="connsiteX58" fmla="*/ 200500 w 589978"/>
              <a:gd name="connsiteY58" fmla="*/ 428632 h 496732"/>
              <a:gd name="connsiteX59" fmla="*/ 224624 w 589978"/>
              <a:gd name="connsiteY59" fmla="*/ 404596 h 496732"/>
              <a:gd name="connsiteX60" fmla="*/ 264832 w 589978"/>
              <a:gd name="connsiteY60" fmla="*/ 404596 h 496732"/>
              <a:gd name="connsiteX61" fmla="*/ 260811 w 589978"/>
              <a:gd name="connsiteY61" fmla="*/ 384567 h 496732"/>
              <a:gd name="connsiteX62" fmla="*/ 276895 w 589978"/>
              <a:gd name="connsiteY62" fmla="*/ 340502 h 496732"/>
              <a:gd name="connsiteX63" fmla="*/ 276895 w 589978"/>
              <a:gd name="connsiteY63" fmla="*/ 120177 h 496732"/>
              <a:gd name="connsiteX64" fmla="*/ 116063 w 589978"/>
              <a:gd name="connsiteY64" fmla="*/ 196290 h 496732"/>
              <a:gd name="connsiteX65" fmla="*/ 91938 w 589978"/>
              <a:gd name="connsiteY65" fmla="*/ 208307 h 496732"/>
              <a:gd name="connsiteX66" fmla="*/ 67813 w 589978"/>
              <a:gd name="connsiteY66" fmla="*/ 184272 h 496732"/>
              <a:gd name="connsiteX67" fmla="*/ 91938 w 589978"/>
              <a:gd name="connsiteY67" fmla="*/ 156230 h 496732"/>
              <a:gd name="connsiteX68" fmla="*/ 116063 w 589978"/>
              <a:gd name="connsiteY68" fmla="*/ 168248 h 496732"/>
              <a:gd name="connsiteX69" fmla="*/ 276895 w 589978"/>
              <a:gd name="connsiteY69" fmla="*/ 96142 h 496732"/>
              <a:gd name="connsiteX70" fmla="*/ 276895 w 589978"/>
              <a:gd name="connsiteY70" fmla="*/ 80118 h 496732"/>
              <a:gd name="connsiteX71" fmla="*/ 256791 w 589978"/>
              <a:gd name="connsiteY71" fmla="*/ 48071 h 496732"/>
              <a:gd name="connsiteX72" fmla="*/ 292978 w 589978"/>
              <a:gd name="connsiteY72" fmla="*/ 0 h 4967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</a:cxnLst>
            <a:rect l="l" t="t" r="r" b="b"/>
            <a:pathLst>
              <a:path w="589978" h="496732">
                <a:moveTo>
                  <a:pt x="497582" y="251507"/>
                </a:moveTo>
                <a:cubicBezTo>
                  <a:pt x="497582" y="251507"/>
                  <a:pt x="497582" y="251507"/>
                  <a:pt x="497582" y="327929"/>
                </a:cubicBezTo>
                <a:lnTo>
                  <a:pt x="577927" y="327929"/>
                </a:lnTo>
                <a:cubicBezTo>
                  <a:pt x="577927" y="327929"/>
                  <a:pt x="577927" y="327929"/>
                  <a:pt x="505617" y="251507"/>
                </a:cubicBezTo>
                <a:cubicBezTo>
                  <a:pt x="501599" y="251507"/>
                  <a:pt x="501599" y="251507"/>
                  <a:pt x="497582" y="251507"/>
                </a:cubicBezTo>
                <a:close/>
                <a:moveTo>
                  <a:pt x="489548" y="251507"/>
                </a:moveTo>
                <a:cubicBezTo>
                  <a:pt x="489548" y="251507"/>
                  <a:pt x="489548" y="251507"/>
                  <a:pt x="413221" y="327929"/>
                </a:cubicBezTo>
                <a:cubicBezTo>
                  <a:pt x="413221" y="327929"/>
                  <a:pt x="413221" y="327929"/>
                  <a:pt x="493565" y="327929"/>
                </a:cubicBezTo>
                <a:lnTo>
                  <a:pt x="493565" y="251507"/>
                </a:lnTo>
                <a:cubicBezTo>
                  <a:pt x="493565" y="251507"/>
                  <a:pt x="489548" y="251507"/>
                  <a:pt x="489548" y="251507"/>
                </a:cubicBezTo>
                <a:close/>
                <a:moveTo>
                  <a:pt x="84362" y="251507"/>
                </a:moveTo>
                <a:cubicBezTo>
                  <a:pt x="84362" y="251507"/>
                  <a:pt x="84362" y="251507"/>
                  <a:pt x="8034" y="327929"/>
                </a:cubicBezTo>
                <a:cubicBezTo>
                  <a:pt x="8034" y="327929"/>
                  <a:pt x="8034" y="327929"/>
                  <a:pt x="92396" y="327929"/>
                </a:cubicBezTo>
                <a:cubicBezTo>
                  <a:pt x="92396" y="327929"/>
                  <a:pt x="92396" y="327929"/>
                  <a:pt x="172741" y="327929"/>
                </a:cubicBezTo>
                <a:cubicBezTo>
                  <a:pt x="172741" y="327929"/>
                  <a:pt x="172741" y="327929"/>
                  <a:pt x="100431" y="251507"/>
                </a:cubicBezTo>
                <a:cubicBezTo>
                  <a:pt x="96413" y="251507"/>
                  <a:pt x="96413" y="251507"/>
                  <a:pt x="92396" y="251507"/>
                </a:cubicBezTo>
                <a:cubicBezTo>
                  <a:pt x="88379" y="251507"/>
                  <a:pt x="88379" y="251507"/>
                  <a:pt x="84362" y="251507"/>
                </a:cubicBezTo>
                <a:close/>
                <a:moveTo>
                  <a:pt x="497582" y="215306"/>
                </a:moveTo>
                <a:cubicBezTo>
                  <a:pt x="497582" y="215306"/>
                  <a:pt x="513651" y="231395"/>
                  <a:pt x="513651" y="239440"/>
                </a:cubicBezTo>
                <a:cubicBezTo>
                  <a:pt x="513651" y="239440"/>
                  <a:pt x="509634" y="243462"/>
                  <a:pt x="509634" y="247484"/>
                </a:cubicBezTo>
                <a:cubicBezTo>
                  <a:pt x="509634" y="247484"/>
                  <a:pt x="509634" y="247484"/>
                  <a:pt x="589978" y="327929"/>
                </a:cubicBezTo>
                <a:cubicBezTo>
                  <a:pt x="589978" y="376196"/>
                  <a:pt x="549806" y="420441"/>
                  <a:pt x="497582" y="420441"/>
                </a:cubicBezTo>
                <a:cubicBezTo>
                  <a:pt x="445358" y="420441"/>
                  <a:pt x="405186" y="376196"/>
                  <a:pt x="405186" y="327929"/>
                </a:cubicBezTo>
                <a:cubicBezTo>
                  <a:pt x="405186" y="327929"/>
                  <a:pt x="405186" y="327929"/>
                  <a:pt x="485531" y="247484"/>
                </a:cubicBezTo>
                <a:cubicBezTo>
                  <a:pt x="481513" y="243462"/>
                  <a:pt x="481513" y="239440"/>
                  <a:pt x="481513" y="239440"/>
                </a:cubicBezTo>
                <a:cubicBezTo>
                  <a:pt x="481513" y="231395"/>
                  <a:pt x="497582" y="215306"/>
                  <a:pt x="497582" y="215306"/>
                </a:cubicBezTo>
                <a:close/>
                <a:moveTo>
                  <a:pt x="92396" y="215306"/>
                </a:moveTo>
                <a:cubicBezTo>
                  <a:pt x="92396" y="215306"/>
                  <a:pt x="108465" y="231395"/>
                  <a:pt x="108465" y="239440"/>
                </a:cubicBezTo>
                <a:cubicBezTo>
                  <a:pt x="108465" y="239440"/>
                  <a:pt x="104448" y="243462"/>
                  <a:pt x="104448" y="247484"/>
                </a:cubicBezTo>
                <a:cubicBezTo>
                  <a:pt x="104448" y="247484"/>
                  <a:pt x="104448" y="247484"/>
                  <a:pt x="184792" y="327929"/>
                </a:cubicBezTo>
                <a:cubicBezTo>
                  <a:pt x="184792" y="376196"/>
                  <a:pt x="144620" y="420441"/>
                  <a:pt x="92396" y="420441"/>
                </a:cubicBezTo>
                <a:cubicBezTo>
                  <a:pt x="40172" y="420441"/>
                  <a:pt x="0" y="376196"/>
                  <a:pt x="0" y="327929"/>
                </a:cubicBezTo>
                <a:cubicBezTo>
                  <a:pt x="0" y="327929"/>
                  <a:pt x="0" y="327929"/>
                  <a:pt x="80345" y="247484"/>
                </a:cubicBezTo>
                <a:cubicBezTo>
                  <a:pt x="80345" y="243462"/>
                  <a:pt x="76327" y="239440"/>
                  <a:pt x="76327" y="239440"/>
                </a:cubicBezTo>
                <a:cubicBezTo>
                  <a:pt x="76327" y="231395"/>
                  <a:pt x="92396" y="215306"/>
                  <a:pt x="92396" y="215306"/>
                </a:cubicBezTo>
                <a:close/>
                <a:moveTo>
                  <a:pt x="292978" y="0"/>
                </a:moveTo>
                <a:cubicBezTo>
                  <a:pt x="292978" y="0"/>
                  <a:pt x="333186" y="28042"/>
                  <a:pt x="333186" y="48071"/>
                </a:cubicBezTo>
                <a:cubicBezTo>
                  <a:pt x="333186" y="60089"/>
                  <a:pt x="325144" y="72107"/>
                  <a:pt x="313082" y="80118"/>
                </a:cubicBezTo>
                <a:cubicBezTo>
                  <a:pt x="313082" y="80118"/>
                  <a:pt x="313082" y="80118"/>
                  <a:pt x="313082" y="96142"/>
                </a:cubicBezTo>
                <a:cubicBezTo>
                  <a:pt x="373394" y="104154"/>
                  <a:pt x="429685" y="128189"/>
                  <a:pt x="477934" y="168248"/>
                </a:cubicBezTo>
                <a:cubicBezTo>
                  <a:pt x="481955" y="160236"/>
                  <a:pt x="489997" y="156230"/>
                  <a:pt x="498038" y="156230"/>
                </a:cubicBezTo>
                <a:cubicBezTo>
                  <a:pt x="510101" y="156230"/>
                  <a:pt x="522163" y="168248"/>
                  <a:pt x="522163" y="184272"/>
                </a:cubicBezTo>
                <a:cubicBezTo>
                  <a:pt x="522163" y="196290"/>
                  <a:pt x="510101" y="208307"/>
                  <a:pt x="498038" y="208307"/>
                </a:cubicBezTo>
                <a:cubicBezTo>
                  <a:pt x="489997" y="208307"/>
                  <a:pt x="477934" y="204301"/>
                  <a:pt x="473914" y="196290"/>
                </a:cubicBezTo>
                <a:cubicBezTo>
                  <a:pt x="429685" y="156230"/>
                  <a:pt x="373394" y="128189"/>
                  <a:pt x="313082" y="120177"/>
                </a:cubicBezTo>
                <a:cubicBezTo>
                  <a:pt x="313082" y="120177"/>
                  <a:pt x="313082" y="120177"/>
                  <a:pt x="313082" y="340502"/>
                </a:cubicBezTo>
                <a:cubicBezTo>
                  <a:pt x="321123" y="348514"/>
                  <a:pt x="329165" y="364537"/>
                  <a:pt x="329165" y="384567"/>
                </a:cubicBezTo>
                <a:cubicBezTo>
                  <a:pt x="329165" y="392579"/>
                  <a:pt x="329165" y="396585"/>
                  <a:pt x="325144" y="404596"/>
                </a:cubicBezTo>
                <a:cubicBezTo>
                  <a:pt x="325144" y="404596"/>
                  <a:pt x="325144" y="404596"/>
                  <a:pt x="365352" y="404596"/>
                </a:cubicBezTo>
                <a:cubicBezTo>
                  <a:pt x="377415" y="404596"/>
                  <a:pt x="389477" y="412608"/>
                  <a:pt x="389477" y="428632"/>
                </a:cubicBezTo>
                <a:cubicBezTo>
                  <a:pt x="389477" y="428632"/>
                  <a:pt x="389477" y="428632"/>
                  <a:pt x="389477" y="436644"/>
                </a:cubicBezTo>
                <a:cubicBezTo>
                  <a:pt x="389477" y="436644"/>
                  <a:pt x="389477" y="436644"/>
                  <a:pt x="417623" y="436644"/>
                </a:cubicBezTo>
                <a:cubicBezTo>
                  <a:pt x="441747" y="436644"/>
                  <a:pt x="457830" y="456673"/>
                  <a:pt x="457830" y="476703"/>
                </a:cubicBezTo>
                <a:cubicBezTo>
                  <a:pt x="457830" y="476703"/>
                  <a:pt x="457830" y="476703"/>
                  <a:pt x="457830" y="496732"/>
                </a:cubicBezTo>
                <a:cubicBezTo>
                  <a:pt x="457830" y="496732"/>
                  <a:pt x="457830" y="496732"/>
                  <a:pt x="128125" y="496732"/>
                </a:cubicBezTo>
                <a:cubicBezTo>
                  <a:pt x="128125" y="496732"/>
                  <a:pt x="128125" y="496732"/>
                  <a:pt x="128125" y="476703"/>
                </a:cubicBezTo>
                <a:cubicBezTo>
                  <a:pt x="128125" y="456673"/>
                  <a:pt x="148229" y="436644"/>
                  <a:pt x="172354" y="436644"/>
                </a:cubicBezTo>
                <a:cubicBezTo>
                  <a:pt x="172354" y="436644"/>
                  <a:pt x="172354" y="436644"/>
                  <a:pt x="200500" y="436644"/>
                </a:cubicBezTo>
                <a:cubicBezTo>
                  <a:pt x="200500" y="436644"/>
                  <a:pt x="200500" y="436644"/>
                  <a:pt x="200500" y="428632"/>
                </a:cubicBezTo>
                <a:cubicBezTo>
                  <a:pt x="200500" y="412608"/>
                  <a:pt x="212562" y="404596"/>
                  <a:pt x="224624" y="404596"/>
                </a:cubicBezTo>
                <a:cubicBezTo>
                  <a:pt x="224624" y="404596"/>
                  <a:pt x="224624" y="404596"/>
                  <a:pt x="264832" y="404596"/>
                </a:cubicBezTo>
                <a:cubicBezTo>
                  <a:pt x="260811" y="396585"/>
                  <a:pt x="260811" y="392579"/>
                  <a:pt x="260811" y="384567"/>
                </a:cubicBezTo>
                <a:cubicBezTo>
                  <a:pt x="260811" y="364537"/>
                  <a:pt x="264832" y="348514"/>
                  <a:pt x="276895" y="340502"/>
                </a:cubicBezTo>
                <a:cubicBezTo>
                  <a:pt x="276895" y="340502"/>
                  <a:pt x="276895" y="340502"/>
                  <a:pt x="276895" y="120177"/>
                </a:cubicBezTo>
                <a:cubicBezTo>
                  <a:pt x="216583" y="128189"/>
                  <a:pt x="160292" y="156230"/>
                  <a:pt x="116063" y="196290"/>
                </a:cubicBezTo>
                <a:cubicBezTo>
                  <a:pt x="112042" y="204301"/>
                  <a:pt x="104000" y="208307"/>
                  <a:pt x="91938" y="208307"/>
                </a:cubicBezTo>
                <a:cubicBezTo>
                  <a:pt x="79876" y="208307"/>
                  <a:pt x="67813" y="196290"/>
                  <a:pt x="67813" y="184272"/>
                </a:cubicBezTo>
                <a:cubicBezTo>
                  <a:pt x="67813" y="168248"/>
                  <a:pt x="79876" y="156230"/>
                  <a:pt x="91938" y="156230"/>
                </a:cubicBezTo>
                <a:cubicBezTo>
                  <a:pt x="104000" y="156230"/>
                  <a:pt x="108021" y="160236"/>
                  <a:pt x="116063" y="168248"/>
                </a:cubicBezTo>
                <a:cubicBezTo>
                  <a:pt x="160292" y="128189"/>
                  <a:pt x="216583" y="104154"/>
                  <a:pt x="276895" y="96142"/>
                </a:cubicBezTo>
                <a:cubicBezTo>
                  <a:pt x="276895" y="96142"/>
                  <a:pt x="276895" y="96142"/>
                  <a:pt x="276895" y="80118"/>
                </a:cubicBezTo>
                <a:cubicBezTo>
                  <a:pt x="264832" y="72107"/>
                  <a:pt x="256791" y="60089"/>
                  <a:pt x="256791" y="48071"/>
                </a:cubicBezTo>
                <a:cubicBezTo>
                  <a:pt x="256791" y="28042"/>
                  <a:pt x="292978" y="0"/>
                  <a:pt x="292978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1FB5617-0A71-4653-91E7-F18005193F84}"/>
              </a:ext>
            </a:extLst>
          </p:cNvPr>
          <p:cNvSpPr/>
          <p:nvPr/>
        </p:nvSpPr>
        <p:spPr bwMode="auto">
          <a:xfrm>
            <a:off x="11059076" y="5119814"/>
            <a:ext cx="459824" cy="392902"/>
          </a:xfrm>
          <a:custGeom>
            <a:avLst/>
            <a:gdLst>
              <a:gd name="connsiteX0" fmla="*/ 560224 w 607107"/>
              <a:gd name="connsiteY0" fmla="*/ 279860 h 518750"/>
              <a:gd name="connsiteX1" fmla="*/ 582459 w 607107"/>
              <a:gd name="connsiteY1" fmla="*/ 280220 h 518750"/>
              <a:gd name="connsiteX2" fmla="*/ 606440 w 607107"/>
              <a:gd name="connsiteY2" fmla="*/ 300513 h 518750"/>
              <a:gd name="connsiteX3" fmla="*/ 596135 w 607107"/>
              <a:gd name="connsiteY3" fmla="*/ 329751 h 518750"/>
              <a:gd name="connsiteX4" fmla="*/ 571865 w 607107"/>
              <a:gd name="connsiteY4" fmla="*/ 348793 h 518750"/>
              <a:gd name="connsiteX5" fmla="*/ 371834 w 607107"/>
              <a:gd name="connsiteY5" fmla="*/ 500269 h 518750"/>
              <a:gd name="connsiteX6" fmla="*/ 134050 w 607107"/>
              <a:gd name="connsiteY6" fmla="*/ 494210 h 518750"/>
              <a:gd name="connsiteX7" fmla="*/ 67213 w 607107"/>
              <a:gd name="connsiteY7" fmla="*/ 511040 h 518750"/>
              <a:gd name="connsiteX8" fmla="*/ 61145 w 607107"/>
              <a:gd name="connsiteY8" fmla="*/ 511040 h 518750"/>
              <a:gd name="connsiteX9" fmla="*/ 59701 w 607107"/>
              <a:gd name="connsiteY9" fmla="*/ 510560 h 518750"/>
              <a:gd name="connsiteX10" fmla="*/ 55656 w 607107"/>
              <a:gd name="connsiteY10" fmla="*/ 507674 h 518750"/>
              <a:gd name="connsiteX11" fmla="*/ 7502 w 607107"/>
              <a:gd name="connsiteY11" fmla="*/ 432081 h 518750"/>
              <a:gd name="connsiteX12" fmla="*/ 1435 w 607107"/>
              <a:gd name="connsiteY12" fmla="*/ 423521 h 518750"/>
              <a:gd name="connsiteX13" fmla="*/ 183 w 607107"/>
              <a:gd name="connsiteY13" fmla="*/ 417077 h 518750"/>
              <a:gd name="connsiteX14" fmla="*/ 4131 w 607107"/>
              <a:gd name="connsiteY14" fmla="*/ 411788 h 518750"/>
              <a:gd name="connsiteX15" fmla="*/ 95527 w 607107"/>
              <a:gd name="connsiteY15" fmla="*/ 376588 h 518750"/>
              <a:gd name="connsiteX16" fmla="*/ 266570 w 607107"/>
              <a:gd name="connsiteY16" fmla="*/ 330231 h 518750"/>
              <a:gd name="connsiteX17" fmla="*/ 327147 w 607107"/>
              <a:gd name="connsiteY17" fmla="*/ 372741 h 518750"/>
              <a:gd name="connsiteX18" fmla="*/ 233536 w 607107"/>
              <a:gd name="connsiteY18" fmla="*/ 417943 h 518750"/>
              <a:gd name="connsiteX19" fmla="*/ 360084 w 607107"/>
              <a:gd name="connsiteY19" fmla="*/ 366393 h 518750"/>
              <a:gd name="connsiteX20" fmla="*/ 365285 w 607107"/>
              <a:gd name="connsiteY20" fmla="*/ 359372 h 518750"/>
              <a:gd name="connsiteX21" fmla="*/ 524482 w 607107"/>
              <a:gd name="connsiteY21" fmla="*/ 291473 h 518750"/>
              <a:gd name="connsiteX22" fmla="*/ 560224 w 607107"/>
              <a:gd name="connsiteY22" fmla="*/ 279860 h 518750"/>
              <a:gd name="connsiteX23" fmla="*/ 231201 w 607107"/>
              <a:gd name="connsiteY23" fmla="*/ 114447 h 518750"/>
              <a:gd name="connsiteX24" fmla="*/ 227733 w 607107"/>
              <a:gd name="connsiteY24" fmla="*/ 115409 h 518750"/>
              <a:gd name="connsiteX25" fmla="*/ 204232 w 607107"/>
              <a:gd name="connsiteY25" fmla="*/ 127912 h 518750"/>
              <a:gd name="connsiteX26" fmla="*/ 200572 w 607107"/>
              <a:gd name="connsiteY26" fmla="*/ 136280 h 518750"/>
              <a:gd name="connsiteX27" fmla="*/ 203269 w 607107"/>
              <a:gd name="connsiteY27" fmla="*/ 146860 h 518750"/>
              <a:gd name="connsiteX28" fmla="*/ 207410 w 607107"/>
              <a:gd name="connsiteY28" fmla="*/ 151862 h 518750"/>
              <a:gd name="connsiteX29" fmla="*/ 213960 w 607107"/>
              <a:gd name="connsiteY29" fmla="*/ 151573 h 518750"/>
              <a:gd name="connsiteX30" fmla="*/ 222340 w 607107"/>
              <a:gd name="connsiteY30" fmla="*/ 147053 h 518750"/>
              <a:gd name="connsiteX31" fmla="*/ 222340 w 607107"/>
              <a:gd name="connsiteY31" fmla="*/ 230058 h 518750"/>
              <a:gd name="connsiteX32" fmla="*/ 229756 w 607107"/>
              <a:gd name="connsiteY32" fmla="*/ 237464 h 518750"/>
              <a:gd name="connsiteX33" fmla="*/ 243433 w 607107"/>
              <a:gd name="connsiteY33" fmla="*/ 237464 h 518750"/>
              <a:gd name="connsiteX34" fmla="*/ 250850 w 607107"/>
              <a:gd name="connsiteY34" fmla="*/ 230058 h 518750"/>
              <a:gd name="connsiteX35" fmla="*/ 250850 w 607107"/>
              <a:gd name="connsiteY35" fmla="*/ 121853 h 518750"/>
              <a:gd name="connsiteX36" fmla="*/ 243433 w 607107"/>
              <a:gd name="connsiteY36" fmla="*/ 114447 h 518750"/>
              <a:gd name="connsiteX37" fmla="*/ 230719 w 607107"/>
              <a:gd name="connsiteY37" fmla="*/ 76070 h 518750"/>
              <a:gd name="connsiteX38" fmla="*/ 330794 w 607107"/>
              <a:gd name="connsiteY38" fmla="*/ 176004 h 518750"/>
              <a:gd name="connsiteX39" fmla="*/ 230719 w 607107"/>
              <a:gd name="connsiteY39" fmla="*/ 275841 h 518750"/>
              <a:gd name="connsiteX40" fmla="*/ 130741 w 607107"/>
              <a:gd name="connsiteY40" fmla="*/ 176004 h 518750"/>
              <a:gd name="connsiteX41" fmla="*/ 230719 w 607107"/>
              <a:gd name="connsiteY41" fmla="*/ 76070 h 518750"/>
              <a:gd name="connsiteX42" fmla="*/ 371906 w 607107"/>
              <a:gd name="connsiteY42" fmla="*/ 39432 h 518750"/>
              <a:gd name="connsiteX43" fmla="*/ 368246 w 607107"/>
              <a:gd name="connsiteY43" fmla="*/ 40297 h 518750"/>
              <a:gd name="connsiteX44" fmla="*/ 344168 w 607107"/>
              <a:gd name="connsiteY44" fmla="*/ 53185 h 518750"/>
              <a:gd name="connsiteX45" fmla="*/ 340412 w 607107"/>
              <a:gd name="connsiteY45" fmla="*/ 61744 h 518750"/>
              <a:gd name="connsiteX46" fmla="*/ 343109 w 607107"/>
              <a:gd name="connsiteY46" fmla="*/ 72612 h 518750"/>
              <a:gd name="connsiteX47" fmla="*/ 347443 w 607107"/>
              <a:gd name="connsiteY47" fmla="*/ 77709 h 518750"/>
              <a:gd name="connsiteX48" fmla="*/ 354089 w 607107"/>
              <a:gd name="connsiteY48" fmla="*/ 77421 h 518750"/>
              <a:gd name="connsiteX49" fmla="*/ 362757 w 607107"/>
              <a:gd name="connsiteY49" fmla="*/ 72804 h 518750"/>
              <a:gd name="connsiteX50" fmla="*/ 362757 w 607107"/>
              <a:gd name="connsiteY50" fmla="*/ 157919 h 518750"/>
              <a:gd name="connsiteX51" fmla="*/ 370365 w 607107"/>
              <a:gd name="connsiteY51" fmla="*/ 165517 h 518750"/>
              <a:gd name="connsiteX52" fmla="*/ 384331 w 607107"/>
              <a:gd name="connsiteY52" fmla="*/ 165517 h 518750"/>
              <a:gd name="connsiteX53" fmla="*/ 391939 w 607107"/>
              <a:gd name="connsiteY53" fmla="*/ 157919 h 518750"/>
              <a:gd name="connsiteX54" fmla="*/ 391939 w 607107"/>
              <a:gd name="connsiteY54" fmla="*/ 47029 h 518750"/>
              <a:gd name="connsiteX55" fmla="*/ 384331 w 607107"/>
              <a:gd name="connsiteY55" fmla="*/ 39432 h 518750"/>
              <a:gd name="connsiteX56" fmla="*/ 371328 w 607107"/>
              <a:gd name="connsiteY56" fmla="*/ 0 h 518750"/>
              <a:gd name="connsiteX57" fmla="*/ 473901 w 607107"/>
              <a:gd name="connsiteY57" fmla="*/ 102426 h 518750"/>
              <a:gd name="connsiteX58" fmla="*/ 371328 w 607107"/>
              <a:gd name="connsiteY58" fmla="*/ 204852 h 518750"/>
              <a:gd name="connsiteX59" fmla="*/ 342531 w 607107"/>
              <a:gd name="connsiteY59" fmla="*/ 200717 h 518750"/>
              <a:gd name="connsiteX60" fmla="*/ 348117 w 607107"/>
              <a:gd name="connsiteY60" fmla="*/ 167440 h 518750"/>
              <a:gd name="connsiteX61" fmla="*/ 274342 w 607107"/>
              <a:gd name="connsiteY61" fmla="*/ 69150 h 518750"/>
              <a:gd name="connsiteX62" fmla="*/ 371328 w 607107"/>
              <a:gd name="connsiteY62" fmla="*/ 0 h 518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607107" h="518750">
                <a:moveTo>
                  <a:pt x="560224" y="279860"/>
                </a:moveTo>
                <a:cubicBezTo>
                  <a:pt x="569819" y="278441"/>
                  <a:pt x="577162" y="279018"/>
                  <a:pt x="582459" y="280220"/>
                </a:cubicBezTo>
                <a:cubicBezTo>
                  <a:pt x="595268" y="283010"/>
                  <a:pt x="604032" y="289742"/>
                  <a:pt x="606440" y="300513"/>
                </a:cubicBezTo>
                <a:cubicBezTo>
                  <a:pt x="608751" y="310804"/>
                  <a:pt x="604995" y="322826"/>
                  <a:pt x="596135" y="329751"/>
                </a:cubicBezTo>
                <a:cubicBezTo>
                  <a:pt x="587949" y="336098"/>
                  <a:pt x="579762" y="342542"/>
                  <a:pt x="571865" y="348793"/>
                </a:cubicBezTo>
                <a:lnTo>
                  <a:pt x="371834" y="500269"/>
                </a:lnTo>
                <a:cubicBezTo>
                  <a:pt x="306826" y="545471"/>
                  <a:pt x="137614" y="493440"/>
                  <a:pt x="134050" y="494210"/>
                </a:cubicBezTo>
                <a:lnTo>
                  <a:pt x="67213" y="511040"/>
                </a:lnTo>
                <a:cubicBezTo>
                  <a:pt x="65479" y="511521"/>
                  <a:pt x="63264" y="511425"/>
                  <a:pt x="61145" y="511040"/>
                </a:cubicBezTo>
                <a:cubicBezTo>
                  <a:pt x="60567" y="510848"/>
                  <a:pt x="60086" y="510752"/>
                  <a:pt x="59701" y="510560"/>
                </a:cubicBezTo>
                <a:cubicBezTo>
                  <a:pt x="58063" y="510079"/>
                  <a:pt x="56715" y="509021"/>
                  <a:pt x="55656" y="507674"/>
                </a:cubicBezTo>
                <a:cubicBezTo>
                  <a:pt x="40150" y="486131"/>
                  <a:pt x="22430" y="453335"/>
                  <a:pt x="7502" y="432081"/>
                </a:cubicBezTo>
                <a:lnTo>
                  <a:pt x="1435" y="423521"/>
                </a:lnTo>
                <a:cubicBezTo>
                  <a:pt x="183" y="421694"/>
                  <a:pt x="-299" y="419289"/>
                  <a:pt x="183" y="417077"/>
                </a:cubicBezTo>
                <a:cubicBezTo>
                  <a:pt x="664" y="414865"/>
                  <a:pt x="1723" y="412750"/>
                  <a:pt x="4131" y="411788"/>
                </a:cubicBezTo>
                <a:lnTo>
                  <a:pt x="95527" y="376588"/>
                </a:lnTo>
                <a:cubicBezTo>
                  <a:pt x="155816" y="356487"/>
                  <a:pt x="154179" y="328885"/>
                  <a:pt x="266570" y="330231"/>
                </a:cubicBezTo>
                <a:cubicBezTo>
                  <a:pt x="296618" y="330520"/>
                  <a:pt x="351706" y="324172"/>
                  <a:pt x="327147" y="372741"/>
                </a:cubicBezTo>
                <a:cubicBezTo>
                  <a:pt x="316650" y="393515"/>
                  <a:pt x="281979" y="420059"/>
                  <a:pt x="233536" y="417943"/>
                </a:cubicBezTo>
                <a:cubicBezTo>
                  <a:pt x="233344" y="419193"/>
                  <a:pt x="327244" y="456605"/>
                  <a:pt x="360084" y="366393"/>
                </a:cubicBezTo>
                <a:cubicBezTo>
                  <a:pt x="360084" y="366393"/>
                  <a:pt x="361433" y="361007"/>
                  <a:pt x="365285" y="359372"/>
                </a:cubicBezTo>
                <a:cubicBezTo>
                  <a:pt x="389940" y="348793"/>
                  <a:pt x="522459" y="292338"/>
                  <a:pt x="524482" y="291473"/>
                </a:cubicBezTo>
                <a:cubicBezTo>
                  <a:pt x="538784" y="284693"/>
                  <a:pt x="550629" y="281278"/>
                  <a:pt x="560224" y="279860"/>
                </a:cubicBezTo>
                <a:close/>
                <a:moveTo>
                  <a:pt x="231201" y="114447"/>
                </a:moveTo>
                <a:cubicBezTo>
                  <a:pt x="230045" y="114447"/>
                  <a:pt x="228793" y="114832"/>
                  <a:pt x="227733" y="115409"/>
                </a:cubicBezTo>
                <a:lnTo>
                  <a:pt x="204232" y="127912"/>
                </a:lnTo>
                <a:cubicBezTo>
                  <a:pt x="201246" y="129548"/>
                  <a:pt x="199705" y="133010"/>
                  <a:pt x="200572" y="136280"/>
                </a:cubicBezTo>
                <a:lnTo>
                  <a:pt x="203269" y="146860"/>
                </a:lnTo>
                <a:cubicBezTo>
                  <a:pt x="203847" y="149073"/>
                  <a:pt x="205388" y="150900"/>
                  <a:pt x="207410" y="151862"/>
                </a:cubicBezTo>
                <a:cubicBezTo>
                  <a:pt x="209529" y="152727"/>
                  <a:pt x="211937" y="152631"/>
                  <a:pt x="213960" y="151573"/>
                </a:cubicBezTo>
                <a:lnTo>
                  <a:pt x="222340" y="147053"/>
                </a:lnTo>
                <a:lnTo>
                  <a:pt x="222340" y="230058"/>
                </a:lnTo>
                <a:cubicBezTo>
                  <a:pt x="222340" y="234098"/>
                  <a:pt x="225711" y="237464"/>
                  <a:pt x="229756" y="237464"/>
                </a:cubicBezTo>
                <a:lnTo>
                  <a:pt x="243433" y="237464"/>
                </a:lnTo>
                <a:cubicBezTo>
                  <a:pt x="247479" y="237464"/>
                  <a:pt x="250850" y="234098"/>
                  <a:pt x="250850" y="230058"/>
                </a:cubicBezTo>
                <a:lnTo>
                  <a:pt x="250850" y="121853"/>
                </a:lnTo>
                <a:cubicBezTo>
                  <a:pt x="250850" y="117813"/>
                  <a:pt x="247479" y="114447"/>
                  <a:pt x="243433" y="114447"/>
                </a:cubicBezTo>
                <a:close/>
                <a:moveTo>
                  <a:pt x="230719" y="76070"/>
                </a:moveTo>
                <a:cubicBezTo>
                  <a:pt x="286006" y="76070"/>
                  <a:pt x="330794" y="120795"/>
                  <a:pt x="330794" y="176004"/>
                </a:cubicBezTo>
                <a:cubicBezTo>
                  <a:pt x="330794" y="231116"/>
                  <a:pt x="286006" y="275841"/>
                  <a:pt x="230719" y="275841"/>
                </a:cubicBezTo>
                <a:cubicBezTo>
                  <a:pt x="175529" y="275841"/>
                  <a:pt x="130741" y="231116"/>
                  <a:pt x="130741" y="176004"/>
                </a:cubicBezTo>
                <a:cubicBezTo>
                  <a:pt x="130741" y="120795"/>
                  <a:pt x="175529" y="76070"/>
                  <a:pt x="230719" y="76070"/>
                </a:cubicBezTo>
                <a:close/>
                <a:moveTo>
                  <a:pt x="371906" y="39432"/>
                </a:moveTo>
                <a:cubicBezTo>
                  <a:pt x="370654" y="39432"/>
                  <a:pt x="369402" y="39720"/>
                  <a:pt x="368246" y="40297"/>
                </a:cubicBezTo>
                <a:lnTo>
                  <a:pt x="344168" y="53185"/>
                </a:lnTo>
                <a:cubicBezTo>
                  <a:pt x="341086" y="54819"/>
                  <a:pt x="339545" y="58378"/>
                  <a:pt x="340412" y="61744"/>
                </a:cubicBezTo>
                <a:lnTo>
                  <a:pt x="343109" y="72612"/>
                </a:lnTo>
                <a:cubicBezTo>
                  <a:pt x="343687" y="74920"/>
                  <a:pt x="345324" y="76747"/>
                  <a:pt x="347443" y="77709"/>
                </a:cubicBezTo>
                <a:cubicBezTo>
                  <a:pt x="349562" y="78671"/>
                  <a:pt x="352066" y="78575"/>
                  <a:pt x="354089" y="77421"/>
                </a:cubicBezTo>
                <a:lnTo>
                  <a:pt x="362757" y="72804"/>
                </a:lnTo>
                <a:lnTo>
                  <a:pt x="362757" y="157919"/>
                </a:lnTo>
                <a:cubicBezTo>
                  <a:pt x="362757" y="162054"/>
                  <a:pt x="366224" y="165517"/>
                  <a:pt x="370365" y="165517"/>
                </a:cubicBezTo>
                <a:lnTo>
                  <a:pt x="384331" y="165517"/>
                </a:lnTo>
                <a:cubicBezTo>
                  <a:pt x="388568" y="165517"/>
                  <a:pt x="391939" y="162054"/>
                  <a:pt x="391939" y="157919"/>
                </a:cubicBezTo>
                <a:lnTo>
                  <a:pt x="391939" y="47029"/>
                </a:lnTo>
                <a:cubicBezTo>
                  <a:pt x="391939" y="42798"/>
                  <a:pt x="388568" y="39432"/>
                  <a:pt x="384331" y="39432"/>
                </a:cubicBezTo>
                <a:close/>
                <a:moveTo>
                  <a:pt x="371328" y="0"/>
                </a:moveTo>
                <a:cubicBezTo>
                  <a:pt x="428056" y="0"/>
                  <a:pt x="473901" y="45875"/>
                  <a:pt x="473901" y="102426"/>
                </a:cubicBezTo>
                <a:cubicBezTo>
                  <a:pt x="473901" y="158977"/>
                  <a:pt x="428056" y="204852"/>
                  <a:pt x="371328" y="204852"/>
                </a:cubicBezTo>
                <a:cubicBezTo>
                  <a:pt x="361312" y="204852"/>
                  <a:pt x="351681" y="203409"/>
                  <a:pt x="342531" y="200717"/>
                </a:cubicBezTo>
                <a:cubicBezTo>
                  <a:pt x="346095" y="190234"/>
                  <a:pt x="348117" y="179077"/>
                  <a:pt x="348117" y="167440"/>
                </a:cubicBezTo>
                <a:cubicBezTo>
                  <a:pt x="348117" y="120892"/>
                  <a:pt x="317008" y="81556"/>
                  <a:pt x="274342" y="69150"/>
                </a:cubicBezTo>
                <a:cubicBezTo>
                  <a:pt x="288211" y="28949"/>
                  <a:pt x="326447" y="0"/>
                  <a:pt x="371328" y="0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2" name="矩形 51">
            <a:extLst>
              <a:ext uri="{FF2B5EF4-FFF2-40B4-BE49-F238E27FC236}">
                <a16:creationId xmlns:a16="http://schemas.microsoft.com/office/drawing/2014/main" id="{C1D363F9-A737-422C-A958-DA8C882E4B93}"/>
              </a:ext>
            </a:extLst>
          </p:cNvPr>
          <p:cNvSpPr/>
          <p:nvPr/>
        </p:nvSpPr>
        <p:spPr bwMode="auto">
          <a:xfrm>
            <a:off x="5873888" y="1820060"/>
            <a:ext cx="5646599" cy="31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73B81B65-B264-49F5-95FD-797AC0B29959}"/>
              </a:ext>
            </a:extLst>
          </p:cNvPr>
          <p:cNvSpPr txBox="1"/>
          <p:nvPr/>
        </p:nvSpPr>
        <p:spPr bwMode="auto">
          <a:xfrm>
            <a:off x="5873889" y="1430400"/>
            <a:ext cx="5646599" cy="3896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4" name="矩形 53">
            <a:extLst>
              <a:ext uri="{FF2B5EF4-FFF2-40B4-BE49-F238E27FC236}">
                <a16:creationId xmlns:a16="http://schemas.microsoft.com/office/drawing/2014/main" id="{C1D363F9-A737-422C-A958-DA8C882E4B93}"/>
              </a:ext>
            </a:extLst>
          </p:cNvPr>
          <p:cNvSpPr/>
          <p:nvPr/>
        </p:nvSpPr>
        <p:spPr bwMode="auto">
          <a:xfrm>
            <a:off x="5873888" y="2758666"/>
            <a:ext cx="5646599" cy="31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73B81B65-B264-49F5-95FD-797AC0B29959}"/>
              </a:ext>
            </a:extLst>
          </p:cNvPr>
          <p:cNvSpPr txBox="1"/>
          <p:nvPr/>
        </p:nvSpPr>
        <p:spPr bwMode="auto">
          <a:xfrm>
            <a:off x="5873889" y="2369006"/>
            <a:ext cx="5646599" cy="3896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6" name="矩形 55">
            <a:extLst>
              <a:ext uri="{FF2B5EF4-FFF2-40B4-BE49-F238E27FC236}">
                <a16:creationId xmlns:a16="http://schemas.microsoft.com/office/drawing/2014/main" id="{C1D363F9-A737-422C-A958-DA8C882E4B93}"/>
              </a:ext>
            </a:extLst>
          </p:cNvPr>
          <p:cNvSpPr/>
          <p:nvPr/>
        </p:nvSpPr>
        <p:spPr bwMode="auto">
          <a:xfrm>
            <a:off x="5873888" y="3697274"/>
            <a:ext cx="5646599" cy="31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7" name="文本框 56">
            <a:extLst>
              <a:ext uri="{FF2B5EF4-FFF2-40B4-BE49-F238E27FC236}">
                <a16:creationId xmlns:a16="http://schemas.microsoft.com/office/drawing/2014/main" id="{73B81B65-B264-49F5-95FD-797AC0B29959}"/>
              </a:ext>
            </a:extLst>
          </p:cNvPr>
          <p:cNvSpPr txBox="1"/>
          <p:nvPr/>
        </p:nvSpPr>
        <p:spPr bwMode="auto">
          <a:xfrm>
            <a:off x="5873889" y="3307614"/>
            <a:ext cx="5646599" cy="3896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58" name="矩形 57">
            <a:extLst>
              <a:ext uri="{FF2B5EF4-FFF2-40B4-BE49-F238E27FC236}">
                <a16:creationId xmlns:a16="http://schemas.microsoft.com/office/drawing/2014/main" id="{C1D363F9-A737-422C-A958-DA8C882E4B93}"/>
              </a:ext>
            </a:extLst>
          </p:cNvPr>
          <p:cNvSpPr/>
          <p:nvPr/>
        </p:nvSpPr>
        <p:spPr bwMode="auto">
          <a:xfrm>
            <a:off x="5873888" y="4635881"/>
            <a:ext cx="5646599" cy="31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9" name="文本框 58">
            <a:extLst>
              <a:ext uri="{FF2B5EF4-FFF2-40B4-BE49-F238E27FC236}">
                <a16:creationId xmlns:a16="http://schemas.microsoft.com/office/drawing/2014/main" id="{73B81B65-B264-49F5-95FD-797AC0B29959}"/>
              </a:ext>
            </a:extLst>
          </p:cNvPr>
          <p:cNvSpPr txBox="1"/>
          <p:nvPr/>
        </p:nvSpPr>
        <p:spPr bwMode="auto">
          <a:xfrm>
            <a:off x="5873889" y="4246221"/>
            <a:ext cx="5646599" cy="3896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60" name="矩形 59">
            <a:extLst>
              <a:ext uri="{FF2B5EF4-FFF2-40B4-BE49-F238E27FC236}">
                <a16:creationId xmlns:a16="http://schemas.microsoft.com/office/drawing/2014/main" id="{C1D363F9-A737-422C-A958-DA8C882E4B93}"/>
              </a:ext>
            </a:extLst>
          </p:cNvPr>
          <p:cNvSpPr/>
          <p:nvPr/>
        </p:nvSpPr>
        <p:spPr bwMode="auto">
          <a:xfrm>
            <a:off x="5873888" y="5574487"/>
            <a:ext cx="5646599" cy="318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1" name="文本框 60">
            <a:extLst>
              <a:ext uri="{FF2B5EF4-FFF2-40B4-BE49-F238E27FC236}">
                <a16:creationId xmlns:a16="http://schemas.microsoft.com/office/drawing/2014/main" id="{73B81B65-B264-49F5-95FD-797AC0B29959}"/>
              </a:ext>
            </a:extLst>
          </p:cNvPr>
          <p:cNvSpPr txBox="1"/>
          <p:nvPr/>
        </p:nvSpPr>
        <p:spPr bwMode="auto">
          <a:xfrm>
            <a:off x="5873889" y="5184827"/>
            <a:ext cx="5646599" cy="38966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62" name="椭圆 61"/>
          <p:cNvSpPr/>
          <p:nvPr/>
        </p:nvSpPr>
        <p:spPr>
          <a:xfrm>
            <a:off x="5061203" y="1535175"/>
            <a:ext cx="498763" cy="49876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r>
              <a:rPr lang="en-US" altLang="zh-CN" sz="2000" b="1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endParaRPr lang="zh-CN" altLang="en-US" sz="20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3" name="椭圆 62"/>
          <p:cNvSpPr/>
          <p:nvPr/>
        </p:nvSpPr>
        <p:spPr>
          <a:xfrm>
            <a:off x="5061203" y="2473781"/>
            <a:ext cx="498763" cy="49876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r>
              <a:rPr lang="en-US" altLang="zh-CN" sz="2000" b="1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endParaRPr lang="zh-CN" altLang="en-US" sz="20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4" name="椭圆 63"/>
          <p:cNvSpPr/>
          <p:nvPr/>
        </p:nvSpPr>
        <p:spPr>
          <a:xfrm>
            <a:off x="5061203" y="3412389"/>
            <a:ext cx="498763" cy="49876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r>
              <a:rPr lang="en-US" altLang="zh-CN" sz="2000" b="1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endParaRPr lang="zh-CN" altLang="en-US" sz="20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5" name="椭圆 64"/>
          <p:cNvSpPr/>
          <p:nvPr/>
        </p:nvSpPr>
        <p:spPr>
          <a:xfrm>
            <a:off x="5061203" y="4350996"/>
            <a:ext cx="498763" cy="49876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r>
              <a:rPr lang="en-US" altLang="zh-CN" sz="2000" b="1" dirty="0">
                <a:solidFill>
                  <a:schemeClr val="tx1"/>
                </a:solidFill>
                <a:cs typeface="+mn-ea"/>
                <a:sym typeface="+mn-lt"/>
              </a:rPr>
              <a:t>4</a:t>
            </a:r>
            <a:endParaRPr lang="zh-CN" altLang="en-US" sz="20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6" name="椭圆 65"/>
          <p:cNvSpPr/>
          <p:nvPr/>
        </p:nvSpPr>
        <p:spPr>
          <a:xfrm>
            <a:off x="5061203" y="5289602"/>
            <a:ext cx="498763" cy="498763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/>
          <a:p>
            <a:pPr algn="ctr"/>
            <a:r>
              <a:rPr lang="en-US" altLang="zh-CN" sz="2000" b="1" dirty="0">
                <a:solidFill>
                  <a:schemeClr val="tx1"/>
                </a:solidFill>
                <a:cs typeface="+mn-ea"/>
                <a:sym typeface="+mn-lt"/>
              </a:rPr>
              <a:t>5</a:t>
            </a:r>
            <a:endParaRPr lang="zh-CN" altLang="en-US" sz="20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67" name="直接连接符 66"/>
          <p:cNvCxnSpPr/>
          <p:nvPr/>
        </p:nvCxnSpPr>
        <p:spPr>
          <a:xfrm>
            <a:off x="5598090" y="1784557"/>
            <a:ext cx="59167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接连接符 67"/>
          <p:cNvCxnSpPr/>
          <p:nvPr/>
        </p:nvCxnSpPr>
        <p:spPr>
          <a:xfrm>
            <a:off x="5598090" y="2723163"/>
            <a:ext cx="59167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直接连接符 68"/>
          <p:cNvCxnSpPr/>
          <p:nvPr/>
        </p:nvCxnSpPr>
        <p:spPr>
          <a:xfrm>
            <a:off x="5598090" y="3661771"/>
            <a:ext cx="59167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接连接符 69"/>
          <p:cNvCxnSpPr/>
          <p:nvPr/>
        </p:nvCxnSpPr>
        <p:spPr>
          <a:xfrm>
            <a:off x="5598090" y="4600378"/>
            <a:ext cx="591676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直接连接符 70"/>
          <p:cNvCxnSpPr/>
          <p:nvPr/>
        </p:nvCxnSpPr>
        <p:spPr>
          <a:xfrm>
            <a:off x="5598090" y="5538984"/>
            <a:ext cx="5913483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直接连接符 71">
            <a:extLst>
              <a:ext uri="{FF2B5EF4-FFF2-40B4-BE49-F238E27FC236}">
                <a16:creationId xmlns:a16="http://schemas.microsoft.com/office/drawing/2014/main" id="{E8500A4D-5417-4AD8-89B3-B335E06C1E62}"/>
              </a:ext>
            </a:extLst>
          </p:cNvPr>
          <p:cNvCxnSpPr>
            <a:cxnSpLocks/>
            <a:stCxn id="73" idx="6"/>
            <a:endCxn id="64" idx="2"/>
          </p:cNvCxnSpPr>
          <p:nvPr/>
        </p:nvCxnSpPr>
        <p:spPr>
          <a:xfrm>
            <a:off x="2869984" y="3661770"/>
            <a:ext cx="2191219" cy="1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椭圆 72">
            <a:extLst>
              <a:ext uri="{FF2B5EF4-FFF2-40B4-BE49-F238E27FC236}">
                <a16:creationId xmlns:a16="http://schemas.microsoft.com/office/drawing/2014/main" id="{8EFF878B-29A8-4315-B485-1127BA742E6D}"/>
              </a:ext>
            </a:extLst>
          </p:cNvPr>
          <p:cNvSpPr/>
          <p:nvPr/>
        </p:nvSpPr>
        <p:spPr>
          <a:xfrm>
            <a:off x="2785444" y="3619500"/>
            <a:ext cx="84540" cy="84540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74" name="连接符: 肘形 73">
            <a:extLst>
              <a:ext uri="{FF2B5EF4-FFF2-40B4-BE49-F238E27FC236}">
                <a16:creationId xmlns:a16="http://schemas.microsoft.com/office/drawing/2014/main" id="{F464C268-ADA2-47DC-A17A-C0048DB4B809}"/>
              </a:ext>
            </a:extLst>
          </p:cNvPr>
          <p:cNvCxnSpPr>
            <a:stCxn id="66" idx="2"/>
            <a:endCxn id="73" idx="6"/>
          </p:cNvCxnSpPr>
          <p:nvPr/>
        </p:nvCxnSpPr>
        <p:spPr>
          <a:xfrm rot="10800000">
            <a:off x="2869985" y="3661770"/>
            <a:ext cx="2191219" cy="1877214"/>
          </a:xfrm>
          <a:prstGeom prst="bentConnector3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连接符: 肘形 74">
            <a:extLst>
              <a:ext uri="{FF2B5EF4-FFF2-40B4-BE49-F238E27FC236}">
                <a16:creationId xmlns:a16="http://schemas.microsoft.com/office/drawing/2014/main" id="{DA783C8E-39BB-4C97-80FC-3F7D37F6B4EF}"/>
              </a:ext>
            </a:extLst>
          </p:cNvPr>
          <p:cNvCxnSpPr>
            <a:stCxn id="65" idx="2"/>
            <a:endCxn id="73" idx="6"/>
          </p:cNvCxnSpPr>
          <p:nvPr/>
        </p:nvCxnSpPr>
        <p:spPr>
          <a:xfrm rot="10800000">
            <a:off x="2869985" y="3661770"/>
            <a:ext cx="2191219" cy="938608"/>
          </a:xfrm>
          <a:prstGeom prst="bentConnector3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连接符: 肘形 75">
            <a:extLst>
              <a:ext uri="{FF2B5EF4-FFF2-40B4-BE49-F238E27FC236}">
                <a16:creationId xmlns:a16="http://schemas.microsoft.com/office/drawing/2014/main" id="{64BF29D4-3E0D-4D76-BE9F-3D699539995E}"/>
              </a:ext>
            </a:extLst>
          </p:cNvPr>
          <p:cNvCxnSpPr>
            <a:stCxn id="62" idx="2"/>
            <a:endCxn id="73" idx="6"/>
          </p:cNvCxnSpPr>
          <p:nvPr/>
        </p:nvCxnSpPr>
        <p:spPr>
          <a:xfrm rot="10800000" flipV="1">
            <a:off x="2869985" y="1784556"/>
            <a:ext cx="2191219" cy="1877213"/>
          </a:xfrm>
          <a:prstGeom prst="bentConnector3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连接符: 肘形 76">
            <a:extLst>
              <a:ext uri="{FF2B5EF4-FFF2-40B4-BE49-F238E27FC236}">
                <a16:creationId xmlns:a16="http://schemas.microsoft.com/office/drawing/2014/main" id="{86D55D14-B37D-4ED5-A004-B3B105FFDA8C}"/>
              </a:ext>
            </a:extLst>
          </p:cNvPr>
          <p:cNvCxnSpPr>
            <a:stCxn id="63" idx="2"/>
            <a:endCxn id="73" idx="6"/>
          </p:cNvCxnSpPr>
          <p:nvPr/>
        </p:nvCxnSpPr>
        <p:spPr>
          <a:xfrm rot="10800000" flipV="1">
            <a:off x="2869985" y="2723162"/>
            <a:ext cx="2191219" cy="938607"/>
          </a:xfrm>
          <a:prstGeom prst="bentConnector3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9746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669925" y="4796781"/>
            <a:ext cx="1168139" cy="1015653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41237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24b0cfe1-7b90-46e0-91a6-8fb540e389e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532900"/>
      </a:accent1>
      <a:accent2>
        <a:srgbClr val="80552A"/>
      </a:accent2>
      <a:accent3>
        <a:srgbClr val="703432"/>
      </a:accent3>
      <a:accent4>
        <a:srgbClr val="565865"/>
      </a:accent4>
      <a:accent5>
        <a:srgbClr val="96939A"/>
      </a:accent5>
      <a:accent6>
        <a:srgbClr val="A4977C"/>
      </a:accent6>
      <a:hlink>
        <a:srgbClr val="CA1300"/>
      </a:hlink>
      <a:folHlink>
        <a:srgbClr val="BFBFBF"/>
      </a:folHlink>
    </a:clrScheme>
    <a:fontScheme name="azvkgqpl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532900"/>
    </a:accent1>
    <a:accent2>
      <a:srgbClr val="80552A"/>
    </a:accent2>
    <a:accent3>
      <a:srgbClr val="703432"/>
    </a:accent3>
    <a:accent4>
      <a:srgbClr val="565865"/>
    </a:accent4>
    <a:accent5>
      <a:srgbClr val="96939A"/>
    </a:accent5>
    <a:accent6>
      <a:srgbClr val="A4977C"/>
    </a:accent6>
    <a:hlink>
      <a:srgbClr val="CA1300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0</TotalTime>
  <Words>2013</Words>
  <Application>Microsoft Office PowerPoint</Application>
  <PresentationFormat>宽屏</PresentationFormat>
  <Paragraphs>421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8" baseType="lpstr">
      <vt:lpstr>等线</vt:lpstr>
      <vt:lpstr>Arial</vt:lpstr>
      <vt:lpstr>Calibri</vt:lpstr>
      <vt:lpstr>Wingdings</vt:lpstr>
      <vt:lpstr>主题5</vt:lpstr>
      <vt:lpstr>think-cell Slide</vt:lpstr>
      <vt:lpstr>教师节主题PPT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2</cp:revision>
  <cp:lastPrinted>2019-09-10T16:00:00Z</cp:lastPrinted>
  <dcterms:created xsi:type="dcterms:W3CDTF">2019-09-10T16:00:00Z</dcterms:created>
  <dcterms:modified xsi:type="dcterms:W3CDTF">2022-09-10T14:0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